
<file path=[Content_Types].xml><?xml version="1.0" encoding="utf-8"?>
<Types xmlns="http://schemas.openxmlformats.org/package/2006/content-types">
  <Default ContentType="image/x-emf" Extension="emf"/>
  <Default ContentType="image/jpeg" Extension="jpeg"/>
  <Default ContentType="image/png" Extension="png"/>
  <Default ContentType="application/vnd.openxmlformats-package.relationships+xml" Extension="rels"/>
  <Default ContentType="image/svg" Extension="svg"/>
  <Default ContentType="application/vnd.openxmlformats-officedocument.spreadsheetml.sheet" Extension="xlsx"/>
  <Default ContentType="application/xml" Extension="xml"/>
  <Override ContentType="application/vnd.openxmlformats-officedocument.extended-properties+xml" PartName="/docProps/app.xml"/>
  <Override ContentType="application/vnd.openxmlformats-package.core-properties+xml" PartName="/docProps/core.xml"/>
  <Override ContentType="application/vnd.openxmlformats-officedocument.drawingml.chart+xml" PartName="/ppt/charts/chart1.xml"/>
  <Override ContentType="application/vnd.openxmlformats-officedocument.drawingml.chart+xml" PartName="/ppt/charts/chart2.xml"/>
  <Override ContentType="application/vnd.ms-office.chartcolorstyle+xml" PartName="/ppt/charts/colors1.xml"/>
  <Override ContentType="application/vnd.ms-office.chartcolorstyle+xml" PartName="/ppt/charts/colors2.xml"/>
  <Override ContentType="application/vnd.ms-office.chartstyle+xml" PartName="/ppt/charts/style1.xml"/>
  <Override ContentType="application/vnd.ms-office.chartstyle+xml" PartName="/ppt/charts/style2.xml"/>
  <Override ContentType="application/vnd.openxmlformats-officedocument.presentationml.notesMaster+xml" PartName="/ppt/notesMasters/notesMaster1.xml"/>
  <Override ContentType="application/vnd.openxmlformats-officedocument.presentationml.notesSlide+xml" PartName="/ppt/notesSlides/notesSlide1.xml"/>
  <Override ContentType="application/vnd.openxmlformats-officedocument.presentationml.notesSlide+xml" PartName="/ppt/notesSlides/notesSlide2.xml"/>
  <Override ContentType="application/vnd.openxmlformats-officedocument.presentationml.notesSlide+xml" PartName="/ppt/notesSlides/notesSlide3.xml"/>
  <Override ContentType="application/vnd.openxmlformats-officedocument.presentationml.notesSlide+xml" PartName="/ppt/notesSlides/notesSlide4.xml"/>
  <Override ContentType="application/vnd.openxmlformats-officedocument.presentationml.notesSlide+xml" PartName="/ppt/notesSlides/notesSlide5.xml"/>
  <Override ContentType="application/vnd.openxmlformats-officedocument.presentationml.notesSlide+xml" PartName="/ppt/notesSlides/notesSlide6.xml"/>
  <Override ContentType="application/vnd.openxmlformats-officedocument.presentationml.notesSlide+xml" PartName="/ppt/notesSlides/notesSlide7.xml"/>
  <Override ContentType="application/vnd.openxmlformats-officedocument.presentationml.notesSlide+xml" PartName="/ppt/notesSlides/notesSlide8.xml"/>
  <Override ContentType="application/vnd.openxmlformats-officedocument.presentationml.notesSlide+xml" PartName="/ppt/notesSlides/notesSlide9.xml"/>
  <Override ContentType="application/vnd.openxmlformats-officedocument.presentationml.notesSlide+xml" PartName="/ppt/notesSlides/notesSlide10.xml"/>
  <Override ContentType="application/vnd.openxmlformats-officedocument.presentationml.notesSlide+xml" PartName="/ppt/notesSlides/notesSlide11.xml"/>
  <Override ContentType="application/vnd.openxmlformats-officedocument.presentationml.notesSlide+xml" PartName="/ppt/notesSlides/notesSlide12.xml"/>
  <Override ContentType="application/vnd.openxmlformats-officedocument.presentationml.notesSlide+xml" PartName="/ppt/notesSlides/notesSlide13.xml"/>
  <Override ContentType="application/vnd.openxmlformats-officedocument.presentationml.notesSlide+xml" PartName="/ppt/notesSlides/notesSlide14.xml"/>
  <Override ContentType="application/vnd.openxmlformats-officedocument.presentationml.notesSlide+xml" PartName="/ppt/notesSlides/notesSlide15.xml"/>
  <Override ContentType="application/vnd.openxmlformats-officedocument.presentationml.notesSlide+xml" PartName="/ppt/notesSlides/notesSlide16.xml"/>
  <Override ContentType="application/vnd.openxmlformats-officedocument.presentationml.notesSlide+xml" PartName="/ppt/notesSlides/notesSlide17.xml"/>
  <Override ContentType="application/vnd.openxmlformats-officedocument.presentationml.notesSlide+xml" PartName="/ppt/notesSlides/notesSlide18.xml"/>
  <Override ContentType="application/vnd.openxmlformats-officedocument.presentationml.notesSlide+xml" PartName="/ppt/notesSlides/notesSlide19.xml"/>
  <Override ContentType="application/vnd.openxmlformats-officedocument.presentationml.notesSlide+xml" PartName="/ppt/notesSlides/notesSlide20.xml"/>
  <Override ContentType="application/vnd.openxmlformats-officedocument.presentationml.notesSlide+xml" PartName="/ppt/notesSlides/notesSlide21.xml"/>
  <Override ContentType="application/vnd.openxmlformats-officedocument.presentationml.notesSlide+xml" PartName="/ppt/notesSlides/notesSlide22.xml"/>
  <Override ContentType="application/vnd.openxmlformats-officedocument.presentationml.notesSlide+xml" PartName="/ppt/notesSlides/notesSlide23.xml"/>
  <Override ContentType="application/vnd.openxmlformats-officedocument.presentationml.notesSlide+xml" PartName="/ppt/notesSlides/notesSlide24.xml"/>
  <Override ContentType="application/vnd.openxmlformats-officedocument.presentationml.presentation.main+xml" PartName="/ppt/presentation.xml"/>
  <Override ContentType="application/vnd.openxmlformats-officedocument.presentationml.presProps+xml" PartName="/ppt/presProps.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Layout+xml" PartName="/ppt/slideLayouts/slideLayout9.xml"/>
  <Override ContentType="application/vnd.openxmlformats-officedocument.presentationml.slideLayout+xml" PartName="/ppt/slideLayouts/slideLayout10.xml"/>
  <Override ContentType="application/vnd.openxmlformats-officedocument.presentationml.slideLayout+xml" PartName="/ppt/slideLayouts/slideLayout11.xml"/>
  <Override ContentType="application/vnd.openxmlformats-officedocument.presentationml.slideLayout+xml" PartName="/ppt/slideLayouts/slideLayout12.xml"/>
  <Override ContentType="application/vnd.openxmlformats-officedocument.presentationml.slideLayout+xml" PartName="/ppt/slideLayouts/slideLayout13.xml"/>
  <Override ContentType="application/vnd.openxmlformats-officedocument.presentationml.slideLayout+xml" PartName="/ppt/slideLayouts/slideLayout14.xml"/>
  <Override ContentType="application/vnd.openxmlformats-officedocument.presentationml.slideLayout+xml" PartName="/ppt/slideLayouts/slideLayout15.xml"/>
  <Override ContentType="application/vnd.openxmlformats-officedocument.presentationml.slideLayout+xml" PartName="/ppt/slideLayouts/slideLayout16.xml"/>
  <Override ContentType="application/vnd.openxmlformats-officedocument.presentationml.slideLayout+xml" PartName="/ppt/slideLayouts/slideLayout17.xml"/>
  <Override ContentType="application/vnd.openxmlformats-officedocument.presentationml.slideMaster+xml" PartName="/ppt/slideMasters/slideMaster1.xml"/>
  <Override ContentType="application/vnd.openxmlformats-officedocument.presentationml.slideMaster+xml" PartName="/ppt/slideMasters/slideMaster2.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slide+xml" PartName="/ppt/slides/slide5.xml"/>
  <Override ContentType="application/vnd.openxmlformats-officedocument.presentationml.slide+xml" PartName="/ppt/slides/slide6.xml"/>
  <Override ContentType="application/vnd.openxmlformats-officedocument.presentationml.slide+xml" PartName="/ppt/slides/slide7.xml"/>
  <Override ContentType="application/vnd.openxmlformats-officedocument.presentationml.slide+xml" PartName="/ppt/slides/slide8.xml"/>
  <Override ContentType="application/vnd.openxmlformats-officedocument.presentationml.slide+xml" PartName="/ppt/slides/slide9.xml"/>
  <Override ContentType="application/vnd.openxmlformats-officedocument.presentationml.slide+xml" PartName="/ppt/slides/slide10.xml"/>
  <Override ContentType="application/vnd.openxmlformats-officedocument.presentationml.slide+xml" PartName="/ppt/slides/slide11.xml"/>
  <Override ContentType="application/vnd.openxmlformats-officedocument.presentationml.slide+xml" PartName="/ppt/slides/slide12.xml"/>
  <Override ContentType="application/vnd.openxmlformats-officedocument.presentationml.slide+xml" PartName="/ppt/slides/slide13.xml"/>
  <Override ContentType="application/vnd.openxmlformats-officedocument.presentationml.slide+xml" PartName="/ppt/slides/slide14.xml"/>
  <Override ContentType="application/vnd.openxmlformats-officedocument.presentationml.slide+xml" PartName="/ppt/slides/slide15.xml"/>
  <Override ContentType="application/vnd.openxmlformats-officedocument.presentationml.slide+xml" PartName="/ppt/slides/slide16.xml"/>
  <Override ContentType="application/vnd.openxmlformats-officedocument.presentationml.slide+xml" PartName="/ppt/slides/slide17.xml"/>
  <Override ContentType="application/vnd.openxmlformats-officedocument.presentationml.slide+xml" PartName="/ppt/slides/slide18.xml"/>
  <Override ContentType="application/vnd.openxmlformats-officedocument.presentationml.slide+xml" PartName="/ppt/slides/slide19.xml"/>
  <Override ContentType="application/vnd.openxmlformats-officedocument.presentationml.slide+xml" PartName="/ppt/slides/slide20.xml"/>
  <Override ContentType="application/vnd.openxmlformats-officedocument.presentationml.slide+xml" PartName="/ppt/slides/slide21.xml"/>
  <Override ContentType="application/vnd.openxmlformats-officedocument.presentationml.slide+xml" PartName="/ppt/slides/slide22.xml"/>
  <Override ContentType="application/vnd.openxmlformats-officedocument.presentationml.slide+xml" PartName="/ppt/slides/slide23.xml"/>
  <Override ContentType="application/vnd.openxmlformats-officedocument.presentationml.slide+xml" PartName="/ppt/slides/slide24.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presentationml.tags+xml" PartName="/ppt/tags/tag3.xml"/>
  <Override ContentType="application/vnd.openxmlformats-officedocument.presentationml.tags+xml" PartName="/ppt/tags/tag4.xml"/>
  <Override ContentType="application/vnd.openxmlformats-officedocument.presentationml.tags+xml" PartName="/ppt/tags/tag5.xml"/>
  <Override ContentType="application/vnd.openxmlformats-officedocument.presentationml.tags+xml" PartName="/ppt/tags/tag6.xml"/>
  <Override ContentType="application/vnd.openxmlformats-officedocument.presentationml.tags+xml" PartName="/ppt/tags/tag7.xml"/>
  <Override ContentType="application/vnd.openxmlformats-officedocument.presentationml.tags+xml" PartName="/ppt/tags/tag8.xml"/>
  <Override ContentType="application/vnd.openxmlformats-officedocument.theme+xml" PartName="/ppt/theme/theme1.xml"/>
  <Override ContentType="application/vnd.openxmlformats-officedocument.theme+xml" PartName="/ppt/theme/theme2.xml"/>
  <Override ContentType="application/vnd.openxmlformats-officedocument.theme+xml" PartName="/ppt/theme/theme3.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core.xml" Type="http://schemas.openxmlformats.org/package/2006/relationships/metadata/core-properties"/><Relationship Id="rId3" Target="docProps/app.xml" Type="http://schemas.openxmlformats.org/officeDocument/2006/relationships/extended-properties"/><Relationship Id="rId4" Target="docProps/thumbnail.jpeg" Type="http://schemas.openxmlformats.org/package/2006/relationships/metadata/thumbnail"/></Relationships>
</file>

<file path=ppt/presentation.xml><?xml version="1.0" encoding="utf-8"?>
<p:presentation xmlns:r="http://schemas.openxmlformats.org/officeDocument/2006/relationships" xmlns:a="http://schemas.openxmlformats.org/drawingml/2006/main" xmlns:p="http://schemas.openxmlformats.org/presentationml/2006/main" saveSubsetFonts="1">
  <p:sldMasterIdLst>
    <p:sldMasterId id="2147483648" r:id="rId1"/>
    <p:sldMasterId id="2147483655" r:id="rId2"/>
  </p:sldMasterIdLst>
  <p:notesMasterIdLst>
    <p:notesMasterId r:id="rId3"/>
  </p:notesMasterIdLst>
  <p:sldIdLst>
    <p:sldId id="263" r:id="rId4"/>
    <p:sldId id="264" r:id="rId5"/>
    <p:sldId id="265" r:id="rId6"/>
    <p:sldId id="266" r:id="rId7"/>
    <p:sldId id="268" r:id="rId8"/>
    <p:sldId id="267" r:id="rId9"/>
    <p:sldId id="269" r:id="rId10"/>
    <p:sldId id="278" r:id="rId11"/>
    <p:sldId id="270" r:id="rId12"/>
    <p:sldId id="271" r:id="rId13"/>
    <p:sldId id="285" r:id="rId14"/>
    <p:sldId id="277" r:id="rId15"/>
    <p:sldId id="276" r:id="rId16"/>
    <p:sldId id="272" r:id="rId17"/>
    <p:sldId id="279" r:id="rId18"/>
    <p:sldId id="280" r:id="rId19"/>
    <p:sldId id="281" r:id="rId20"/>
    <p:sldId id="273" r:id="rId21"/>
    <p:sldId id="274" r:id="rId22"/>
    <p:sldId id="275" r:id="rId23"/>
    <p:sldId id="284" r:id="rId24"/>
    <p:sldId id="282" r:id="rId25"/>
    <p:sldId id="283" r:id="rId26"/>
    <p:sldId id="286" r:id="rId27"/>
  </p:sldIdLst>
  <p:sldSz cx="12192000" cy="6858000"/>
  <p:notesSz cx="6858000" cy="9144000"/>
  <p:custDataLst>
    <p:tags r:id="rId28"/>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3840" userDrawn="1">
          <p15:clr>
            <a:srgbClr val="A4A3A4"/>
          </p15:clr>
        </p15:guide>
        <p15:guide id="3" orient="horz" pos="2160">
          <p15:clr>
            <a:srgbClr val="A4A3A4"/>
          </p15:clr>
        </p15:guide>
      </p15:sldGuideLst>
    </p:ext>
  </p:extLst>
</p:presentation>
</file>

<file path=ppt/presProps.xml><?xml version="1.0" encoding="utf-8"?>
<p:presentationPr xmlns:r="http://schemas.openxmlformats.org/officeDocument/2006/relationships" xmlns:a="http://schemas.openxmlformats.org/drawingml/2006/main"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 uri="{1BD7E111-0CB8-44D6-8891-C1BB2F81B7CC}">
      <p1710:readonlyRecommended xmlns:p1710="http://schemas.microsoft.com/office/powerpoint/2017/10/main" val="0"/>
    </p:ext>
  </p:extLst>
</p:presentationPr>
</file>

<file path=ppt/tableStyles.xml><?xml version="1.0" encoding="utf-8"?>
<a:tblStyleLst xmlns:r="http://schemas.openxmlformats.org/officeDocument/2006/relationships"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890" autoAdjust="0"/>
    <p:restoredTop sz="96424" autoAdjust="0"/>
  </p:normalViewPr>
  <p:slideViewPr>
    <p:cSldViewPr snapToGrid="0" showGuides="1">
      <p:cViewPr varScale="1">
        <p:scale>
          <a:sx n="108" d="100"/>
          <a:sy n="108" d="100"/>
        </p:scale>
        <p:origin x="720" y="126"/>
      </p:cViewPr>
      <p:guideLst>
        <p:guide pos="3840"/>
        <p:guide orient="horz" pos="2160"/>
      </p:guideLst>
    </p:cSldViewPr>
  </p:slideViewPr>
  <p:notesTextViewPr>
    <p:cViewPr>
      <p:scale>
        <a:sx n="1" d="1"/>
        <a:sy n="1" d="1"/>
      </p:scale>
      <p:origin x="0" y="0"/>
    </p:cViewPr>
  </p:notesTextViewPr>
  <p:sorterViewPr>
    <p:cViewPr>
      <p:scale>
        <a:sx n="50" d="100"/>
        <a:sy n="50" d="100"/>
      </p:scale>
      <p:origin x="0" y="0"/>
    </p:cViewPr>
  </p:sorterViewPr>
  <p:notesViewPr>
    <p:cSldViewPr>
      <p:cViewPr>
        <p:scale>
          <a:sx n="1" d="100"/>
          <a:sy n="1" d="100"/>
        </p:scale>
        <p:origin x="0" y="0"/>
      </p:cViewPr>
    </p:cSldViewPr>
  </p:notesViewPr>
  <p:gridSpacing cx="72008" cy="72008"/>
</p:viewPr>
</file>

<file path=ppt/_rels/presentation.xml.rels><?xml version="1.0" encoding="UTF-8" standalone="yes"?><Relationships xmlns="http://schemas.openxmlformats.org/package/2006/relationships"><Relationship Id="rId1" Target="slideMasters/slideMaster1.xml" Type="http://schemas.openxmlformats.org/officeDocument/2006/relationships/slideMaster"/><Relationship Id="rId10" Target="slides/slide7.xml" Type="http://schemas.openxmlformats.org/officeDocument/2006/relationships/slide"/><Relationship Id="rId11" Target="slides/slide8.xml" Type="http://schemas.openxmlformats.org/officeDocument/2006/relationships/slide"/><Relationship Id="rId12" Target="slides/slide9.xml" Type="http://schemas.openxmlformats.org/officeDocument/2006/relationships/slide"/><Relationship Id="rId13" Target="slides/slide10.xml" Type="http://schemas.openxmlformats.org/officeDocument/2006/relationships/slide"/><Relationship Id="rId14" Target="slides/slide11.xml" Type="http://schemas.openxmlformats.org/officeDocument/2006/relationships/slide"/><Relationship Id="rId15" Target="slides/slide12.xml" Type="http://schemas.openxmlformats.org/officeDocument/2006/relationships/slide"/><Relationship Id="rId16" Target="slides/slide13.xml" Type="http://schemas.openxmlformats.org/officeDocument/2006/relationships/slide"/><Relationship Id="rId17" Target="slides/slide14.xml" Type="http://schemas.openxmlformats.org/officeDocument/2006/relationships/slide"/><Relationship Id="rId18" Target="slides/slide15.xml" Type="http://schemas.openxmlformats.org/officeDocument/2006/relationships/slide"/><Relationship Id="rId19" Target="slides/slide16.xml" Type="http://schemas.openxmlformats.org/officeDocument/2006/relationships/slide"/><Relationship Id="rId2" Target="slideMasters/slideMaster2.xml" Type="http://schemas.openxmlformats.org/officeDocument/2006/relationships/slideMaster"/><Relationship Id="rId20" Target="slides/slide17.xml" Type="http://schemas.openxmlformats.org/officeDocument/2006/relationships/slide"/><Relationship Id="rId21" Target="slides/slide18.xml" Type="http://schemas.openxmlformats.org/officeDocument/2006/relationships/slide"/><Relationship Id="rId22" Target="slides/slide19.xml" Type="http://schemas.openxmlformats.org/officeDocument/2006/relationships/slide"/><Relationship Id="rId23" Target="slides/slide20.xml" Type="http://schemas.openxmlformats.org/officeDocument/2006/relationships/slide"/><Relationship Id="rId24" Target="slides/slide21.xml" Type="http://schemas.openxmlformats.org/officeDocument/2006/relationships/slide"/><Relationship Id="rId25" Target="slides/slide22.xml" Type="http://schemas.openxmlformats.org/officeDocument/2006/relationships/slide"/><Relationship Id="rId26" Target="slides/slide23.xml" Type="http://schemas.openxmlformats.org/officeDocument/2006/relationships/slide"/><Relationship Id="rId27" Target="slides/slide24.xml" Type="http://schemas.openxmlformats.org/officeDocument/2006/relationships/slide"/><Relationship Id="rId28" Target="tags/tag8.xml" Type="http://schemas.openxmlformats.org/officeDocument/2006/relationships/tags"/><Relationship Id="rId29" Target="presProps.xml" Type="http://schemas.openxmlformats.org/officeDocument/2006/relationships/presProps"/><Relationship Id="rId3" Target="notesMasters/notesMaster1.xml" Type="http://schemas.openxmlformats.org/officeDocument/2006/relationships/notesMaster"/><Relationship Id="rId30" Target="viewProps.xml" Type="http://schemas.openxmlformats.org/officeDocument/2006/relationships/viewProps"/><Relationship Id="rId31" Target="theme/theme1.xml" Type="http://schemas.openxmlformats.org/officeDocument/2006/relationships/theme"/><Relationship Id="rId32" Target="tableStyles.xml" Type="http://schemas.openxmlformats.org/officeDocument/2006/relationships/tableStyles"/><Relationship Id="rId4" Target="slides/slide1.xml" Type="http://schemas.openxmlformats.org/officeDocument/2006/relationships/slide"/><Relationship Id="rId5" Target="slides/slide2.xml" Type="http://schemas.openxmlformats.org/officeDocument/2006/relationships/slide"/><Relationship Id="rId6" Target="slides/slide3.xml" Type="http://schemas.openxmlformats.org/officeDocument/2006/relationships/slide"/><Relationship Id="rId7" Target="slides/slide4.xml" Type="http://schemas.openxmlformats.org/officeDocument/2006/relationships/slide"/><Relationship Id="rId8" Target="slides/slide5.xml" Type="http://schemas.openxmlformats.org/officeDocument/2006/relationships/slide"/><Relationship Id="rId9" Target="slides/slide6.xml" Type="http://schemas.openxmlformats.org/officeDocument/2006/relationships/slide"/></Relationships>
</file>

<file path=ppt/charts/_rels/chart1.xml.rels><?xml version="1.0" encoding="UTF-8" standalone="yes"?><Relationships xmlns="http://schemas.openxmlformats.org/package/2006/relationships"><Relationship Id="rId1" Target="../embeddings/Microsoft_Excel_Worksheet1.xlsx" Type="http://schemas.openxmlformats.org/officeDocument/2006/relationships/package"/><Relationship Id="rId2" Target="colors1.xml" Type="http://schemas.microsoft.com/office/2011/relationships/chartColorStyle"/><Relationship Id="rId3" Target="style1.xml" Type="http://schemas.microsoft.com/office/2011/relationships/chartStyle"/></Relationships>
</file>

<file path=ppt/charts/_rels/chart2.xml.rels><?xml version="1.0" encoding="UTF-8" standalone="yes"?><Relationships xmlns="http://schemas.openxmlformats.org/package/2006/relationships"><Relationship Id="rId1" Target="../embeddings/Microsoft_Excel_Worksheet2.xlsx" Type="http://schemas.openxmlformats.org/officeDocument/2006/relationships/package"/><Relationship Id="rId2" Target="colors2.xml" Type="http://schemas.microsoft.com/office/2011/relationships/chartColorStyle"/><Relationship Id="rId3" Target="style2.xml" Type="http://schemas.microsoft.com/office/2011/relationships/chartStyle"/></Relationships>
</file>

<file path=ppt/charts/chart1.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c="http://schemas.openxmlformats.org/drawingml/20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ineChart>
        <c:grouping/>
        <c:varyColors val="0"/>
        <c:ser>
          <c:idx val="0"/>
          <c:order val="0"/>
          <c:tx>
            <c:strRef>
              <c:f>Sheet1!$B$1</c:f>
              <c:strCache>
                <c:ptCount val="1"/>
                <c:pt idx="0">
                  <c:v>Series 1</c:v>
                </c:pt>
              </c:strCache>
            </c:strRef>
          </c:tx>
          <c:spPr>
            <a:ln w="28575" cap="rnd">
              <a:solidFill>
                <a:srgbClr val="FF626C"/>
              </a:solidFill>
              <a:round/>
            </a:ln>
            <a:effectLst/>
          </c:spPr>
          <c:marker>
            <c:symbol val="none"/>
          </c:marker>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smooth val="0"/>
          <c:extLst>
            <c:ext xmlns:c16="http://schemas.microsoft.com/office/drawing/2014/chart" uri="{C3380CC4-5D6E-409C-BE32-E72D297353CC}">
              <c16:uniqueId val="{00000000-6465-4B94-99E6-C8D7650BABC8}"/>
            </c:ext>
          </c:extLst>
        </c:ser>
        <c:ser>
          <c:idx val="1"/>
          <c:order val="1"/>
          <c:tx>
            <c:strRef>
              <c:f>Sheet1!$C$1</c:f>
              <c:strCache>
                <c:ptCount val="1"/>
                <c:pt idx="0">
                  <c:v>Series 2</c:v>
                </c:pt>
              </c:strCache>
            </c:strRef>
          </c:tx>
          <c:spPr>
            <a:ln w="28575" cap="rnd">
              <a:solidFill>
                <a:srgbClr val="00456B"/>
              </a:solidFill>
              <a:round/>
            </a:ln>
            <a:effectLst/>
          </c:spPr>
          <c:marker>
            <c:symbol val="none"/>
          </c:marker>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c:v>
                </c:pt>
                <c:pt idx="2">
                  <c:v>1.8</c:v>
                </c:pt>
                <c:pt idx="3">
                  <c:v>2.8</c:v>
                </c:pt>
              </c:numCache>
            </c:numRef>
          </c:val>
          <c:smooth val="0"/>
          <c:extLst>
            <c:ext xmlns:c16="http://schemas.microsoft.com/office/drawing/2014/chart" uri="{C3380CC4-5D6E-409C-BE32-E72D297353CC}">
              <c16:uniqueId val="{00000001-6465-4B94-99E6-C8D7650BABC8}"/>
            </c:ext>
          </c:extLst>
        </c:ser>
        <c:ser>
          <c:idx val="2"/>
          <c:order val="2"/>
          <c:tx>
            <c:strRef>
              <c:f>Sheet1!$D$1</c:f>
              <c:strCache>
                <c:ptCount val="1"/>
                <c:pt idx="0">
                  <c:v>Series 3</c:v>
                </c:pt>
              </c:strCache>
            </c:strRef>
          </c:tx>
          <c:spPr>
            <a:ln w="28575" cap="rnd">
              <a:solidFill>
                <a:srgbClr val="60A8AF"/>
              </a:solidFill>
              <a:round/>
            </a:ln>
            <a:effectLst/>
          </c:spPr>
          <c:marker>
            <c:symbol val="none"/>
          </c:marker>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smooth val="0"/>
          <c:extLst>
            <c:ext xmlns:c16="http://schemas.microsoft.com/office/drawing/2014/chart" uri="{C3380CC4-5D6E-409C-BE32-E72D297353CC}">
              <c16:uniqueId val="{00000002-6465-4B94-99E6-C8D7650BABC8}"/>
            </c:ext>
          </c:extLst>
        </c:ser>
        <c:dLbls>
          <c:showLegendKey val="0"/>
          <c:showVal val="0"/>
          <c:showCatName val="0"/>
          <c:showSerName val="0"/>
          <c:showPercent val="0"/>
          <c:showBubbleSize val="0"/>
          <c:showLeaderLines val="0"/>
        </c:dLbls>
        <c:axId val="1399492160"/>
        <c:axId val="1399496512"/>
      </c:lineChart>
      <c:catAx>
        <c:axId val="1399492160"/>
        <c:scaling>
          <c:orientation/>
        </c:scaling>
        <c:delete val="0"/>
        <c:axPos val="b"/>
        <c:numFmt formatCode="General" sourceLinked="1"/>
        <c:majorTickMark val="none"/>
        <c:minorTickMark val="none"/>
        <c:spPr>
          <a:noFill/>
          <a:ln w="9525" cap="flat" cmpd="sng" algn="ctr">
            <a:solidFill>
              <a:schemeClr val="tx1">
                <a:lumMod val="15000"/>
                <a:lumOff val="85000"/>
              </a:schemeClr>
            </a:solidFill>
            <a:round/>
          </a:ln>
          <a:effectLst/>
        </c:spPr>
        <c:txPr>
          <a:bodyPr rot="-60000000" spcFirstLastPara="1" vertOverflow="ellipsis" vert="horz" wrap="square" anchor="ctr" anchorCtr="1"/>
          <a:p>
            <a:pPr>
              <a:defRPr sz="800" b="0" i="0" u="none" strike="noStrike" kern="1200" baseline="0" smtId="4294967295">
                <a:solidFill>
                  <a:schemeClr val="tx1">
                    <a:lumMod val="50000"/>
                    <a:lumOff val="50000"/>
                  </a:schemeClr>
                </a:solidFill>
                <a:latin typeface="+mn-lt"/>
                <a:ea typeface="+mn-ea"/>
                <a:cs typeface="+mn-cs"/>
              </a:defRPr>
            </a:pPr>
            <a:endParaRPr sz="800" b="0" i="0" u="none" strike="noStrike" kern="1200" baseline="0" smtId="4294967295">
              <a:solidFill>
                <a:schemeClr val="tx1">
                  <a:lumMod val="50000"/>
                  <a:lumOff val="50000"/>
                </a:schemeClr>
              </a:solidFill>
              <a:latin typeface="+mn-lt"/>
              <a:ea typeface="+mn-ea"/>
              <a:cs typeface="+mn-cs"/>
            </a:endParaRPr>
          </a:p>
        </c:txPr>
        <c:crossAx val="1399496512"/>
        <c:crosses val="autoZero"/>
        <c:auto val="0"/>
        <c:lblAlgn val="ctr"/>
        <c:lblOffset/>
        <c:noMultiLvlLbl val="0"/>
      </c:catAx>
      <c:valAx>
        <c:axId val="1399496512"/>
        <c:scaling>
          <c:orientation/>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crossAx val="1399492160"/>
        <c:crossBetween val="between"/>
      </c:valAx>
      <c:spPr>
        <a:noFill/>
        <a:ln>
          <a:noFill/>
        </a:ln>
        <a:effectLst/>
      </c:spPr>
    </c:plotArea>
    <c:plotVisOnly val="1"/>
    <c:dispBlanksAs val="gap"/>
    <c:showDLblsOverMax val="0"/>
  </c:chart>
  <c:spPr>
    <a:noFill/>
    <a:ln>
      <a:noFill/>
    </a:ln>
    <a:effectLst/>
  </c:spPr>
  <c:txPr>
    <a:bodyPr/>
    <a:p>
      <a:pPr>
        <a:defRPr/>
      </a:pPr>
      <a:endParaRPr lang="zh-CN"/>
    </a:p>
  </c:txPr>
  <c:externalData r:id="rId1">
    <c:autoUpdate val="0"/>
  </c:externalData>
</c:chartSpace>
</file>

<file path=ppt/charts/chart2.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c="http://schemas.openxmlformats.org/drawingml/20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barChart>
        <c:barDir val="col"/>
        <c:grouping val="clustered"/>
        <c:varyColors val="0"/>
        <c:ser>
          <c:idx val="0"/>
          <c:order val="0"/>
          <c:tx>
            <c:strRef>
              <c:f>Sheet1!$B$1</c:f>
              <c:strCache>
                <c:ptCount val="1"/>
                <c:pt idx="0">
                  <c:v>Series 1</c:v>
                </c:pt>
              </c:strCache>
            </c:strRef>
          </c:tx>
          <c:spPr>
            <a:solidFill>
              <a:srgbClr val="FFC73E"/>
            </a:solidFill>
            <a:ln>
              <a:solidFill>
                <a:schemeClr val="bg1">
                  <a:lumMod val="85000"/>
                </a:schemeClr>
              </a:solidFill>
            </a:ln>
            <a:effectLst/>
          </c:spPr>
          <c:invertIfNegative val="0"/>
          <c:dLbls>
            <c:dLbl>
              <c:idx val="0"/>
              <c:dLblPos val="outEnd"/>
              <c:showLegendKey val="0"/>
              <c:showVal val="1"/>
              <c:showCatName val="0"/>
              <c:showSerName val="0"/>
              <c:showPercent val="0"/>
              <c:showBubbleSize val="0"/>
              <c:extLst/>
            </c:dLbl>
            <c:dLbl>
              <c:idx val="1"/>
              <c:dLblPos val="outEnd"/>
              <c:showLegendKey val="0"/>
              <c:showVal val="1"/>
              <c:showCatName val="0"/>
              <c:showSerName val="0"/>
              <c:showPercent val="0"/>
              <c:showBubbleSize val="0"/>
              <c:extLst/>
            </c:dLbl>
            <c:dLbl>
              <c:idx val="2"/>
              <c:dLblPos val="outEnd"/>
              <c:showLegendKey val="0"/>
              <c:showVal val="1"/>
              <c:showCatName val="0"/>
              <c:showSerName val="0"/>
              <c:showPercent val="0"/>
              <c:showBubbleSize val="0"/>
              <c:extLst/>
            </c:dLbl>
            <c:dLbl>
              <c:idx val="3"/>
              <c:dLblPos val="outEnd"/>
              <c:showLegendKey val="0"/>
              <c:showVal val="1"/>
              <c:showCatName val="0"/>
              <c:showSerName val="0"/>
              <c:showPercent val="0"/>
              <c:showBubbleSize val="0"/>
              <c:extLst/>
            </c:dLbl>
            <c:spPr>
              <a:noFill/>
              <a:ln>
                <a:noFill/>
              </a:ln>
              <a:effectLst/>
            </c:spPr>
            <c:txPr>
              <a:bodyPr rot="0" spcFirstLastPara="1" vertOverflow="ellipsis" vert="horz" wrap="square" lIns="38100" tIns="19050" rIns="38100" bIns="19050" anchor="ctr" anchorCtr="1">
                <a:spAutoFit/>
              </a:bodyPr>
              <a:p>
                <a:pPr>
                  <a:defRPr sz="1197" b="0" i="0" u="none" strike="noStrike" kern="1200" baseline="0" smtId="4294967295">
                    <a:solidFill>
                      <a:schemeClr val="tx1">
                        <a:lumMod val="75000"/>
                        <a:lumOff val="25000"/>
                      </a:schemeClr>
                    </a:solidFill>
                    <a:latin typeface="+mn-lt"/>
                    <a:ea typeface="+mn-ea"/>
                    <a:cs typeface="+mn-cs"/>
                  </a:defRPr>
                </a:pPr>
                <a:endParaRPr sz="1197" b="0" i="0" u="none" strike="noStrike" kern="1200" baseline="0" smtId="4294967295">
                  <a:solidFill>
                    <a:schemeClr val="tx1">
                      <a:lumMod val="75000"/>
                      <a:lumOff val="25000"/>
                    </a:schemeClr>
                  </a:solidFill>
                  <a:latin typeface="+mn-lt"/>
                  <a:ea typeface="+mn-ea"/>
                  <a:cs typeface="+mn-cs"/>
                </a:endParaRPr>
              </a:p>
            </c:txPr>
            <c:dLblPos val="outEnd"/>
            <c:showLegendKey val="0"/>
            <c:showVal val="1"/>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c:spPr>
                </c15:leaderLines>
              </c:ext>
            </c:extLst>
          </c:dLbls>
          <c:cat>
            <c:strRef>
              <c:f>Sheet1!$A$2:$A$5</c:f>
              <c:strCache>
                <c:ptCount val="4"/>
                <c:pt idx="0">
                  <c:v>twiter</c:v>
                </c:pt>
                <c:pt idx="1">
                  <c:v>facebook</c:v>
                </c:pt>
                <c:pt idx="2">
                  <c:v>intagram</c:v>
                </c:pt>
                <c:pt idx="3">
                  <c:v>google</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1CC3-4D66-867D-18BB76A6B949}"/>
            </c:ext>
          </c:extLst>
        </c:ser>
        <c:ser>
          <c:idx val="1"/>
          <c:order val="1"/>
          <c:tx>
            <c:strRef>
              <c:f>Sheet1!$C$1</c:f>
              <c:strCache>
                <c:ptCount val="1"/>
                <c:pt idx="0">
                  <c:v>Series 2</c:v>
                </c:pt>
              </c:strCache>
            </c:strRef>
          </c:tx>
          <c:spPr>
            <a:solidFill>
              <a:srgbClr val="60A8AF"/>
            </a:solidFill>
            <a:ln>
              <a:solidFill>
                <a:schemeClr val="bg1">
                  <a:lumMod val="85000"/>
                </a:schemeClr>
              </a:solidFill>
            </a:ln>
            <a:effectLst/>
          </c:spPr>
          <c:invertIfNegative val="0"/>
          <c:dLbls>
            <c:dLbl>
              <c:idx val="0"/>
              <c:dLblPos val="outEnd"/>
              <c:showLegendKey val="0"/>
              <c:showVal val="1"/>
              <c:showCatName val="0"/>
              <c:showSerName val="0"/>
              <c:showPercent val="0"/>
              <c:showBubbleSize val="0"/>
              <c:extLst/>
            </c:dLbl>
            <c:dLbl>
              <c:idx val="1"/>
              <c:dLblPos val="outEnd"/>
              <c:showLegendKey val="0"/>
              <c:showVal val="1"/>
              <c:showCatName val="0"/>
              <c:showSerName val="0"/>
              <c:showPercent val="0"/>
              <c:showBubbleSize val="0"/>
              <c:extLst/>
            </c:dLbl>
            <c:dLbl>
              <c:idx val="2"/>
              <c:dLblPos val="outEnd"/>
              <c:showLegendKey val="0"/>
              <c:showVal val="1"/>
              <c:showCatName val="0"/>
              <c:showSerName val="0"/>
              <c:showPercent val="0"/>
              <c:showBubbleSize val="0"/>
              <c:extLst/>
            </c:dLbl>
            <c:dLbl>
              <c:idx val="3"/>
              <c:dLblPos val="outEnd"/>
              <c:showLegendKey val="0"/>
              <c:showVal val="1"/>
              <c:showCatName val="0"/>
              <c:showSerName val="0"/>
              <c:showPercent val="0"/>
              <c:showBubbleSize val="0"/>
              <c:extLst/>
            </c:dLbl>
            <c:spPr>
              <a:noFill/>
              <a:ln>
                <a:noFill/>
              </a:ln>
              <a:effectLst/>
            </c:spPr>
            <c:txPr>
              <a:bodyPr rot="0" spcFirstLastPara="1" vertOverflow="ellipsis" vert="horz" wrap="square" lIns="38100" tIns="19050" rIns="38100" bIns="19050" anchor="ctr" anchorCtr="1">
                <a:spAutoFit/>
              </a:bodyPr>
              <a:p>
                <a:pPr>
                  <a:defRPr sz="1197" b="0" i="0" u="none" strike="noStrike" kern="1200" baseline="0" smtId="4294967295">
                    <a:solidFill>
                      <a:schemeClr val="tx1">
                        <a:lumMod val="75000"/>
                        <a:lumOff val="25000"/>
                      </a:schemeClr>
                    </a:solidFill>
                    <a:latin typeface="+mn-lt"/>
                    <a:ea typeface="+mn-ea"/>
                    <a:cs typeface="+mn-cs"/>
                  </a:defRPr>
                </a:pPr>
                <a:endParaRPr sz="1197" b="0" i="0" u="none" strike="noStrike" kern="1200" baseline="0" smtId="4294967295">
                  <a:solidFill>
                    <a:schemeClr val="tx1">
                      <a:lumMod val="75000"/>
                      <a:lumOff val="25000"/>
                    </a:schemeClr>
                  </a:solidFill>
                  <a:latin typeface="+mn-lt"/>
                  <a:ea typeface="+mn-ea"/>
                  <a:cs typeface="+mn-cs"/>
                </a:endParaRPr>
              </a:p>
            </c:txPr>
            <c:dLblPos val="outEnd"/>
            <c:showLegendKey val="0"/>
            <c:showVal val="1"/>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c:spPr>
                </c15:leaderLines>
              </c:ext>
            </c:extLst>
          </c:dLbls>
          <c:cat>
            <c:strRef>
              <c:f>Sheet1!$A$2:$A$5</c:f>
              <c:strCache>
                <c:ptCount val="4"/>
                <c:pt idx="0">
                  <c:v>twiter</c:v>
                </c:pt>
                <c:pt idx="1">
                  <c:v>facebook</c:v>
                </c:pt>
                <c:pt idx="2">
                  <c:v>intagram</c:v>
                </c:pt>
                <c:pt idx="3">
                  <c:v>google</c:v>
                </c:pt>
              </c:strCache>
            </c:strRef>
          </c:cat>
          <c:val>
            <c:numRef>
              <c:f>Sheet1!$C$2:$C$5</c:f>
              <c:numCache>
                <c:formatCode>General</c:formatCode>
                <c:ptCount val="4"/>
                <c:pt idx="0">
                  <c:v>2.4</c:v>
                </c:pt>
                <c:pt idx="1">
                  <c:v>4.4</c:v>
                </c:pt>
                <c:pt idx="2">
                  <c:v>1.8</c:v>
                </c:pt>
                <c:pt idx="3">
                  <c:v>2.8</c:v>
                </c:pt>
              </c:numCache>
            </c:numRef>
          </c:val>
          <c:extLst>
            <c:ext xmlns:c16="http://schemas.microsoft.com/office/drawing/2014/chart" uri="{C3380CC4-5D6E-409C-BE32-E72D297353CC}">
              <c16:uniqueId val="{00000001-1CC3-4D66-867D-18BB76A6B949}"/>
            </c:ext>
          </c:extLst>
        </c:ser>
        <c:dLbls>
          <c:showLegendKey val="0"/>
          <c:showVal val="0"/>
          <c:showCatName val="0"/>
          <c:showSerName val="0"/>
          <c:showPercent val="0"/>
          <c:showBubbleSize val="0"/>
          <c:showLeaderLines val="0"/>
        </c:dLbls>
        <c:gapWidth val="152"/>
        <c:overlap/>
        <c:axId val="1399493248"/>
        <c:axId val="1399492704"/>
      </c:barChart>
      <c:catAx>
        <c:axId val="1399493248"/>
        <c:scaling>
          <c:orientation/>
        </c:scaling>
        <c:delete val="1"/>
        <c:axPos val="b"/>
        <c:numFmt formatCode="General" sourceLinked="1"/>
        <c:majorTickMark val="none"/>
        <c:minorTickMark val="none"/>
        <c:crossAx val="1399492704"/>
        <c:auto val="0"/>
        <c:lblAlgn val="ctr"/>
        <c:lblOffset/>
        <c:noMultiLvlLbl val="0"/>
      </c:catAx>
      <c:valAx>
        <c:axId val="1399492704"/>
        <c:scaling>
          <c:orientation/>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crossAx val="1399493248"/>
        <c:crossBetween val="between"/>
      </c:valAx>
      <c:spPr>
        <a:noFill/>
        <a:ln>
          <a:noFill/>
        </a:ln>
        <a:effectLst/>
      </c:spPr>
    </c:plotArea>
    <c:plotVisOnly val="1"/>
    <c:dispBlanksAs val="gap"/>
    <c:showDLblsOverMax val="0"/>
  </c:chart>
  <c:spPr>
    <a:noFill/>
    <a:ln>
      <a:noFill/>
    </a:ln>
    <a:effectLst/>
  </c:spPr>
  <c:txPr>
    <a:bodyPr/>
    <a:p>
      <a:pPr>
        <a:defRPr/>
      </a:pPr>
      <a:endParaRPr lang="zh-CN"/>
    </a:p>
  </c:txPr>
  <c:externalData r:id="rId1">
    <c:autoUpdate val="0"/>
  </c:externalData>
</c:chartSpace>
</file>

<file path=ppt/charts/colors1.xml><?xml version="1.0" encoding="utf-8"?>
<cs:colorStyle xmlns:a="http://schemas.openxmlformats.org/drawingml/2006/main" xmlns:cs="http://schemas.microsoft.com/office/drawing/2012/chartStyle"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a="http://schemas.openxmlformats.org/drawingml/2006/main" xmlns:cs="http://schemas.microsoft.com/office/drawing/2012/chartStyle"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a="http://schemas.openxmlformats.org/drawingml/2006/main" xmlns:r="http://schemas.openxmlformats.org/officeDocument/2006/relationships" xmlns:cs="http://schemas.microsoft.com/office/drawing/2012/chartStyle"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a="http://schemas.openxmlformats.org/drawingml/2006/main" xmlns:r="http://schemas.openxmlformats.org/officeDocument/2006/relationships" xmlns:cs="http://schemas.microsoft.com/office/drawing/2012/chartStyle"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Relationships xmlns="http://schemas.openxmlformats.org/package/2006/relationships"><Relationship Id="rId1" Target="../theme/theme3.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bg>
      <p:bgRef idx="1001">
        <a:schemeClr val="bg1"/>
      </p:bgRef>
    </p:bg>
    <p:spTree>
      <p:nvGrpSpPr>
        <p:cNvPr id="1" name=""/>
        <p:cNvGrpSpPr/>
        <p:nvPr/>
      </p:nvGrpSpPr>
      <p:grpSpPr>
        <a:xfrm>
          <a:off x="0" y="0"/>
          <a: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EBF09A9-601B-407D-BB72-5AD9D6B75078}" type="datetimeFigureOut">
              <a:rPr lang="zh-CN" altLang="en-US" smtClean="0"/>
              <a:t>2020/4/15</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0188E57-AF26-4FA1-B576-B58FC88565B6}" type="slidenum">
              <a:rPr lang="zh-CN" altLang="en-US" smtClean="0"/>
              <a:t>‹#›</a:t>
            </a:fld>
            <a:endParaRPr lang="zh-CN" altLang="en-US"/>
          </a:p>
        </p:txBody>
      </p:sp>
    </p:spTree>
    <p:extLst>
      <p:ext uri="{BB962C8B-B14F-4D97-AF65-F5344CB8AC3E}">
        <p14:creationId val="102781295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Relationships xmlns="http://schemas.openxmlformats.org/package/2006/relationships"><Relationship Id="rId1" Target="../slides/slide1.xml" Type="http://schemas.openxmlformats.org/officeDocument/2006/relationships/slide"/><Relationship Id="rId2" Target="../notesMasters/notesMaster1.xml" Type="http://schemas.openxmlformats.org/officeDocument/2006/relationships/notesMaster"/></Relationships>
</file>

<file path=ppt/notesSlides/_rels/notesSlide10.xml.rels><?xml version="1.0" encoding="UTF-8" standalone="yes"?><Relationships xmlns="http://schemas.openxmlformats.org/package/2006/relationships"><Relationship Id="rId1" Target="../slides/slide10.xml" Type="http://schemas.openxmlformats.org/officeDocument/2006/relationships/slide"/><Relationship Id="rId2" Target="../notesMasters/notesMaster1.xml" Type="http://schemas.openxmlformats.org/officeDocument/2006/relationships/notesMaster"/></Relationships>
</file>

<file path=ppt/notesSlides/_rels/notesSlide11.xml.rels><?xml version="1.0" encoding="UTF-8" standalone="yes"?><Relationships xmlns="http://schemas.openxmlformats.org/package/2006/relationships"><Relationship Id="rId1" Target="../slides/slide11.xml" Type="http://schemas.openxmlformats.org/officeDocument/2006/relationships/slide"/><Relationship Id="rId2" Target="../notesMasters/notesMaster1.xml" Type="http://schemas.openxmlformats.org/officeDocument/2006/relationships/notesMaster"/></Relationships>
</file>

<file path=ppt/notesSlides/_rels/notesSlide12.xml.rels><?xml version="1.0" encoding="UTF-8" standalone="yes"?><Relationships xmlns="http://schemas.openxmlformats.org/package/2006/relationships"><Relationship Id="rId1" Target="../slides/slide12.xml" Type="http://schemas.openxmlformats.org/officeDocument/2006/relationships/slide"/><Relationship Id="rId2" Target="../notesMasters/notesMaster1.xml" Type="http://schemas.openxmlformats.org/officeDocument/2006/relationships/notesMaster"/></Relationships>
</file>

<file path=ppt/notesSlides/_rels/notesSlide13.xml.rels><?xml version="1.0" encoding="UTF-8" standalone="yes"?><Relationships xmlns="http://schemas.openxmlformats.org/package/2006/relationships"><Relationship Id="rId1" Target="../slides/slide13.xml" Type="http://schemas.openxmlformats.org/officeDocument/2006/relationships/slide"/><Relationship Id="rId2" Target="../notesMasters/notesMaster1.xml" Type="http://schemas.openxmlformats.org/officeDocument/2006/relationships/notesMaster"/></Relationships>
</file>

<file path=ppt/notesSlides/_rels/notesSlide14.xml.rels><?xml version="1.0" encoding="UTF-8" standalone="yes"?><Relationships xmlns="http://schemas.openxmlformats.org/package/2006/relationships"><Relationship Id="rId1" Target="../slides/slide14.xml" Type="http://schemas.openxmlformats.org/officeDocument/2006/relationships/slide"/><Relationship Id="rId2" Target="../notesMasters/notesMaster1.xml" Type="http://schemas.openxmlformats.org/officeDocument/2006/relationships/notesMaster"/></Relationships>
</file>

<file path=ppt/notesSlides/_rels/notesSlide15.xml.rels><?xml version="1.0" encoding="UTF-8" standalone="yes"?><Relationships xmlns="http://schemas.openxmlformats.org/package/2006/relationships"><Relationship Id="rId1" Target="../slides/slide15.xml" Type="http://schemas.openxmlformats.org/officeDocument/2006/relationships/slide"/><Relationship Id="rId2" Target="../notesMasters/notesMaster1.xml" Type="http://schemas.openxmlformats.org/officeDocument/2006/relationships/notesMaster"/></Relationships>
</file>

<file path=ppt/notesSlides/_rels/notesSlide16.xml.rels><?xml version="1.0" encoding="UTF-8" standalone="yes"?><Relationships xmlns="http://schemas.openxmlformats.org/package/2006/relationships"><Relationship Id="rId1" Target="../slides/slide16.xml" Type="http://schemas.openxmlformats.org/officeDocument/2006/relationships/slide"/><Relationship Id="rId2" Target="../notesMasters/notesMaster1.xml" Type="http://schemas.openxmlformats.org/officeDocument/2006/relationships/notesMaster"/></Relationships>
</file>

<file path=ppt/notesSlides/_rels/notesSlide17.xml.rels><?xml version="1.0" encoding="UTF-8" standalone="yes"?><Relationships xmlns="http://schemas.openxmlformats.org/package/2006/relationships"><Relationship Id="rId1" Target="../slides/slide17.xml" Type="http://schemas.openxmlformats.org/officeDocument/2006/relationships/slide"/><Relationship Id="rId2" Target="../notesMasters/notesMaster1.xml" Type="http://schemas.openxmlformats.org/officeDocument/2006/relationships/notesMaster"/></Relationships>
</file>

<file path=ppt/notesSlides/_rels/notesSlide18.xml.rels><?xml version="1.0" encoding="UTF-8" standalone="yes"?><Relationships xmlns="http://schemas.openxmlformats.org/package/2006/relationships"><Relationship Id="rId1" Target="../slides/slide18.xml" Type="http://schemas.openxmlformats.org/officeDocument/2006/relationships/slide"/><Relationship Id="rId2" Target="../notesMasters/notesMaster1.xml" Type="http://schemas.openxmlformats.org/officeDocument/2006/relationships/notesMaster"/></Relationships>
</file>

<file path=ppt/notesSlides/_rels/notesSlide19.xml.rels><?xml version="1.0" encoding="UTF-8" standalone="yes"?><Relationships xmlns="http://schemas.openxmlformats.org/package/2006/relationships"><Relationship Id="rId1" Target="../slides/slide19.xml" Type="http://schemas.openxmlformats.org/officeDocument/2006/relationships/slide"/><Relationship Id="rId2" Target="../notesMasters/notesMaster1.xml" Type="http://schemas.openxmlformats.org/officeDocument/2006/relationships/notesMaster"/></Relationships>
</file>

<file path=ppt/notesSlides/_rels/notesSlide2.xml.rels><?xml version="1.0" encoding="UTF-8" standalone="yes"?><Relationships xmlns="http://schemas.openxmlformats.org/package/2006/relationships"><Relationship Id="rId1" Target="../slides/slide2.xml" Type="http://schemas.openxmlformats.org/officeDocument/2006/relationships/slide"/><Relationship Id="rId2" Target="../notesMasters/notesMaster1.xml" Type="http://schemas.openxmlformats.org/officeDocument/2006/relationships/notesMaster"/></Relationships>
</file>

<file path=ppt/notesSlides/_rels/notesSlide20.xml.rels><?xml version="1.0" encoding="UTF-8" standalone="yes"?><Relationships xmlns="http://schemas.openxmlformats.org/package/2006/relationships"><Relationship Id="rId1" Target="../slides/slide20.xml" Type="http://schemas.openxmlformats.org/officeDocument/2006/relationships/slide"/><Relationship Id="rId2" Target="../notesMasters/notesMaster1.xml" Type="http://schemas.openxmlformats.org/officeDocument/2006/relationships/notesMaster"/></Relationships>
</file>

<file path=ppt/notesSlides/_rels/notesSlide21.xml.rels><?xml version="1.0" encoding="UTF-8" standalone="yes"?><Relationships xmlns="http://schemas.openxmlformats.org/package/2006/relationships"><Relationship Id="rId1" Target="../slides/slide21.xml" Type="http://schemas.openxmlformats.org/officeDocument/2006/relationships/slide"/><Relationship Id="rId2" Target="../notesMasters/notesMaster1.xml" Type="http://schemas.openxmlformats.org/officeDocument/2006/relationships/notesMaster"/></Relationships>
</file>

<file path=ppt/notesSlides/_rels/notesSlide22.xml.rels><?xml version="1.0" encoding="UTF-8" standalone="yes"?><Relationships xmlns="http://schemas.openxmlformats.org/package/2006/relationships"><Relationship Id="rId1" Target="../slides/slide22.xml" Type="http://schemas.openxmlformats.org/officeDocument/2006/relationships/slide"/><Relationship Id="rId2" Target="../notesMasters/notesMaster1.xml" Type="http://schemas.openxmlformats.org/officeDocument/2006/relationships/notesMaster"/></Relationships>
</file>

<file path=ppt/notesSlides/_rels/notesSlide23.xml.rels><?xml version="1.0" encoding="UTF-8" standalone="yes"?><Relationships xmlns="http://schemas.openxmlformats.org/package/2006/relationships"><Relationship Id="rId1" Target="../slides/slide23.xml" Type="http://schemas.openxmlformats.org/officeDocument/2006/relationships/slide"/><Relationship Id="rId2" Target="../notesMasters/notesMaster1.xml" Type="http://schemas.openxmlformats.org/officeDocument/2006/relationships/notesMaster"/></Relationships>
</file>

<file path=ppt/notesSlides/_rels/notesSlide24.xml.rels><?xml version="1.0" encoding="UTF-8" standalone="yes"?><Relationships xmlns="http://schemas.openxmlformats.org/package/2006/relationships"><Relationship Id="rId1" Target="../slides/slide24.xml" Type="http://schemas.openxmlformats.org/officeDocument/2006/relationships/slide"/><Relationship Id="rId2" Target="../notesMasters/notesMaster1.xml" Type="http://schemas.openxmlformats.org/officeDocument/2006/relationships/notesMaster"/></Relationships>
</file>

<file path=ppt/notesSlides/_rels/notesSlide3.xml.rels><?xml version="1.0" encoding="UTF-8" standalone="yes"?><Relationships xmlns="http://schemas.openxmlformats.org/package/2006/relationships"><Relationship Id="rId1" Target="../slides/slide3.xml" Type="http://schemas.openxmlformats.org/officeDocument/2006/relationships/slide"/><Relationship Id="rId2" Target="../notesMasters/notesMaster1.xml" Type="http://schemas.openxmlformats.org/officeDocument/2006/relationships/notesMaster"/></Relationships>
</file>

<file path=ppt/notesSlides/_rels/notesSlide4.xml.rels><?xml version="1.0" encoding="UTF-8" standalone="yes"?><Relationships xmlns="http://schemas.openxmlformats.org/package/2006/relationships"><Relationship Id="rId1" Target="../slides/slide4.xml" Type="http://schemas.openxmlformats.org/officeDocument/2006/relationships/slide"/><Relationship Id="rId2" Target="../notesMasters/notesMaster1.xml" Type="http://schemas.openxmlformats.org/officeDocument/2006/relationships/notesMaster"/></Relationships>
</file>

<file path=ppt/notesSlides/_rels/notesSlide5.xml.rels><?xml version="1.0" encoding="UTF-8" standalone="yes"?><Relationships xmlns="http://schemas.openxmlformats.org/package/2006/relationships"><Relationship Id="rId1" Target="../slides/slide5.xml" Type="http://schemas.openxmlformats.org/officeDocument/2006/relationships/slide"/><Relationship Id="rId2" Target="../notesMasters/notesMaster1.xml" Type="http://schemas.openxmlformats.org/officeDocument/2006/relationships/notesMaster"/></Relationships>
</file>

<file path=ppt/notesSlides/_rels/notesSlide6.xml.rels><?xml version="1.0" encoding="UTF-8" standalone="yes"?><Relationships xmlns="http://schemas.openxmlformats.org/package/2006/relationships"><Relationship Id="rId1" Target="../slides/slide6.xml" Type="http://schemas.openxmlformats.org/officeDocument/2006/relationships/slide"/><Relationship Id="rId2" Target="../notesMasters/notesMaster1.xml" Type="http://schemas.openxmlformats.org/officeDocument/2006/relationships/notesMaster"/></Relationships>
</file>

<file path=ppt/notesSlides/_rels/notesSlide7.xml.rels><?xml version="1.0" encoding="UTF-8" standalone="yes"?><Relationships xmlns="http://schemas.openxmlformats.org/package/2006/relationships"><Relationship Id="rId1" Target="../slides/slide7.xml" Type="http://schemas.openxmlformats.org/officeDocument/2006/relationships/slide"/><Relationship Id="rId2" Target="../notesMasters/notesMaster1.xml" Type="http://schemas.openxmlformats.org/officeDocument/2006/relationships/notesMaster"/></Relationships>
</file>

<file path=ppt/notesSlides/_rels/notesSlide8.xml.rels><?xml version="1.0" encoding="UTF-8" standalone="yes"?><Relationships xmlns="http://schemas.openxmlformats.org/package/2006/relationships"><Relationship Id="rId1" Target="../slides/slide8.xml" Type="http://schemas.openxmlformats.org/officeDocument/2006/relationships/slide"/><Relationship Id="rId2" Target="../notesMasters/notesMaster1.xml" Type="http://schemas.openxmlformats.org/officeDocument/2006/relationships/notesMaster"/></Relationships>
</file>

<file path=ppt/notesSlides/_rels/notesSlide9.xml.rels><?xml version="1.0" encoding="UTF-8" standalone="yes"?><Relationships xmlns="http://schemas.openxmlformats.org/package/2006/relationships"><Relationship Id="rId1" Target="../slides/slide9.xml" Type="http://schemas.openxmlformats.org/officeDocument/2006/relationships/slide"/><Relationship Id="rId2" Target="../notesMasters/notesMaster1.xml" Type="http://schemas.openxmlformats.org/officeDocument/2006/relationships/notesMaster"/></Relationships>
</file>

<file path=ppt/notesSlides/notesSlide1.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3744603350"/>
      </p:ext>
    </p:extLst>
  </p:cSld>
  <p:clrMapOvr>
    <a:masterClrMapping/>
  </p:clrMapOvr>
</p:notes>
</file>

<file path=ppt/notesSlides/notesSlide10.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964512725"/>
      </p:ext>
    </p:extLst>
  </p:cSld>
  <p:clrMapOvr>
    <a:masterClrMapping/>
  </p:clrMapOvr>
</p:notes>
</file>

<file path=ppt/notesSlides/notesSlide11.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1808641787"/>
      </p:ext>
    </p:extLst>
  </p:cSld>
  <p:clrMapOvr>
    <a:masterClrMapping/>
  </p:clrMapOvr>
</p:notes>
</file>

<file path=ppt/notesSlides/notesSlide12.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3233031212"/>
      </p:ext>
    </p:extLst>
  </p:cSld>
  <p:clrMapOvr>
    <a:masterClrMapping/>
  </p:clrMapOvr>
</p:notes>
</file>

<file path=ppt/notesSlides/notesSlide13.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2231161914"/>
      </p:ext>
    </p:extLst>
  </p:cSld>
  <p:clrMapOvr>
    <a:masterClrMapping/>
  </p:clrMapOvr>
</p:notes>
</file>

<file path=ppt/notesSlides/notesSlide14.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3321097794"/>
      </p:ext>
    </p:extLst>
  </p:cSld>
  <p:clrMapOvr>
    <a:masterClrMapping/>
  </p:clrMapOvr>
</p:notes>
</file>

<file path=ppt/notesSlides/notesSlide15.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2676307454"/>
      </p:ext>
    </p:extLst>
  </p:cSld>
  <p:clrMapOvr>
    <a:masterClrMapping/>
  </p:clrMapOvr>
</p:notes>
</file>

<file path=ppt/notesSlides/notesSlide16.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2582414597"/>
      </p:ext>
    </p:extLst>
  </p:cSld>
  <p:clrMapOvr>
    <a:masterClrMapping/>
  </p:clrMapOvr>
</p:notes>
</file>

<file path=ppt/notesSlides/notesSlide17.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3238741905"/>
      </p:ext>
    </p:extLst>
  </p:cSld>
  <p:clrMapOvr>
    <a:masterClrMapping/>
  </p:clrMapOvr>
</p:notes>
</file>

<file path=ppt/notesSlides/notesSlide18.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1825732701"/>
      </p:ext>
    </p:extLst>
  </p:cSld>
  <p:clrMapOvr>
    <a:masterClrMapping/>
  </p:clrMapOvr>
</p:notes>
</file>

<file path=ppt/notesSlides/notesSlide19.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1869585046"/>
      </p:ext>
    </p:extLst>
  </p:cSld>
  <p:clrMapOvr>
    <a:masterClrMapping/>
  </p:clrMapOvr>
</p:notes>
</file>

<file path=ppt/notesSlides/notesSlide2.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2350632021"/>
      </p:ext>
    </p:extLst>
  </p:cSld>
  <p:clrMapOvr>
    <a:masterClrMapping/>
  </p:clrMapOvr>
</p:notes>
</file>

<file path=ppt/notesSlides/notesSlide20.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841540431"/>
      </p:ext>
    </p:extLst>
  </p:cSld>
  <p:clrMapOvr>
    <a:masterClrMapping/>
  </p:clrMapOvr>
</p:notes>
</file>

<file path=ppt/notesSlides/notesSlide21.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2965501960"/>
      </p:ext>
    </p:extLst>
  </p:cSld>
  <p:clrMapOvr>
    <a:masterClrMapping/>
  </p:clrMapOvr>
</p:notes>
</file>

<file path=ppt/notesSlides/notesSlide22.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236109245"/>
      </p:ext>
    </p:extLst>
  </p:cSld>
  <p:clrMapOvr>
    <a:masterClrMapping/>
  </p:clrMapOvr>
</p:notes>
</file>

<file path=ppt/notesSlides/notesSlide23.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1374913867"/>
      </p:ext>
    </p:extLst>
  </p:cSld>
  <p:clrMapOvr>
    <a:masterClrMapping/>
  </p:clrMapOvr>
</p:notes>
</file>

<file path=ppt/notesSlides/notesSlide24.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3360081006"/>
      </p:ext>
    </p:extLst>
  </p:cSld>
  <p:clrMapOvr>
    <a:masterClrMapping/>
  </p:clrMapOvr>
</p:notes>
</file>

<file path=ppt/notesSlides/notesSlide3.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2411453046"/>
      </p:ext>
    </p:extLst>
  </p:cSld>
  <p:clrMapOvr>
    <a:masterClrMapping/>
  </p:clrMapOvr>
</p:notes>
</file>

<file path=ppt/notesSlides/notesSlide4.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2397705789"/>
      </p:ext>
    </p:extLst>
  </p:cSld>
  <p:clrMapOvr>
    <a:masterClrMapping/>
  </p:clrMapOvr>
</p:notes>
</file>

<file path=ppt/notesSlides/notesSlide5.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1448846521"/>
      </p:ext>
    </p:extLst>
  </p:cSld>
  <p:clrMapOvr>
    <a:masterClrMapping/>
  </p:clrMapOvr>
</p:notes>
</file>

<file path=ppt/notesSlides/notesSlide6.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18754682"/>
      </p:ext>
    </p:extLst>
  </p:cSld>
  <p:clrMapOvr>
    <a:masterClrMapping/>
  </p:clrMapOvr>
</p:notes>
</file>

<file path=ppt/notesSlides/notesSlide7.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795001915"/>
      </p:ext>
    </p:extLst>
  </p:cSld>
  <p:clrMapOvr>
    <a:masterClrMapping/>
  </p:clrMapOvr>
</p:notes>
</file>

<file path=ppt/notesSlides/notesSlide8.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2871046249"/>
      </p:ext>
    </p:extLst>
  </p:cSld>
  <p:clrMapOvr>
    <a:masterClrMapping/>
  </p:clrMapOvr>
</p:notes>
</file>

<file path=ppt/notesSlides/notesSlide9.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3775262421"/>
      </p:ext>
    </p:extLst>
  </p:cSld>
  <p:clrMapOvr>
    <a:masterClrMapping/>
  </p:clrMapOvr>
</p:notes>
</file>

<file path=ppt/slideLayouts/_rels/slideLayout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0.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1.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2.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3.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4.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5.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6.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7.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4.xml.rels><?xml version="1.0" encoding="UTF-8" standalone="yes"?><Relationships xmlns="http://schemas.openxmlformats.org/package/2006/relationships"><Relationship Id="rId1" Target="../media/image1.png" Type="http://schemas.openxmlformats.org/officeDocument/2006/relationships/image"/><Relationship Id="rId2" Target="../slideMasters/slideMaster1.xml" Type="http://schemas.openxmlformats.org/officeDocument/2006/relationships/slideMaster"/></Relationships>
</file>

<file path=ppt/slideLayouts/_rels/slideLayout5.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6.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7.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8.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9.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slideLayout1.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userDrawn="1">
  <p:cSld name="首页">
    <p:spTree>
      <p:nvGrpSpPr>
        <p:cNvPr id="1" name=""/>
        <p:cNvGrpSpPr/>
        <p:nvPr/>
      </p:nvGrpSpPr>
      <p:grpSpPr>
        <a:xfrm>
          <a:off x="0" y="0"/>
          <a:ext cx="0" cy="0"/>
        </a:xfrm>
      </p:grpSpPr>
    </p:spTree>
    <p:extLst>
      <p:ext uri="{BB962C8B-B14F-4D97-AF65-F5344CB8AC3E}">
        <p14:creationId val="1504824445"/>
      </p:ext>
    </p:extLst>
  </p:cSld>
  <p:clrMapOvr>
    <a:masterClrMapping/>
  </p:clrMapOvr>
  <p:transition/>
  <p:timing/>
</p:sldLayout>
</file>

<file path=ppt/slideLayouts/slideLayout10.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woObj" preserve="1">
  <p:cSld name="两栏内容">
    <p:spTree>
      <p:nvGrpSpPr>
        <p:cNvPr id="1" name=""/>
        <p:cNvGrpSpPr/>
        <p:nvPr/>
      </p:nvGrpSpPr>
      <p:grpSpPr>
        <a:xfrm>
          <a:off x="0" y="0"/>
          <a:ext cx="0" cy="0"/>
        </a:xfrm>
      </p:grpSpPr>
      <p:sp>
        <p:nvSpPr>
          <p:cNvPr id="2" name="Title 1"/>
          <p:cNvSpPr>
            <a:spLocks noGrp="1"/>
          </p:cNvSpPr>
          <p:nvPr>
            <p:ph type="title"/>
          </p:nvPr>
        </p:nvSpPr>
        <p:spPr/>
        <p:txBody>
          <a:bodyPr/>
          <a:lstStyle/>
          <a:p>
            <a:r>
              <a:rPr lang="zh-CN" altLang="en-US" smtClean="0"/>
              <a:t>单击此处编辑母版标题样式</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5" name="Date Placeholder 4"/>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t>2020/4/15</a:t>
            </a:fld>
            <a:endParaRPr lang="zh-CN" alt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zh-CN" alt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731958385"/>
      </p:ext>
    </p:extLst>
  </p:cSld>
  <p:clrMapOvr>
    <a:masterClrMapping/>
  </p:clrMapOvr>
  <p:transition/>
  <p:timing/>
</p:sldLayout>
</file>

<file path=ppt/slideLayouts/slideLayout11.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woTxTwoObj" preserve="1">
  <p:cSld name="比较">
    <p:spTree>
      <p:nvGrpSpPr>
        <p:cNvPr id="1" name=""/>
        <p:cNvGrpSpPr/>
        <p:nvPr/>
      </p:nvGrpSpPr>
      <p:grpSpPr>
        <a:xfrm>
          <a:off x="0" y="0"/>
          <a:ext cx="0" cy="0"/>
        </a:xfrm>
      </p:grpSpPr>
      <p:sp>
        <p:nvSpPr>
          <p:cNvPr id="2" name="Title 1"/>
          <p:cNvSpPr>
            <a:spLocks noGrp="1"/>
          </p:cNvSpPr>
          <p:nvPr>
            <p:ph type="title"/>
          </p:nvPr>
        </p:nvSpPr>
        <p:spPr>
          <a:xfrm>
            <a:off x="839788" y="365125"/>
            <a:ext cx="10515600" cy="1325563"/>
          </a:xfrm>
        </p:spPr>
        <p:txBody>
          <a:bodyPr/>
          <a:lstStyle/>
          <a:p>
            <a:r>
              <a:rPr lang="zh-CN" altLang="en-US" smtClean="0"/>
              <a:t>单击此处编辑母版标题样式</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Content Placeholder 3"/>
          <p:cNvSpPr>
            <a:spLocks noGrp="1"/>
          </p:cNvSpPr>
          <p:nvPr>
            <p:ph sz="half" idx="2"/>
          </p:nvPr>
        </p:nvSpPr>
        <p:spPr>
          <a:xfrm>
            <a:off x="839788" y="2505075"/>
            <a:ext cx="5157787" cy="368458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Content Placeholder 5"/>
          <p:cNvSpPr>
            <a:spLocks noGrp="1"/>
          </p:cNvSpPr>
          <p:nvPr>
            <p:ph sz="quarter" idx="4"/>
          </p:nvPr>
        </p:nvSpPr>
        <p:spPr>
          <a:xfrm>
            <a:off x="6172200" y="2505075"/>
            <a:ext cx="5183188" cy="368458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7" name="Date Placeholder 6"/>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t>2020/4/15</a:t>
            </a:fld>
            <a:endParaRPr lang="zh-CN" alt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zh-CN" alt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661990013"/>
      </p:ext>
    </p:extLst>
  </p:cSld>
  <p:clrMapOvr>
    <a:masterClrMapping/>
  </p:clrMapOvr>
  <p:transition/>
  <p:timing/>
</p:sldLayout>
</file>

<file path=ppt/slideLayouts/slideLayout12.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itleOnly" preserve="1">
  <p:cSld name="仅标题">
    <p:spTree>
      <p:nvGrpSpPr>
        <p:cNvPr id="1" name=""/>
        <p:cNvGrpSpPr/>
        <p:nvPr/>
      </p:nvGrpSpPr>
      <p:grpSpPr>
        <a:xfrm>
          <a:off x="0" y="0"/>
          <a:ext cx="0" cy="0"/>
        </a:xfrm>
      </p:grpSpPr>
      <p:sp>
        <p:nvSpPr>
          <p:cNvPr id="2" name="Title 1"/>
          <p:cNvSpPr>
            <a:spLocks noGrp="1"/>
          </p:cNvSpPr>
          <p:nvPr>
            <p:ph type="title"/>
          </p:nvPr>
        </p:nvSpPr>
        <p:spPr/>
        <p:txBody>
          <a:bodyPr/>
          <a:lstStyle/>
          <a:p>
            <a:r>
              <a:rPr lang="zh-CN" altLang="en-US" smtClean="0"/>
              <a:t>单击此处编辑母版标题样式</a:t>
            </a:r>
            <a:endParaRPr lang="en-US"/>
          </a:p>
        </p:txBody>
      </p:sp>
      <p:sp>
        <p:nvSpPr>
          <p:cNvPr id="3" name="Date Placeholder 2"/>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t>2020/4/15</a:t>
            </a:fld>
            <a:endParaRPr lang="zh-CN" alt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zh-CN" alt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176142005"/>
      </p:ext>
    </p:extLst>
  </p:cSld>
  <p:clrMapOvr>
    <a:masterClrMapping/>
  </p:clrMapOvr>
  <p:transition/>
  <p:timing/>
</p:sldLayout>
</file>

<file path=ppt/slideLayouts/slideLayout13.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blank" preserve="1">
  <p:cSld name="空白">
    <p:spTree>
      <p:nvGrpSpPr>
        <p:cNvPr id="1" name=""/>
        <p:cNvGrpSpPr/>
        <p:nvPr/>
      </p:nvGrpSpPr>
      <p:grpSpPr>
        <a:xfrm>
          <a:off x="0" y="0"/>
          <a:ext cx="0" cy="0"/>
        </a:xfrm>
      </p:grpSpPr>
      <p:sp>
        <p:nvSpPr>
          <p:cNvPr id="2" name="Date Placeholder 1"/>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t>2020/4/15</a:t>
            </a:fld>
            <a:endParaRPr lang="zh-CN" alt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zh-CN" alt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3835856748"/>
      </p:ext>
    </p:extLst>
  </p:cSld>
  <p:clrMapOvr>
    <a:masterClrMapping/>
  </p:clrMapOvr>
  <p:transition/>
  <p:timing/>
</p:sldLayout>
</file>

<file path=ppt/slideLayouts/slideLayout14.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objTx" preserve="1">
  <p:cSld name="内容与标题">
    <p:spTree>
      <p:nvGrpSpPr>
        <p:cNvPr id="1" name=""/>
        <p:cNvGrpSpPr/>
        <p:nvPr/>
      </p:nvGrpSpPr>
      <p:grpSpPr>
        <a:xfrm>
          <a:off x="0" y="0"/>
          <a: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zh-CN" altLang="en-US" smtClean="0"/>
              <a:t>单击此处编辑母版标题样式</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Date Placeholder 4"/>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t>2020/4/15</a:t>
            </a:fld>
            <a:endParaRPr lang="zh-CN" alt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zh-CN" alt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3786052861"/>
      </p:ext>
    </p:extLst>
  </p:cSld>
  <p:clrMapOvr>
    <a:masterClrMapping/>
  </p:clrMapOvr>
  <p:transition/>
  <p:timing/>
</p:sldLayout>
</file>

<file path=ppt/slideLayouts/slideLayout15.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picTx" preserve="1">
  <p:cSld name="图片与标题">
    <p:spTree>
      <p:nvGrpSpPr>
        <p:cNvPr id="1" name=""/>
        <p:cNvGrpSpPr/>
        <p:nvPr/>
      </p:nvGrpSpPr>
      <p:grpSpPr>
        <a:xfrm>
          <a:off x="0" y="0"/>
          <a: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zh-CN" altLang="en-US" smtClean="0"/>
              <a:t>单击此处编辑母版标题样式</a:t>
            </a:r>
            <a:endParaRPr lang="en-US"/>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zh-CN" altLang="en-US" smtClean="0"/>
              <a:t>单击图标添加图片</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Date Placeholder 4"/>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t>2020/4/15</a:t>
            </a:fld>
            <a:endParaRPr lang="zh-CN" alt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zh-CN" alt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253796370"/>
      </p:ext>
    </p:extLst>
  </p:cSld>
  <p:clrMapOvr>
    <a:masterClrMapping/>
  </p:clrMapOvr>
  <p:transition/>
  <p:timing/>
</p:sldLayout>
</file>

<file path=ppt/slideLayouts/slideLayout16.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vertTx" preserve="1">
  <p:cSld name="标题和竖排文字">
    <p:spTree>
      <p:nvGrpSpPr>
        <p:cNvPr id="1" name=""/>
        <p:cNvGrpSpPr/>
        <p:nvPr/>
      </p:nvGrpSpPr>
      <p:grpSpPr>
        <a:xfrm>
          <a:off x="0" y="0"/>
          <a:ext cx="0" cy="0"/>
        </a:xfrm>
      </p:grpSpPr>
      <p:sp>
        <p:nvSpPr>
          <p:cNvPr id="2" name="Title 1"/>
          <p:cNvSpPr>
            <a:spLocks noGrp="1"/>
          </p:cNvSpPr>
          <p:nvPr>
            <p:ph type="title"/>
          </p:nvPr>
        </p:nvSpPr>
        <p:spPr/>
        <p:txBody>
          <a:bodyPr/>
          <a:lstStyle/>
          <a:p>
            <a:r>
              <a:rPr lang="zh-CN" altLang="en-US" smtClean="0"/>
              <a:t>单击此处编辑母版标题样式</a:t>
            </a:r>
            <a:endParaRPr lang="en-US"/>
          </a:p>
        </p:txBody>
      </p:sp>
      <p:sp>
        <p:nvSpPr>
          <p:cNvPr id="3" name="Vertical Text Placeholder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4" name="Date Placeholder 3"/>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t>2020/4/15</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3406443739"/>
      </p:ext>
    </p:extLst>
  </p:cSld>
  <p:clrMapOvr>
    <a:masterClrMapping/>
  </p:clrMapOvr>
  <p:transition/>
  <p:timing/>
</p:sldLayout>
</file>

<file path=ppt/slideLayouts/slideLayout17.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vertTitleAndTx" preserve="1">
  <p:cSld name="垂直排列标题与 文本">
    <p:spTree>
      <p:nvGrpSpPr>
        <p:cNvPr id="1" name=""/>
        <p:cNvGrpSpPr/>
        <p:nvPr/>
      </p:nvGrpSpPr>
      <p:grpSpPr>
        <a:xfrm>
          <a:off x="0" y="0"/>
          <a:ext cx="0" cy="0"/>
        </a:xfrm>
      </p:grpSpPr>
      <p:sp>
        <p:nvSpPr>
          <p:cNvPr id="2" name="Vertical Title 1"/>
          <p:cNvSpPr>
            <a:spLocks noGrp="1"/>
          </p:cNvSpPr>
          <p:nvPr>
            <p:ph type="title" orient="vert"/>
          </p:nvPr>
        </p:nvSpPr>
        <p:spPr>
          <a:xfrm>
            <a:off x="8724900" y="365125"/>
            <a:ext cx="2628900" cy="5811838"/>
          </a:xfrm>
        </p:spPr>
        <p:txBody>
          <a:bodyPr vert="eaVert"/>
          <a:lstStyle/>
          <a:p>
            <a:r>
              <a:rPr lang="zh-CN" altLang="en-US" smtClean="0"/>
              <a:t>单击此处编辑母版标题样式</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4" name="Date Placeholder 3"/>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t>2020/4/15</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955357494"/>
      </p:ext>
    </p:extLst>
  </p:cSld>
  <p:clrMapOvr>
    <a:masterClrMapping/>
  </p:clrMapOvr>
  <p:transition/>
  <p:timing/>
</p:sldLayout>
</file>

<file path=ppt/slideLayouts/slideLayout2.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userDrawn="1">
  <p:cSld name="目录页">
    <p:spTree>
      <p:nvGrpSpPr>
        <p:cNvPr id="1" name=""/>
        <p:cNvGrpSpPr/>
        <p:nvPr/>
      </p:nvGrpSpPr>
      <p:grpSpPr>
        <a:xfrm>
          <a:off x="0" y="0"/>
          <a:ext cx="0" cy="0"/>
        </a:xfrm>
      </p:grpSpPr>
    </p:spTree>
    <p:extLst>
      <p:ext uri="{BB962C8B-B14F-4D97-AF65-F5344CB8AC3E}">
        <p14:creationId val="2151921472"/>
      </p:ext>
    </p:extLst>
  </p:cSld>
  <p:clrMapOvr>
    <a:masterClrMapping/>
  </p:clrMapOvr>
  <p:transition/>
  <p:timing/>
</p:sldLayout>
</file>

<file path=ppt/slideLayouts/slideLayout3.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userDrawn="1">
  <p:cSld name="过渡页">
    <p:spTree>
      <p:nvGrpSpPr>
        <p:cNvPr id="1" name=""/>
        <p:cNvGrpSpPr/>
        <p:nvPr/>
      </p:nvGrpSpPr>
      <p:grpSpPr>
        <a:xfrm>
          <a:off x="0" y="0"/>
          <a:ext cx="0" cy="0"/>
        </a:xfrm>
      </p:grpSpPr>
      <p:sp>
        <p:nvSpPr>
          <p:cNvPr id="2" name="矩形 1">
            <a:extLst>
              <a:ext uri="{FF2B5EF4-FFF2-40B4-BE49-F238E27FC236}">
                <a16:creationId xmlns:a16="http://schemas.microsoft.com/office/drawing/2014/main" id="{408F19D0-F4B1-4C67-8B9B-2D43605F14E0}"/>
              </a:ext>
            </a:extLst>
          </p:cNvPr>
          <p:cNvSpPr/>
          <p:nvPr userDrawn="1"/>
        </p:nvSpPr>
        <p:spPr>
          <a:xfrm>
            <a:off x="0" y="0"/>
            <a:ext cx="6096000" cy="3429000"/>
          </a:xfrm>
          <a:prstGeom prst="rect">
            <a:avLst/>
          </a:prstGeom>
          <a:solidFill>
            <a:srgbClr val="A0CB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 name="矩形 2">
            <a:extLst>
              <a:ext uri="{FF2B5EF4-FFF2-40B4-BE49-F238E27FC236}">
                <a16:creationId xmlns:a16="http://schemas.microsoft.com/office/drawing/2014/main" id="{9DB69652-717E-4E82-B343-89A08A675C12}"/>
              </a:ext>
            </a:extLst>
          </p:cNvPr>
          <p:cNvSpPr/>
          <p:nvPr userDrawn="1"/>
        </p:nvSpPr>
        <p:spPr>
          <a:xfrm>
            <a:off x="6096000" y="3428998"/>
            <a:ext cx="6096000" cy="3429002"/>
          </a:xfrm>
          <a:prstGeom prst="rect">
            <a:avLst/>
          </a:prstGeom>
          <a:solidFill>
            <a:srgbClr val="FAD3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val="2659773370"/>
      </p:ext>
    </p:extLst>
  </p:cSld>
  <p:clrMapOvr>
    <a:masterClrMapping/>
  </p:clrMapOvr>
  <p:transition/>
  <p:timing/>
</p:sldLayout>
</file>

<file path=ppt/slideLayouts/slideLayout4.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userDrawn="1">
  <p:cSld name="内容页">
    <p:spTree>
      <p:nvGrpSpPr>
        <p:cNvPr id="1" name=""/>
        <p:cNvGrpSpPr/>
        <p:nvPr/>
      </p:nvGrpSpPr>
      <p:grpSpPr>
        <a:xfrm>
          <a:off x="0" y="0"/>
          <a:ext cx="0" cy="0"/>
        </a:xfrm>
      </p:grpSpPr>
      <p:sp>
        <p:nvSpPr>
          <p:cNvPr id="2" name="矩形 1">
            <a:extLst>
              <a:ext uri="{FF2B5EF4-FFF2-40B4-BE49-F238E27FC236}">
                <a16:creationId xmlns:a16="http://schemas.microsoft.com/office/drawing/2014/main" id="{E1ABA3BE-18E6-4010-9492-4FBFC48D5492}"/>
              </a:ext>
            </a:extLst>
          </p:cNvPr>
          <p:cNvSpPr/>
          <p:nvPr userDrawn="1"/>
        </p:nvSpPr>
        <p:spPr>
          <a:xfrm>
            <a:off x="0" y="3429000"/>
            <a:ext cx="12192000" cy="3429000"/>
          </a:xfrm>
          <a:prstGeom prst="rect">
            <a:avLst/>
          </a:prstGeom>
          <a:solidFill>
            <a:srgbClr val="A0CB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 name="矩形 2">
            <a:extLst>
              <a:ext uri="{FF2B5EF4-FFF2-40B4-BE49-F238E27FC236}">
                <a16:creationId xmlns:a16="http://schemas.microsoft.com/office/drawing/2014/main" id="{37C3314B-EF1D-4293-876E-FCBFD460FA97}"/>
              </a:ext>
            </a:extLst>
          </p:cNvPr>
          <p:cNvSpPr/>
          <p:nvPr userDrawn="1"/>
        </p:nvSpPr>
        <p:spPr>
          <a:xfrm>
            <a:off x="0" y="0"/>
            <a:ext cx="12192000" cy="3429001"/>
          </a:xfrm>
          <a:prstGeom prst="rect">
            <a:avLst/>
          </a:prstGeom>
          <a:solidFill>
            <a:srgbClr val="FAD3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矩形: 圆角 6">
            <a:extLst>
              <a:ext uri="{FF2B5EF4-FFF2-40B4-BE49-F238E27FC236}">
                <a16:creationId xmlns:a16="http://schemas.microsoft.com/office/drawing/2014/main" id="{3C3015F2-B8FA-4BFE-8BFA-054E3A312611}"/>
              </a:ext>
            </a:extLst>
          </p:cNvPr>
          <p:cNvSpPr/>
          <p:nvPr userDrawn="1"/>
        </p:nvSpPr>
        <p:spPr>
          <a:xfrm>
            <a:off x="270113" y="191067"/>
            <a:ext cx="11721068" cy="6480628"/>
          </a:xfrm>
          <a:prstGeom prst="roundRect">
            <a:avLst>
              <a:gd name="adj" fmla="val 3785"/>
            </a:avLst>
          </a:prstGeom>
          <a:solidFill>
            <a:schemeClr val="bg1"/>
          </a:solidFill>
          <a:ln w="19304">
            <a:solidFill>
              <a:srgbClr val="727272"/>
            </a:solidFill>
          </a:ln>
          <a:effectLst>
            <a:outerShdw blurRad="1397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8" name="图片 7">
            <a:extLst>
              <a:ext uri="{FF2B5EF4-FFF2-40B4-BE49-F238E27FC236}">
                <a16:creationId xmlns:a16="http://schemas.microsoft.com/office/drawing/2014/main" id="{A1996CCC-4024-4AD3-950C-6384B5FBAA7B}"/>
              </a:ext>
            </a:extLst>
          </p:cNvPr>
          <p:cNvPicPr>
            <a:picLocks noChangeAspect="1"/>
          </p:cNvPicPr>
          <p:nvPr userDrawn="1"/>
        </p:nvPicPr>
        <p:blipFill>
          <a:blip r:embed="rId1">
            <a:extLst>
              <a:ext uri="{28A0092B-C50C-407E-A947-70E740481C1C}">
                <a14:useLocalDpi val="0"/>
              </a:ext>
            </a:extLst>
          </a:blip>
          <a:srcRect l="12695" t="28208" r="52504" b="33610"/>
          <a:stretch>
            <a:fillRect/>
          </a:stretch>
        </p:blipFill>
        <p:spPr>
          <a:xfrm>
            <a:off x="-454808" y="596900"/>
            <a:ext cx="3405971" cy="5562600"/>
          </a:xfrm>
          <a:prstGeom prst="rect">
            <a:avLst/>
          </a:prstGeom>
          <a:effectLst/>
        </p:spPr>
      </p:pic>
    </p:spTree>
    <p:extLst>
      <p:ext uri="{BB962C8B-B14F-4D97-AF65-F5344CB8AC3E}">
        <p14:creationId val="1771955444"/>
      </p:ext>
    </p:extLst>
  </p:cSld>
  <p:clrMapOvr>
    <a:masterClrMapping/>
  </p:clrMapOvr>
  <p:transition/>
  <p:timing/>
</p:sldLayout>
</file>

<file path=ppt/slideLayouts/slideLayout5.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userDrawn="1">
  <p:cSld name="尾页">
    <p:spTree>
      <p:nvGrpSpPr>
        <p:cNvPr id="1" name=""/>
        <p:cNvGrpSpPr/>
        <p:nvPr/>
      </p:nvGrpSpPr>
      <p:grpSpPr>
        <a:xfrm>
          <a:off x="0" y="0"/>
          <a:ext cx="0" cy="0"/>
        </a:xfrm>
      </p:grpSpPr>
      <p:sp>
        <p:nvSpPr>
          <p:cNvPr id="2" name="矩形 1">
            <a:extLst>
              <a:ext uri="{FF2B5EF4-FFF2-40B4-BE49-F238E27FC236}">
                <a16:creationId xmlns:a16="http://schemas.microsoft.com/office/drawing/2014/main" id="{C3406D85-5E05-4ED4-9A9F-CED228D8EF20}"/>
              </a:ext>
            </a:extLst>
          </p:cNvPr>
          <p:cNvSpPr/>
          <p:nvPr userDrawn="1"/>
        </p:nvSpPr>
        <p:spPr>
          <a:xfrm>
            <a:off x="0" y="0"/>
            <a:ext cx="6096000" cy="6858000"/>
          </a:xfrm>
          <a:prstGeom prst="rect">
            <a:avLst/>
          </a:prstGeom>
          <a:solidFill>
            <a:srgbClr val="A0CB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 name="矩形 2">
            <a:extLst>
              <a:ext uri="{FF2B5EF4-FFF2-40B4-BE49-F238E27FC236}">
                <a16:creationId xmlns:a16="http://schemas.microsoft.com/office/drawing/2014/main" id="{3AA9DC88-92C9-4AAF-9D8B-C247ACBE7C8A}"/>
              </a:ext>
            </a:extLst>
          </p:cNvPr>
          <p:cNvSpPr/>
          <p:nvPr userDrawn="1"/>
        </p:nvSpPr>
        <p:spPr>
          <a:xfrm>
            <a:off x="6096000" y="0"/>
            <a:ext cx="6096000" cy="6858000"/>
          </a:xfrm>
          <a:prstGeom prst="rect">
            <a:avLst/>
          </a:prstGeom>
          <a:solidFill>
            <a:srgbClr val="FAD3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val="667304993"/>
      </p:ext>
    </p:extLst>
  </p:cSld>
  <p:clrMapOvr>
    <a:masterClrMapping/>
  </p:clrMapOvr>
  <p:transition/>
  <p:timing/>
</p:sldLayout>
</file>

<file path=ppt/slideLayouts/slideLayout6.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blank">
  <p:cSld name="空白">
    <p:spTree>
      <p:nvGrpSpPr>
        <p:cNvPr id="1" name=""/>
        <p:cNvGrpSpPr/>
        <p:nvPr/>
      </p:nvGrpSpPr>
      <p:grpSpPr>
        <a:xfrm>
          <a:off x="0" y="0"/>
          <a:ext cx="0" cy="0"/>
        </a:xfrm>
      </p:grpSpPr>
      <p:sp>
        <p:nvSpPr>
          <p:cNvPr id="5" name="矩形 4">
            <a:extLst>
              <a:ext uri="{FF2B5EF4-FFF2-40B4-BE49-F238E27FC236}">
                <a16:creationId xmlns:a16="http://schemas.microsoft.com/office/drawing/2014/main" id="{42E857AC-EF41-4A43-98EC-1155DE42E698}"/>
              </a:ext>
            </a:extLst>
          </p:cNvPr>
          <p:cNvSpPr/>
          <p:nvPr userDrawn="1"/>
        </p:nvSpPr>
        <p:spPr>
          <a:xfrm>
            <a:off x="0" y="0"/>
            <a:ext cx="6096000" cy="6858000"/>
          </a:xfrm>
          <a:prstGeom prst="rect">
            <a:avLst/>
          </a:prstGeom>
          <a:solidFill>
            <a:srgbClr val="A0CB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矩形 5">
            <a:extLst>
              <a:ext uri="{FF2B5EF4-FFF2-40B4-BE49-F238E27FC236}">
                <a16:creationId xmlns:a16="http://schemas.microsoft.com/office/drawing/2014/main" id="{151B6B24-BE61-400D-8757-F475B342A88A}"/>
              </a:ext>
            </a:extLst>
          </p:cNvPr>
          <p:cNvSpPr/>
          <p:nvPr userDrawn="1"/>
        </p:nvSpPr>
        <p:spPr>
          <a:xfrm>
            <a:off x="6096000" y="0"/>
            <a:ext cx="6096000" cy="6858000"/>
          </a:xfrm>
          <a:prstGeom prst="rect">
            <a:avLst/>
          </a:prstGeom>
          <a:solidFill>
            <a:srgbClr val="FAD3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val="1111582030"/>
      </p:ext>
    </p:extLst>
  </p:cSld>
  <p:clrMapOvr>
    <a:masterClrMapping/>
  </p:clrMapOvr>
  <p:transition/>
  <p:timing/>
</p:sldLayout>
</file>

<file path=ppt/slideLayouts/slideLayout7.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itle" preserve="1">
  <p:cSld name="标题幻灯片">
    <p:spTree>
      <p:nvGrpSpPr>
        <p:cNvPr id="1" name=""/>
        <p:cNvGrpSpPr/>
        <p:nvPr/>
      </p:nvGrpSpPr>
      <p:grpSpPr>
        <a:xfrm>
          <a:off x="0" y="0"/>
          <a: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zh-CN" altLang="en-US" smtClean="0"/>
              <a:t>单击此处编辑母版标题样式</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smtClean="0"/>
              <a:t>单击此处编辑母版副标题样式</a:t>
            </a:r>
            <a:endParaRPr lang="en-US"/>
          </a:p>
        </p:txBody>
      </p:sp>
      <p:sp>
        <p:nvSpPr>
          <p:cNvPr id="4" name="Date Placeholder 3"/>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t>2020/4/15</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420638049"/>
      </p:ext>
    </p:extLst>
  </p:cSld>
  <p:clrMapOvr>
    <a:masterClrMapping/>
  </p:clrMapOvr>
  <p:transition/>
  <p:timing/>
</p:sldLayout>
</file>

<file path=ppt/slideLayouts/slideLayout8.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obj" preserve="1">
  <p:cSld name="标题和内容">
    <p:spTree>
      <p:nvGrpSpPr>
        <p:cNvPr id="1" name=""/>
        <p:cNvGrpSpPr/>
        <p:nvPr/>
      </p:nvGrpSpPr>
      <p:grpSpPr>
        <a:xfrm>
          <a:off x="0" y="0"/>
          <a:ext cx="0" cy="0"/>
        </a:xfrm>
      </p:grpSpPr>
      <p:sp>
        <p:nvSpPr>
          <p:cNvPr id="2" name="Title 1"/>
          <p:cNvSpPr>
            <a:spLocks noGrp="1"/>
          </p:cNvSpPr>
          <p:nvPr>
            <p:ph type="title"/>
          </p:nvPr>
        </p:nvSpPr>
        <p:spPr/>
        <p:txBody>
          <a:bodyPr/>
          <a:lstStyle/>
          <a:p>
            <a:r>
              <a:rPr lang="zh-CN" altLang="en-US" smtClean="0"/>
              <a:t>单击此处编辑母版标题样式</a:t>
            </a:r>
            <a:endParaRPr lang="en-US"/>
          </a:p>
        </p:txBody>
      </p:sp>
      <p:sp>
        <p:nvSpPr>
          <p:cNvPr id="3" name="Content Placeholder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4" name="Date Placeholder 3"/>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t>2020/4/15</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2507025918"/>
      </p:ext>
    </p:extLst>
  </p:cSld>
  <p:clrMapOvr>
    <a:masterClrMapping/>
  </p:clrMapOvr>
  <p:transition/>
  <p:timing/>
</p:sldLayout>
</file>

<file path=ppt/slideLayouts/slideLayout9.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secHead" preserve="1">
  <p:cSld name="节标题">
    <p:spTree>
      <p:nvGrpSpPr>
        <p:cNvPr id="1" name=""/>
        <p:cNvGrpSpPr/>
        <p:nvPr/>
      </p:nvGrpSpPr>
      <p:grpSpPr>
        <a:xfrm>
          <a:off x="0" y="0"/>
          <a: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zh-CN" altLang="en-US" smtClean="0"/>
              <a:t>单击此处编辑母版标题样式</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smtClean="0"/>
              <a:t>单击此处编辑母版文本样式</a:t>
            </a:r>
          </a:p>
        </p:txBody>
      </p:sp>
      <p:sp>
        <p:nvSpPr>
          <p:cNvPr id="4" name="Date Placeholder 3"/>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t>2020/4/15</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3634000599"/>
      </p:ext>
    </p:extLst>
  </p:cSld>
  <p:clrMapOvr>
    <a:masterClrMapping/>
  </p:clrMapOvr>
  <p:transition/>
  <p:timing/>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slideLayouts/slideLayout4.xml" Type="http://schemas.openxmlformats.org/officeDocument/2006/relationships/slideLayout"/><Relationship Id="rId5" Target="../slideLayouts/slideLayout5.xml" Type="http://schemas.openxmlformats.org/officeDocument/2006/relationships/slideLayout"/><Relationship Id="rId6" Target="../slideLayouts/slideLayout6.xml" Type="http://schemas.openxmlformats.org/officeDocument/2006/relationships/slideLayout"/><Relationship Id="rId7" Target="../theme/theme1.xml" Type="http://schemas.openxmlformats.org/officeDocument/2006/relationships/theme"/></Relationships>
</file>

<file path=ppt/slideMasters/_rels/slideMaster2.xml.rels><?xml version="1.0" encoding="UTF-8" standalone="yes"?><Relationships xmlns="http://schemas.openxmlformats.org/package/2006/relationships"><Relationship Id="rId1" Target="../slideLayouts/slideLayout7.xml" Type="http://schemas.openxmlformats.org/officeDocument/2006/relationships/slideLayout"/><Relationship Id="rId10" Target="../slideLayouts/slideLayout16.xml" Type="http://schemas.openxmlformats.org/officeDocument/2006/relationships/slideLayout"/><Relationship Id="rId11" Target="../slideLayouts/slideLayout17.xml" Type="http://schemas.openxmlformats.org/officeDocument/2006/relationships/slideLayout"/><Relationship Id="rId12" Target="../theme/theme2.xml" Type="http://schemas.openxmlformats.org/officeDocument/2006/relationships/theme"/><Relationship Id="rId2" Target="../slideLayouts/slideLayout8.xml" Type="http://schemas.openxmlformats.org/officeDocument/2006/relationships/slideLayout"/><Relationship Id="rId3" Target="../slideLayouts/slideLayout9.xml" Type="http://schemas.openxmlformats.org/officeDocument/2006/relationships/slideLayout"/><Relationship Id="rId4" Target="../slideLayouts/slideLayout10.xml" Type="http://schemas.openxmlformats.org/officeDocument/2006/relationships/slideLayout"/><Relationship Id="rId5" Target="../slideLayouts/slideLayout11.xml" Type="http://schemas.openxmlformats.org/officeDocument/2006/relationships/slideLayout"/><Relationship Id="rId6" Target="../slideLayouts/slideLayout12.xml" Type="http://schemas.openxmlformats.org/officeDocument/2006/relationships/slideLayout"/><Relationship Id="rId7" Target="../slideLayouts/slideLayout13.xml" Type="http://schemas.openxmlformats.org/officeDocument/2006/relationships/slideLayout"/><Relationship Id="rId8" Target="../slideLayouts/slideLayout14.xml" Type="http://schemas.openxmlformats.org/officeDocument/2006/relationships/slideLayout"/><Relationship Id="rId9" Target="../slideLayouts/slideLayout15.xml" Type="http://schemas.openxmlformats.org/officeDocument/2006/relationships/slideLayout"/></Relationships>
</file>

<file path=ppt/slideMasters/slideMaster1.xml><?xml version="1.0" encoding="utf-8"?>
<p:sldMaster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p:bg>
      <p:bgRef idx="1001">
        <a:schemeClr val="bg1"/>
      </p:bgRef>
    </p:bg>
    <p:spTree>
      <p:nvGrpSpPr>
        <p:cNvPr id="1" name=""/>
        <p:cNvGrpSpPr/>
        <p:nvPr/>
      </p:nvGrpSpPr>
      <p:grpSpPr>
        <a:xfrm>
          <a:off x="0" y="0"/>
          <a:ext cx="0" cy="0"/>
        </a:xfrm>
      </p:grpSpPr>
    </p:spTree>
    <p:extLst>
      <p:ext uri="{BB962C8B-B14F-4D97-AF65-F5344CB8AC3E}">
        <p14:creationId val="110455485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Lst>
  <p:transition/>
  <p:timing/>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p:bg>
      <p:bgRef idx="1001">
        <a:schemeClr val="bg1"/>
      </p:bgRef>
    </p:bg>
    <p:spTree>
      <p:nvGrpSpPr>
        <p:cNvPr id="1" name=""/>
        <p:cNvGrpSpPr/>
        <p:nvPr/>
      </p:nvGrpSpPr>
      <p:grpSpPr>
        <a:xfrm>
          <a:off x="0" y="0"/>
          <a: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smtClean="0"/>
              <a:t>单击此处编辑母版标题样式</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6E5758D-A3C3-4E88-8AC0-22500507BD7E}" type="datetimeFigureOut">
              <a:rPr lang="zh-CN" altLang="en-US" smtClean="0">
                <a:solidFill>
                  <a:prstClr val="black">
                    <a:tint val="75000"/>
                  </a:prstClr>
                </a:solidFill>
              </a:rPr>
              <a:t>2020/4/15</a:t>
            </a:fld>
            <a:endParaRPr lang="zh-CN" alt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3793464612"/>
      </p:ext>
    </p:extLst>
  </p:cSld>
  <p:clrMap bg1="lt1" tx1="dk1" bg2="lt2" tx2="dk2" accent1="accent1" accent2="accent2" accent3="accent3" accent4="accent4" accent5="accent5" accent6="accent6" hlink="hlink" folHlink="folHlink"/>
  <p:sldLayoutIdLst>
    <p:sldLayoutId id="2147483656" r:id="rId1"/>
    <p:sldLayoutId id="2147483657" r:id="rId2"/>
    <p:sldLayoutId id="2147483658" r:id="rId3"/>
    <p:sldLayoutId id="2147483659" r:id="rId4"/>
    <p:sldLayoutId id="2147483660" r:id="rId5"/>
    <p:sldLayoutId id="2147483661" r:id="rId6"/>
    <p:sldLayoutId id="2147483662" r:id="rId7"/>
    <p:sldLayoutId id="2147483663" r:id="rId8"/>
    <p:sldLayoutId id="2147483664" r:id="rId9"/>
    <p:sldLayoutId id="2147483665" r:id="rId10"/>
    <p:sldLayoutId id="2147483666" r:id="rId11"/>
  </p:sldLayoutIdLst>
  <p:transition/>
  <p:timing/>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Relationships xmlns="http://schemas.openxmlformats.org/package/2006/relationships"><Relationship Id="rId1" Target="../slideLayouts/slideLayout1.xml" Type="http://schemas.openxmlformats.org/officeDocument/2006/relationships/slideLayout"/><Relationship Id="rId10" Target="../media/image8.svg" Type="http://schemas.openxmlformats.org/officeDocument/2006/relationships/image"/><Relationship Id="rId11" Target="../media/image9.png" Type="http://schemas.openxmlformats.org/officeDocument/2006/relationships/image"/><Relationship Id="rId12" Target="../media/image10.svg" Type="http://schemas.openxmlformats.org/officeDocument/2006/relationships/image"/><Relationship Id="rId2" Target="../notesSlides/notesSlide1.xml" Type="http://schemas.openxmlformats.org/officeDocument/2006/relationships/notesSlide"/><Relationship Id="rId3" Target="../media/image1.png" Type="http://schemas.openxmlformats.org/officeDocument/2006/relationships/image"/><Relationship Id="rId4" Target="../media/image2.emf" Type="http://schemas.openxmlformats.org/officeDocument/2006/relationships/image"/><Relationship Id="rId5" Target="../media/image3.png" Type="http://schemas.openxmlformats.org/officeDocument/2006/relationships/image"/><Relationship Id="rId6" Target="../media/image4.svg" Type="http://schemas.openxmlformats.org/officeDocument/2006/relationships/image"/><Relationship Id="rId7" Target="../media/image5.png" Type="http://schemas.openxmlformats.org/officeDocument/2006/relationships/image"/><Relationship Id="rId8" Target="../media/image6.svg" Type="http://schemas.openxmlformats.org/officeDocument/2006/relationships/image"/><Relationship Id="rId9" Target="../media/image7.png" Type="http://schemas.openxmlformats.org/officeDocument/2006/relationships/image"/></Relationships>
</file>

<file path=ppt/slides/_rels/slide10.xml.rels><?xml version="1.0" encoding="UTF-8" standalone="yes"?><Relationships xmlns="http://schemas.openxmlformats.org/package/2006/relationships"><Relationship Id="rId1" Target="../slideLayouts/slideLayout4.xml" Type="http://schemas.openxmlformats.org/officeDocument/2006/relationships/slideLayout"/><Relationship Id="rId2" Target="../notesSlides/notesSlide10.xml" Type="http://schemas.openxmlformats.org/officeDocument/2006/relationships/notesSlide"/><Relationship Id="rId3" Target="../media/image34.png" Type="http://schemas.openxmlformats.org/officeDocument/2006/relationships/image"/><Relationship Id="rId4" Target="../media/image66.svg" Type="http://schemas.openxmlformats.org/officeDocument/2006/relationships/image"/><Relationship Id="rId5" Target="../media/image67.svg" Type="http://schemas.openxmlformats.org/officeDocument/2006/relationships/image"/><Relationship Id="rId6" Target="../media/image7.png" Type="http://schemas.openxmlformats.org/officeDocument/2006/relationships/image"/><Relationship Id="rId7" Target="../media/image68.svg" Type="http://schemas.openxmlformats.org/officeDocument/2006/relationships/image"/></Relationships>
</file>

<file path=ppt/slides/_rels/slide11.xml.rels><?xml version="1.0" encoding="UTF-8" standalone="yes"?><Relationships xmlns="http://schemas.openxmlformats.org/package/2006/relationships"><Relationship Id="rId1" Target="../slideLayouts/slideLayout4.xml" Type="http://schemas.openxmlformats.org/officeDocument/2006/relationships/slideLayout"/><Relationship Id="rId2" Target="../notesSlides/notesSlide11.xml" Type="http://schemas.openxmlformats.org/officeDocument/2006/relationships/notesSlide"/><Relationship Id="rId3" Target="../media/image34.png" Type="http://schemas.openxmlformats.org/officeDocument/2006/relationships/image"/><Relationship Id="rId4" Target="../media/image69.svg" Type="http://schemas.openxmlformats.org/officeDocument/2006/relationships/image"/><Relationship Id="rId5" Target="../media/image70.svg" Type="http://schemas.openxmlformats.org/officeDocument/2006/relationships/image"/><Relationship Id="rId6" Target="../media/image7.png" Type="http://schemas.openxmlformats.org/officeDocument/2006/relationships/image"/><Relationship Id="rId7" Target="../media/image71.svg" Type="http://schemas.openxmlformats.org/officeDocument/2006/relationships/image"/><Relationship Id="rId8" Target="../media/image72.png" Type="http://schemas.openxmlformats.org/officeDocument/2006/relationships/image"/><Relationship Id="rId9" Target="../media/image73.svg" Type="http://schemas.openxmlformats.org/officeDocument/2006/relationships/image"/></Relationships>
</file>

<file path=ppt/slides/_rels/slide12.xml.rels><?xml version="1.0" encoding="UTF-8" standalone="yes"?><Relationships xmlns="http://schemas.openxmlformats.org/package/2006/relationships"><Relationship Id="rId1" Target="../slideLayouts/slideLayout4.xml" Type="http://schemas.openxmlformats.org/officeDocument/2006/relationships/slideLayout"/><Relationship Id="rId10" Target="../media/image79.png" Type="http://schemas.openxmlformats.org/officeDocument/2006/relationships/image"/><Relationship Id="rId11" Target="../media/image80.png" Type="http://schemas.openxmlformats.org/officeDocument/2006/relationships/image"/><Relationship Id="rId2" Target="../notesSlides/notesSlide12.xml" Type="http://schemas.openxmlformats.org/officeDocument/2006/relationships/notesSlide"/><Relationship Id="rId3" Target="../media/image34.png" Type="http://schemas.openxmlformats.org/officeDocument/2006/relationships/image"/><Relationship Id="rId4" Target="../media/image74.svg" Type="http://schemas.openxmlformats.org/officeDocument/2006/relationships/image"/><Relationship Id="rId5" Target="../media/image75.svg" Type="http://schemas.openxmlformats.org/officeDocument/2006/relationships/image"/><Relationship Id="rId6" Target="../media/image7.png" Type="http://schemas.openxmlformats.org/officeDocument/2006/relationships/image"/><Relationship Id="rId7" Target="../media/image76.svg" Type="http://schemas.openxmlformats.org/officeDocument/2006/relationships/image"/><Relationship Id="rId8" Target="../media/image77.png" Type="http://schemas.openxmlformats.org/officeDocument/2006/relationships/image"/><Relationship Id="rId9" Target="../media/image78.png" Type="http://schemas.openxmlformats.org/officeDocument/2006/relationships/image"/></Relationships>
</file>

<file path=ppt/slides/_rels/slide13.xml.rels><?xml version="1.0" encoding="UTF-8" standalone="yes"?><Relationships xmlns="http://schemas.openxmlformats.org/package/2006/relationships"><Relationship Id="rId1" Target="../slideLayouts/slideLayout4.xml" Type="http://schemas.openxmlformats.org/officeDocument/2006/relationships/slideLayout"/><Relationship Id="rId10" Target="../media/image86.png" Type="http://schemas.openxmlformats.org/officeDocument/2006/relationships/image"/><Relationship Id="rId2" Target="../notesSlides/notesSlide13.xml" Type="http://schemas.openxmlformats.org/officeDocument/2006/relationships/notesSlide"/><Relationship Id="rId3" Target="../media/image34.png" Type="http://schemas.openxmlformats.org/officeDocument/2006/relationships/image"/><Relationship Id="rId4" Target="../media/image81.svg" Type="http://schemas.openxmlformats.org/officeDocument/2006/relationships/image"/><Relationship Id="rId5" Target="../media/image82.svg" Type="http://schemas.openxmlformats.org/officeDocument/2006/relationships/image"/><Relationship Id="rId6" Target="../media/image7.png" Type="http://schemas.openxmlformats.org/officeDocument/2006/relationships/image"/><Relationship Id="rId7" Target="../media/image83.svg" Type="http://schemas.openxmlformats.org/officeDocument/2006/relationships/image"/><Relationship Id="rId8" Target="../media/image84.png" Type="http://schemas.openxmlformats.org/officeDocument/2006/relationships/image"/><Relationship Id="rId9" Target="../media/image85.png" Type="http://schemas.openxmlformats.org/officeDocument/2006/relationships/image"/></Relationships>
</file>

<file path=ppt/slides/_rels/slide14.xml.rels><?xml version="1.0" encoding="UTF-8" standalone="yes"?><Relationships xmlns="http://schemas.openxmlformats.org/package/2006/relationships"><Relationship Id="rId1" Target="../slideLayouts/slideLayout3.xml" Type="http://schemas.openxmlformats.org/officeDocument/2006/relationships/slideLayout"/><Relationship Id="rId10" Target="../media/image17.png" Type="http://schemas.openxmlformats.org/officeDocument/2006/relationships/image"/><Relationship Id="rId11" Target="../media/image90.svg" Type="http://schemas.openxmlformats.org/officeDocument/2006/relationships/image"/><Relationship Id="rId12" Target="../media/image91.svg" Type="http://schemas.openxmlformats.org/officeDocument/2006/relationships/image"/><Relationship Id="rId13" Target="../media/image20.png" Type="http://schemas.openxmlformats.org/officeDocument/2006/relationships/image"/><Relationship Id="rId14" Target="../media/image92.svg" Type="http://schemas.openxmlformats.org/officeDocument/2006/relationships/image"/><Relationship Id="rId2" Target="../notesSlides/notesSlide14.xml" Type="http://schemas.openxmlformats.org/officeDocument/2006/relationships/notesSlide"/><Relationship Id="rId3" Target="../media/image58.png" Type="http://schemas.openxmlformats.org/officeDocument/2006/relationships/image"/><Relationship Id="rId4" Target="../media/image87.svg" Type="http://schemas.openxmlformats.org/officeDocument/2006/relationships/image"/><Relationship Id="rId5" Target="../media/image60.png" Type="http://schemas.openxmlformats.org/officeDocument/2006/relationships/image"/><Relationship Id="rId6" Target="../media/image88.svg" Type="http://schemas.openxmlformats.org/officeDocument/2006/relationships/image"/><Relationship Id="rId7" Target="../media/image1.png" Type="http://schemas.openxmlformats.org/officeDocument/2006/relationships/image"/><Relationship Id="rId8" Target="../media/image29.png" Type="http://schemas.openxmlformats.org/officeDocument/2006/relationships/image"/><Relationship Id="rId9" Target="../media/image89.svg" Type="http://schemas.openxmlformats.org/officeDocument/2006/relationships/image"/></Relationships>
</file>

<file path=ppt/slides/_rels/slide15.xml.rels><?xml version="1.0" encoding="UTF-8" standalone="yes"?><Relationships xmlns="http://schemas.openxmlformats.org/package/2006/relationships"><Relationship Id="rId1" Target="../slideLayouts/slideLayout4.xml" Type="http://schemas.openxmlformats.org/officeDocument/2006/relationships/slideLayout"/><Relationship Id="rId2" Target="../notesSlides/notesSlide15.xml" Type="http://schemas.openxmlformats.org/officeDocument/2006/relationships/notesSlide"/><Relationship Id="rId3" Target="../media/image34.png" Type="http://schemas.openxmlformats.org/officeDocument/2006/relationships/image"/><Relationship Id="rId4" Target="../media/image93.svg" Type="http://schemas.openxmlformats.org/officeDocument/2006/relationships/image"/><Relationship Id="rId5" Target="../media/image94.svg" Type="http://schemas.openxmlformats.org/officeDocument/2006/relationships/image"/><Relationship Id="rId6" Target="../media/image20.png" Type="http://schemas.openxmlformats.org/officeDocument/2006/relationships/image"/><Relationship Id="rId7" Target="../media/image95.svg" Type="http://schemas.openxmlformats.org/officeDocument/2006/relationships/image"/></Relationships>
</file>

<file path=ppt/slides/_rels/slide16.xml.rels><?xml version="1.0" encoding="UTF-8" standalone="yes"?><Relationships xmlns="http://schemas.openxmlformats.org/package/2006/relationships"><Relationship Id="rId1" Target="../slideLayouts/slideLayout4.xml" Type="http://schemas.openxmlformats.org/officeDocument/2006/relationships/slideLayout"/><Relationship Id="rId2" Target="../notesSlides/notesSlide16.xml" Type="http://schemas.openxmlformats.org/officeDocument/2006/relationships/notesSlide"/><Relationship Id="rId3" Target="../media/image34.png" Type="http://schemas.openxmlformats.org/officeDocument/2006/relationships/image"/><Relationship Id="rId4" Target="../media/image96.svg" Type="http://schemas.openxmlformats.org/officeDocument/2006/relationships/image"/><Relationship Id="rId5" Target="../media/image97.svg" Type="http://schemas.openxmlformats.org/officeDocument/2006/relationships/image"/><Relationship Id="rId6" Target="../media/image20.png" Type="http://schemas.openxmlformats.org/officeDocument/2006/relationships/image"/><Relationship Id="rId7" Target="../media/image98.svg" Type="http://schemas.openxmlformats.org/officeDocument/2006/relationships/image"/></Relationships>
</file>

<file path=ppt/slides/_rels/slide17.xml.rels><?xml version="1.0" encoding="UTF-8" standalone="yes"?><Relationships xmlns="http://schemas.openxmlformats.org/package/2006/relationships"><Relationship Id="rId1" Target="../slideLayouts/slideLayout4.xml" Type="http://schemas.openxmlformats.org/officeDocument/2006/relationships/slideLayout"/><Relationship Id="rId2" Target="../notesSlides/notesSlide17.xml" Type="http://schemas.openxmlformats.org/officeDocument/2006/relationships/notesSlide"/><Relationship Id="rId3" Target="../media/image34.png" Type="http://schemas.openxmlformats.org/officeDocument/2006/relationships/image"/><Relationship Id="rId4" Target="../media/image99.svg" Type="http://schemas.openxmlformats.org/officeDocument/2006/relationships/image"/><Relationship Id="rId5" Target="../media/image100.svg" Type="http://schemas.openxmlformats.org/officeDocument/2006/relationships/image"/><Relationship Id="rId6" Target="../media/image20.png" Type="http://schemas.openxmlformats.org/officeDocument/2006/relationships/image"/><Relationship Id="rId7" Target="../media/image101.svg" Type="http://schemas.openxmlformats.org/officeDocument/2006/relationships/image"/></Relationships>
</file>

<file path=ppt/slides/_rels/slide18.xml.rels><?xml version="1.0" encoding="UTF-8" standalone="yes"?><Relationships xmlns="http://schemas.openxmlformats.org/package/2006/relationships"><Relationship Id="rId1" Target="../slideLayouts/slideLayout4.xml" Type="http://schemas.openxmlformats.org/officeDocument/2006/relationships/slideLayout"/><Relationship Id="rId2" Target="../notesSlides/notesSlide18.xml" Type="http://schemas.openxmlformats.org/officeDocument/2006/relationships/notesSlide"/><Relationship Id="rId3" Target="../media/image34.png" Type="http://schemas.openxmlformats.org/officeDocument/2006/relationships/image"/><Relationship Id="rId4" Target="../media/image102.svg" Type="http://schemas.openxmlformats.org/officeDocument/2006/relationships/image"/><Relationship Id="rId5" Target="../media/image103.svg" Type="http://schemas.openxmlformats.org/officeDocument/2006/relationships/image"/><Relationship Id="rId6" Target="../media/image20.png" Type="http://schemas.openxmlformats.org/officeDocument/2006/relationships/image"/><Relationship Id="rId7" Target="../media/image104.svg" Type="http://schemas.openxmlformats.org/officeDocument/2006/relationships/image"/><Relationship Id="rId8" Target="../media/image105.png" Type="http://schemas.openxmlformats.org/officeDocument/2006/relationships/image"/><Relationship Id="rId9" Target="../media/image106.png" Type="http://schemas.openxmlformats.org/officeDocument/2006/relationships/image"/></Relationships>
</file>

<file path=ppt/slides/_rels/slide19.xml.rels><?xml version="1.0" encoding="UTF-8" standalone="yes"?><Relationships xmlns="http://schemas.openxmlformats.org/package/2006/relationships"><Relationship Id="rId1" Target="../slideLayouts/slideLayout3.xml" Type="http://schemas.openxmlformats.org/officeDocument/2006/relationships/slideLayout"/><Relationship Id="rId10" Target="../media/image17.png" Type="http://schemas.openxmlformats.org/officeDocument/2006/relationships/image"/><Relationship Id="rId11" Target="../media/image110.svg" Type="http://schemas.openxmlformats.org/officeDocument/2006/relationships/image"/><Relationship Id="rId12" Target="../media/image111.svg" Type="http://schemas.openxmlformats.org/officeDocument/2006/relationships/image"/><Relationship Id="rId13" Target="../media/image22.png" Type="http://schemas.openxmlformats.org/officeDocument/2006/relationships/image"/><Relationship Id="rId14" Target="../media/image112.svg" Type="http://schemas.openxmlformats.org/officeDocument/2006/relationships/image"/><Relationship Id="rId2" Target="../notesSlides/notesSlide19.xml" Type="http://schemas.openxmlformats.org/officeDocument/2006/relationships/notesSlide"/><Relationship Id="rId3" Target="../media/image58.png" Type="http://schemas.openxmlformats.org/officeDocument/2006/relationships/image"/><Relationship Id="rId4" Target="../media/image107.svg" Type="http://schemas.openxmlformats.org/officeDocument/2006/relationships/image"/><Relationship Id="rId5" Target="../media/image60.png" Type="http://schemas.openxmlformats.org/officeDocument/2006/relationships/image"/><Relationship Id="rId6" Target="../media/image108.svg" Type="http://schemas.openxmlformats.org/officeDocument/2006/relationships/image"/><Relationship Id="rId7" Target="../media/image1.png" Type="http://schemas.openxmlformats.org/officeDocument/2006/relationships/image"/><Relationship Id="rId8" Target="../media/image29.png" Type="http://schemas.openxmlformats.org/officeDocument/2006/relationships/image"/><Relationship Id="rId9" Target="../media/image109.svg" Type="http://schemas.openxmlformats.org/officeDocument/2006/relationships/image"/></Relationships>
</file>

<file path=ppt/slides/_rels/slide2.xml.rels><?xml version="1.0" encoding="UTF-8" standalone="yes"?><Relationships xmlns="http://schemas.openxmlformats.org/package/2006/relationships"><Relationship Id="rId1" Target="../slideLayouts/slideLayout2.xml" Type="http://schemas.openxmlformats.org/officeDocument/2006/relationships/slideLayout"/><Relationship Id="rId10" Target="../media/image7.png" Type="http://schemas.openxmlformats.org/officeDocument/2006/relationships/image"/><Relationship Id="rId11" Target="../media/image15.svg" Type="http://schemas.openxmlformats.org/officeDocument/2006/relationships/image"/><Relationship Id="rId12" Target="../media/image9.png" Type="http://schemas.openxmlformats.org/officeDocument/2006/relationships/image"/><Relationship Id="rId13" Target="../media/image16.svg" Type="http://schemas.openxmlformats.org/officeDocument/2006/relationships/image"/><Relationship Id="rId14" Target="../media/image2.emf" Type="http://schemas.openxmlformats.org/officeDocument/2006/relationships/image"/><Relationship Id="rId15" Target="../media/image17.png" Type="http://schemas.openxmlformats.org/officeDocument/2006/relationships/image"/><Relationship Id="rId16" Target="../media/image18.svg" Type="http://schemas.openxmlformats.org/officeDocument/2006/relationships/image"/><Relationship Id="rId17" Target="../media/image19.svg" Type="http://schemas.openxmlformats.org/officeDocument/2006/relationships/image"/><Relationship Id="rId18" Target="../media/image20.png" Type="http://schemas.openxmlformats.org/officeDocument/2006/relationships/image"/><Relationship Id="rId19" Target="../media/image21.svg" Type="http://schemas.openxmlformats.org/officeDocument/2006/relationships/image"/><Relationship Id="rId2" Target="../notesSlides/notesSlide2.xml" Type="http://schemas.openxmlformats.org/officeDocument/2006/relationships/notesSlide"/><Relationship Id="rId20" Target="../media/image22.png" Type="http://schemas.openxmlformats.org/officeDocument/2006/relationships/image"/><Relationship Id="rId21" Target="../media/image23.svg" Type="http://schemas.openxmlformats.org/officeDocument/2006/relationships/image"/><Relationship Id="rId3" Target="../media/image1.png" Type="http://schemas.openxmlformats.org/officeDocument/2006/relationships/image"/><Relationship Id="rId4" Target="../media/image11.png" Type="http://schemas.openxmlformats.org/officeDocument/2006/relationships/image"/><Relationship Id="rId5" Target="../media/image12.svg" Type="http://schemas.openxmlformats.org/officeDocument/2006/relationships/image"/><Relationship Id="rId6" Target="../media/image3.png" Type="http://schemas.openxmlformats.org/officeDocument/2006/relationships/image"/><Relationship Id="rId7" Target="../media/image13.svg" Type="http://schemas.openxmlformats.org/officeDocument/2006/relationships/image"/><Relationship Id="rId8" Target="../media/image5.png" Type="http://schemas.openxmlformats.org/officeDocument/2006/relationships/image"/><Relationship Id="rId9" Target="../media/image14.svg" Type="http://schemas.openxmlformats.org/officeDocument/2006/relationships/image"/></Relationships>
</file>

<file path=ppt/slides/_rels/slide20.xml.rels><?xml version="1.0" encoding="UTF-8" standalone="yes"?><Relationships xmlns="http://schemas.openxmlformats.org/package/2006/relationships"><Relationship Id="rId1" Target="../slideLayouts/slideLayout4.xml" Type="http://schemas.openxmlformats.org/officeDocument/2006/relationships/slideLayout"/><Relationship Id="rId2" Target="../notesSlides/notesSlide20.xml" Type="http://schemas.openxmlformats.org/officeDocument/2006/relationships/notesSlide"/><Relationship Id="rId3" Target="../media/image34.png" Type="http://schemas.openxmlformats.org/officeDocument/2006/relationships/image"/><Relationship Id="rId4" Target="../media/image113.svg" Type="http://schemas.openxmlformats.org/officeDocument/2006/relationships/image"/><Relationship Id="rId5" Target="../media/image114.svg" Type="http://schemas.openxmlformats.org/officeDocument/2006/relationships/image"/><Relationship Id="rId6" Target="../media/image22.png" Type="http://schemas.openxmlformats.org/officeDocument/2006/relationships/image"/><Relationship Id="rId7" Target="../media/image115.svg" Type="http://schemas.openxmlformats.org/officeDocument/2006/relationships/image"/></Relationships>
</file>

<file path=ppt/slides/_rels/slide21.xml.rels><?xml version="1.0" encoding="UTF-8" standalone="yes"?><Relationships xmlns="http://schemas.openxmlformats.org/package/2006/relationships"><Relationship Id="rId1" Target="../slideLayouts/slideLayout4.xml" Type="http://schemas.openxmlformats.org/officeDocument/2006/relationships/slideLayout"/><Relationship Id="rId10" Target="../tags/tag3.xml" Type="http://schemas.openxmlformats.org/officeDocument/2006/relationships/tags"/><Relationship Id="rId11" Target="../tags/tag4.xml" Type="http://schemas.openxmlformats.org/officeDocument/2006/relationships/tags"/><Relationship Id="rId12" Target="../media/image37.png" Type="http://schemas.openxmlformats.org/officeDocument/2006/relationships/image"/><Relationship Id="rId2" Target="../notesSlides/notesSlide21.xml" Type="http://schemas.openxmlformats.org/officeDocument/2006/relationships/notesSlide"/><Relationship Id="rId3" Target="../media/image34.png" Type="http://schemas.openxmlformats.org/officeDocument/2006/relationships/image"/><Relationship Id="rId4" Target="../media/image116.svg" Type="http://schemas.openxmlformats.org/officeDocument/2006/relationships/image"/><Relationship Id="rId5" Target="../media/image117.svg" Type="http://schemas.openxmlformats.org/officeDocument/2006/relationships/image"/><Relationship Id="rId6" Target="../media/image20.png" Type="http://schemas.openxmlformats.org/officeDocument/2006/relationships/image"/><Relationship Id="rId7" Target="../media/image118.svg" Type="http://schemas.openxmlformats.org/officeDocument/2006/relationships/image"/><Relationship Id="rId8" Target="../tags/tag1.xml" Type="http://schemas.openxmlformats.org/officeDocument/2006/relationships/tags"/><Relationship Id="rId9" Target="../tags/tag2.xml" Type="http://schemas.openxmlformats.org/officeDocument/2006/relationships/tags"/></Relationships>
</file>

<file path=ppt/slides/_rels/slide22.xml.rels><?xml version="1.0" encoding="UTF-8" standalone="yes"?><Relationships xmlns="http://schemas.openxmlformats.org/package/2006/relationships"><Relationship Id="rId1" Target="../slideLayouts/slideLayout4.xml" Type="http://schemas.openxmlformats.org/officeDocument/2006/relationships/slideLayout"/><Relationship Id="rId10" Target="../tags/tag6.xml" Type="http://schemas.openxmlformats.org/officeDocument/2006/relationships/tags"/><Relationship Id="rId11" Target="../tags/tag7.xml" Type="http://schemas.openxmlformats.org/officeDocument/2006/relationships/tags"/><Relationship Id="rId2" Target="../notesSlides/notesSlide22.xml" Type="http://schemas.openxmlformats.org/officeDocument/2006/relationships/notesSlide"/><Relationship Id="rId3" Target="../media/image34.png" Type="http://schemas.openxmlformats.org/officeDocument/2006/relationships/image"/><Relationship Id="rId4" Target="../media/image119.svg" Type="http://schemas.openxmlformats.org/officeDocument/2006/relationships/image"/><Relationship Id="rId5" Target="../media/image120.svg" Type="http://schemas.openxmlformats.org/officeDocument/2006/relationships/image"/><Relationship Id="rId6" Target="../media/image20.png" Type="http://schemas.openxmlformats.org/officeDocument/2006/relationships/image"/><Relationship Id="rId7" Target="../media/image121.svg" Type="http://schemas.openxmlformats.org/officeDocument/2006/relationships/image"/><Relationship Id="rId8" Target="../media/image122.png" Type="http://schemas.openxmlformats.org/officeDocument/2006/relationships/image"/><Relationship Id="rId9" Target="../tags/tag5.xml" Type="http://schemas.openxmlformats.org/officeDocument/2006/relationships/tags"/></Relationships>
</file>

<file path=ppt/slides/_rels/slide23.xml.rels><?xml version="1.0" encoding="UTF-8" standalone="yes"?><Relationships xmlns="http://schemas.openxmlformats.org/package/2006/relationships"><Relationship Id="rId1" Target="../slideLayouts/slideLayout4.xml" Type="http://schemas.openxmlformats.org/officeDocument/2006/relationships/slideLayout"/><Relationship Id="rId2" Target="../notesSlides/notesSlide23.xml" Type="http://schemas.openxmlformats.org/officeDocument/2006/relationships/notesSlide"/><Relationship Id="rId3" Target="../media/image34.png" Type="http://schemas.openxmlformats.org/officeDocument/2006/relationships/image"/><Relationship Id="rId4" Target="../media/image123.svg" Type="http://schemas.openxmlformats.org/officeDocument/2006/relationships/image"/><Relationship Id="rId5" Target="../media/image124.svg" Type="http://schemas.openxmlformats.org/officeDocument/2006/relationships/image"/><Relationship Id="rId6" Target="../media/image20.png" Type="http://schemas.openxmlformats.org/officeDocument/2006/relationships/image"/><Relationship Id="rId7" Target="../media/image125.svg" Type="http://schemas.openxmlformats.org/officeDocument/2006/relationships/image"/><Relationship Id="rId8" Target="../media/image126.jpeg" Type="http://schemas.openxmlformats.org/officeDocument/2006/relationships/image"/></Relationships>
</file>

<file path=ppt/slides/_rels/slide24.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24.xml" Type="http://schemas.openxmlformats.org/officeDocument/2006/relationships/notesSlide"/><Relationship Id="rId3" Target="../media/image1.png" Type="http://schemas.openxmlformats.org/officeDocument/2006/relationships/image"/><Relationship Id="rId4" Target="../media/image2.emf" Type="http://schemas.openxmlformats.org/officeDocument/2006/relationships/image"/><Relationship Id="rId5" Target="../media/image127.png" Type="http://schemas.openxmlformats.org/officeDocument/2006/relationships/image"/><Relationship Id="rId6" Target="../media/image128.png" Type="http://schemas.openxmlformats.org/officeDocument/2006/relationships/image"/><Relationship Id="rId7" Target="../media/image129.png" Type="http://schemas.openxmlformats.org/officeDocument/2006/relationships/image"/><Relationship Id="rId8" Target="../media/image130.png" Type="http://schemas.openxmlformats.org/officeDocument/2006/relationships/image"/></Relationships>
</file>

<file path=ppt/slides/_rels/slide3.xml.rels><?xml version="1.0" encoding="UTF-8" standalone="yes"?><Relationships xmlns="http://schemas.openxmlformats.org/package/2006/relationships"><Relationship Id="rId1" Target="../slideLayouts/slideLayout3.xml" Type="http://schemas.openxmlformats.org/officeDocument/2006/relationships/slideLayout"/><Relationship Id="rId10" Target="../media/image29.png" Type="http://schemas.openxmlformats.org/officeDocument/2006/relationships/image"/><Relationship Id="rId11" Target="../media/image30.svg" Type="http://schemas.openxmlformats.org/officeDocument/2006/relationships/image"/><Relationship Id="rId12" Target="../media/image17.png" Type="http://schemas.openxmlformats.org/officeDocument/2006/relationships/image"/><Relationship Id="rId13" Target="../media/image31.svg" Type="http://schemas.openxmlformats.org/officeDocument/2006/relationships/image"/><Relationship Id="rId14" Target="../media/image32.svg" Type="http://schemas.openxmlformats.org/officeDocument/2006/relationships/image"/><Relationship Id="rId2" Target="../notesSlides/notesSlide3.xml" Type="http://schemas.openxmlformats.org/officeDocument/2006/relationships/notesSlide"/><Relationship Id="rId3" Target="../media/image24.png" Type="http://schemas.openxmlformats.org/officeDocument/2006/relationships/image"/><Relationship Id="rId4" Target="../media/image25.svg" Type="http://schemas.openxmlformats.org/officeDocument/2006/relationships/image"/><Relationship Id="rId5" Target="../media/image26.png" Type="http://schemas.openxmlformats.org/officeDocument/2006/relationships/image"/><Relationship Id="rId6" Target="../media/image27.svg" Type="http://schemas.openxmlformats.org/officeDocument/2006/relationships/image"/><Relationship Id="rId7" Target="../media/image1.png" Type="http://schemas.openxmlformats.org/officeDocument/2006/relationships/image"/><Relationship Id="rId8" Target="../media/image11.png" Type="http://schemas.openxmlformats.org/officeDocument/2006/relationships/image"/><Relationship Id="rId9" Target="../media/image28.svg" Type="http://schemas.openxmlformats.org/officeDocument/2006/relationships/image"/></Relationships>
</file>

<file path=ppt/slides/_rels/slide4.xml.rels><?xml version="1.0" encoding="UTF-8" standalone="yes"?><Relationships xmlns="http://schemas.openxmlformats.org/package/2006/relationships"><Relationship Id="rId1" Target="../slideLayouts/slideLayout4.xml" Type="http://schemas.openxmlformats.org/officeDocument/2006/relationships/slideLayout"/><Relationship Id="rId10" Target="../media/image39.svg" Type="http://schemas.openxmlformats.org/officeDocument/2006/relationships/image"/><Relationship Id="rId11" Target="../media/image40.svg" Type="http://schemas.openxmlformats.org/officeDocument/2006/relationships/image"/><Relationship Id="rId12" Target="../media/image41.svg" Type="http://schemas.openxmlformats.org/officeDocument/2006/relationships/image"/><Relationship Id="rId2" Target="../notesSlides/notesSlide4.xml" Type="http://schemas.openxmlformats.org/officeDocument/2006/relationships/notesSlide"/><Relationship Id="rId3" Target="../media/image11.png" Type="http://schemas.openxmlformats.org/officeDocument/2006/relationships/image"/><Relationship Id="rId4" Target="../media/image33.svg" Type="http://schemas.openxmlformats.org/officeDocument/2006/relationships/image"/><Relationship Id="rId5" Target="../media/image34.png" Type="http://schemas.openxmlformats.org/officeDocument/2006/relationships/image"/><Relationship Id="rId6" Target="../media/image35.svg" Type="http://schemas.openxmlformats.org/officeDocument/2006/relationships/image"/><Relationship Id="rId7" Target="../media/image36.svg" Type="http://schemas.openxmlformats.org/officeDocument/2006/relationships/image"/><Relationship Id="rId8" Target="../media/image37.png" Type="http://schemas.openxmlformats.org/officeDocument/2006/relationships/image"/><Relationship Id="rId9" Target="../media/image38.png" Type="http://schemas.openxmlformats.org/officeDocument/2006/relationships/image"/></Relationships>
</file>

<file path=ppt/slides/_rels/slide5.xml.rels><?xml version="1.0" encoding="UTF-8" standalone="yes"?><Relationships xmlns="http://schemas.openxmlformats.org/package/2006/relationships"><Relationship Id="rId1" Target="../slideLayouts/slideLayout4.xml" Type="http://schemas.openxmlformats.org/officeDocument/2006/relationships/slideLayout"/><Relationship Id="rId2" Target="../notesSlides/notesSlide5.xml" Type="http://schemas.openxmlformats.org/officeDocument/2006/relationships/notesSlide"/><Relationship Id="rId3" Target="../media/image11.png" Type="http://schemas.openxmlformats.org/officeDocument/2006/relationships/image"/><Relationship Id="rId4" Target="../media/image42.svg" Type="http://schemas.openxmlformats.org/officeDocument/2006/relationships/image"/><Relationship Id="rId5" Target="../media/image34.png" Type="http://schemas.openxmlformats.org/officeDocument/2006/relationships/image"/><Relationship Id="rId6" Target="../media/image43.svg" Type="http://schemas.openxmlformats.org/officeDocument/2006/relationships/image"/><Relationship Id="rId7" Target="../media/image44.svg" Type="http://schemas.openxmlformats.org/officeDocument/2006/relationships/image"/></Relationships>
</file>

<file path=ppt/slides/_rels/slide6.xml.rels><?xml version="1.0" encoding="UTF-8" standalone="yes"?><Relationships xmlns="http://schemas.openxmlformats.org/package/2006/relationships"><Relationship Id="rId1" Target="../slideLayouts/slideLayout4.xml" Type="http://schemas.openxmlformats.org/officeDocument/2006/relationships/slideLayout"/><Relationship Id="rId2" Target="../notesSlides/notesSlide6.xml" Type="http://schemas.openxmlformats.org/officeDocument/2006/relationships/notesSlide"/><Relationship Id="rId3" Target="../media/image11.png" Type="http://schemas.openxmlformats.org/officeDocument/2006/relationships/image"/><Relationship Id="rId4" Target="../media/image45.svg" Type="http://schemas.openxmlformats.org/officeDocument/2006/relationships/image"/><Relationship Id="rId5" Target="../media/image34.png" Type="http://schemas.openxmlformats.org/officeDocument/2006/relationships/image"/><Relationship Id="rId6" Target="../media/image46.svg" Type="http://schemas.openxmlformats.org/officeDocument/2006/relationships/image"/><Relationship Id="rId7" Target="../media/image47.svg" Type="http://schemas.openxmlformats.org/officeDocument/2006/relationships/image"/><Relationship Id="rId8" Target="../charts/chart1.xml" Type="http://schemas.openxmlformats.org/officeDocument/2006/relationships/chart"/></Relationships>
</file>

<file path=ppt/slides/_rels/slide7.xml.rels><?xml version="1.0" encoding="UTF-8" standalone="yes"?><Relationships xmlns="http://schemas.openxmlformats.org/package/2006/relationships"><Relationship Id="rId1" Target="../slideLayouts/slideLayout4.xml" Type="http://schemas.openxmlformats.org/officeDocument/2006/relationships/slideLayout"/><Relationship Id="rId2" Target="../notesSlides/notesSlide7.xml" Type="http://schemas.openxmlformats.org/officeDocument/2006/relationships/notesSlide"/><Relationship Id="rId3" Target="../media/image11.png" Type="http://schemas.openxmlformats.org/officeDocument/2006/relationships/image"/><Relationship Id="rId4" Target="../media/image48.svg" Type="http://schemas.openxmlformats.org/officeDocument/2006/relationships/image"/><Relationship Id="rId5" Target="../media/image34.png" Type="http://schemas.openxmlformats.org/officeDocument/2006/relationships/image"/><Relationship Id="rId6" Target="../media/image49.svg" Type="http://schemas.openxmlformats.org/officeDocument/2006/relationships/image"/><Relationship Id="rId7" Target="../media/image50.svg" Type="http://schemas.openxmlformats.org/officeDocument/2006/relationships/image"/><Relationship Id="rId8" Target="../charts/chart2.xml" Type="http://schemas.openxmlformats.org/officeDocument/2006/relationships/chart"/></Relationships>
</file>

<file path=ppt/slides/_rels/slide8.xml.rels><?xml version="1.0" encoding="UTF-8" standalone="yes"?><Relationships xmlns="http://schemas.openxmlformats.org/package/2006/relationships"><Relationship Id="rId1" Target="../slideLayouts/slideLayout4.xml" Type="http://schemas.openxmlformats.org/officeDocument/2006/relationships/slideLayout"/><Relationship Id="rId10" Target="../media/image11.png" Type="http://schemas.openxmlformats.org/officeDocument/2006/relationships/image"/><Relationship Id="rId11" Target="../media/image57.svg" Type="http://schemas.openxmlformats.org/officeDocument/2006/relationships/image"/><Relationship Id="rId2" Target="../notesSlides/notesSlide8.xml" Type="http://schemas.openxmlformats.org/officeDocument/2006/relationships/notesSlide"/><Relationship Id="rId3" Target="../media/image34.png" Type="http://schemas.openxmlformats.org/officeDocument/2006/relationships/image"/><Relationship Id="rId4" Target="../media/image51.svg" Type="http://schemas.openxmlformats.org/officeDocument/2006/relationships/image"/><Relationship Id="rId5" Target="../media/image52.svg" Type="http://schemas.openxmlformats.org/officeDocument/2006/relationships/image"/><Relationship Id="rId6" Target="../media/image53.png" Type="http://schemas.openxmlformats.org/officeDocument/2006/relationships/image"/><Relationship Id="rId7" Target="../media/image54.png" Type="http://schemas.openxmlformats.org/officeDocument/2006/relationships/image"/><Relationship Id="rId8" Target="../media/image55.png" Type="http://schemas.openxmlformats.org/officeDocument/2006/relationships/image"/><Relationship Id="rId9" Target="../media/image56.png" Type="http://schemas.openxmlformats.org/officeDocument/2006/relationships/image"/></Relationships>
</file>

<file path=ppt/slides/_rels/slide9.xml.rels><?xml version="1.0" encoding="UTF-8" standalone="yes"?><Relationships xmlns="http://schemas.openxmlformats.org/package/2006/relationships"><Relationship Id="rId1" Target="../slideLayouts/slideLayout3.xml" Type="http://schemas.openxmlformats.org/officeDocument/2006/relationships/slideLayout"/><Relationship Id="rId10" Target="../media/image17.png" Type="http://schemas.openxmlformats.org/officeDocument/2006/relationships/image"/><Relationship Id="rId11" Target="../media/image63.svg" Type="http://schemas.openxmlformats.org/officeDocument/2006/relationships/image"/><Relationship Id="rId12" Target="../media/image64.svg" Type="http://schemas.openxmlformats.org/officeDocument/2006/relationships/image"/><Relationship Id="rId13" Target="../media/image7.png" Type="http://schemas.openxmlformats.org/officeDocument/2006/relationships/image"/><Relationship Id="rId14" Target="../media/image65.svg" Type="http://schemas.openxmlformats.org/officeDocument/2006/relationships/image"/><Relationship Id="rId2" Target="../notesSlides/notesSlide9.xml" Type="http://schemas.openxmlformats.org/officeDocument/2006/relationships/notesSlide"/><Relationship Id="rId3" Target="../media/image58.png" Type="http://schemas.openxmlformats.org/officeDocument/2006/relationships/image"/><Relationship Id="rId4" Target="../media/image59.svg" Type="http://schemas.openxmlformats.org/officeDocument/2006/relationships/image"/><Relationship Id="rId5" Target="../media/image60.png" Type="http://schemas.openxmlformats.org/officeDocument/2006/relationships/image"/><Relationship Id="rId6" Target="../media/image61.svg" Type="http://schemas.openxmlformats.org/officeDocument/2006/relationships/image"/><Relationship Id="rId7" Target="../media/image1.png" Type="http://schemas.openxmlformats.org/officeDocument/2006/relationships/image"/><Relationship Id="rId8" Target="../media/image29.png" Type="http://schemas.openxmlformats.org/officeDocument/2006/relationships/image"/><Relationship Id="rId9" Target="../media/image62.svg" Type="http://schemas.openxmlformats.org/officeDocument/2006/relationships/image"/></Relationships>
</file>

<file path=ppt/slides/slide1.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15" name="矩形 14">
            <a:extLst>
              <a:ext uri="{FF2B5EF4-FFF2-40B4-BE49-F238E27FC236}">
                <a16:creationId xmlns:a16="http://schemas.microsoft.com/office/drawing/2014/main" id="{CE36C7F1-6C00-4850-BBD3-E2708CA8A36A}"/>
              </a:ext>
            </a:extLst>
          </p:cNvPr>
          <p:cNvSpPr/>
          <p:nvPr/>
        </p:nvSpPr>
        <p:spPr>
          <a:xfrm>
            <a:off x="0" y="0"/>
            <a:ext cx="6096000" cy="6858000"/>
          </a:xfrm>
          <a:prstGeom prst="rect">
            <a:avLst/>
          </a:prstGeom>
          <a:solidFill>
            <a:srgbClr val="A0CBD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16" name="矩形 15">
            <a:extLst>
              <a:ext uri="{FF2B5EF4-FFF2-40B4-BE49-F238E27FC236}">
                <a16:creationId xmlns:a16="http://schemas.microsoft.com/office/drawing/2014/main" id="{0BB73022-E843-4B58-8CAE-72943EF2BA47}"/>
              </a:ext>
            </a:extLst>
          </p:cNvPr>
          <p:cNvSpPr/>
          <p:nvPr/>
        </p:nvSpPr>
        <p:spPr>
          <a:xfrm>
            <a:off x="6096000" y="0"/>
            <a:ext cx="6096000" cy="6858000"/>
          </a:xfrm>
          <a:prstGeom prst="rect">
            <a:avLst/>
          </a:prstGeom>
          <a:solidFill>
            <a:srgbClr val="FAD3D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pic>
        <p:nvPicPr>
          <p:cNvPr id="13" name="图片 12">
            <a:extLst>
              <a:ext uri="{FF2B5EF4-FFF2-40B4-BE49-F238E27FC236}">
                <a16:creationId xmlns:a16="http://schemas.microsoft.com/office/drawing/2014/main" id="{6DD138FA-3C37-42AF-8AF2-84E223662A24}"/>
              </a:ext>
            </a:extLst>
          </p:cNvPr>
          <p:cNvPicPr>
            <a:picLocks noChangeAspect="1"/>
          </p:cNvPicPr>
          <p:nvPr/>
        </p:nvPicPr>
        <p:blipFill>
          <a:blip r:embed="rId3">
            <a:extLst>
              <a:ext uri="{28A0092B-C50C-407E-A947-70E740481C1C}">
                <a14:useLocalDpi val="0"/>
              </a:ext>
            </a:extLst>
          </a:blip>
          <a:srcRect b="9410" l="12695" r="15432" t="13963"/>
          <a:stretch>
            <a:fillRect/>
          </a:stretch>
        </p:blipFill>
        <p:spPr>
          <a:xfrm rot="5400000">
            <a:off x="2515440" y="-2202731"/>
            <a:ext cx="7034120" cy="11163542"/>
          </a:xfrm>
          <a:prstGeom prst="rect">
            <a:avLst/>
          </a:prstGeom>
          <a:effectLst>
            <a:outerShdw algn="t" blurRad="152400" dir="5400000" dist="76200" rotWithShape="0">
              <a:prstClr val="black">
                <a:alpha val="40000"/>
              </a:prstClr>
            </a:outerShdw>
          </a:effectLst>
        </p:spPr>
      </p:pic>
      <p:sp>
        <p:nvSpPr>
          <p:cNvPr id="7" name="文本框 6">
            <a:extLst>
              <a:ext uri="{FF2B5EF4-FFF2-40B4-BE49-F238E27FC236}">
                <a16:creationId xmlns:a16="http://schemas.microsoft.com/office/drawing/2014/main" id="{0676F23F-3559-42D1-8355-679E391FB725}"/>
              </a:ext>
            </a:extLst>
          </p:cNvPr>
          <p:cNvSpPr txBox="1"/>
          <p:nvPr/>
        </p:nvSpPr>
        <p:spPr>
          <a:xfrm>
            <a:off x="1110228" y="3828081"/>
            <a:ext cx="5751646" cy="1097280"/>
          </a:xfrm>
          <a:prstGeom prst="rect">
            <a:avLst/>
          </a:prstGeom>
          <a:noFill/>
        </p:spPr>
        <p:txBody>
          <a:bodyPr rtlCol="0" wrap="square">
            <a:spAutoFit/>
          </a:bodyPr>
          <a:lstStyle/>
          <a:p>
            <a:pPr algn="ctr"/>
            <a:r>
              <a:rPr altLang="en-US" lang="zh-CN" spc="-150" sz="6600">
                <a:solidFill>
                  <a:schemeClr val="tx1">
                    <a:lumMod val="75000"/>
                    <a:lumOff val="25000"/>
                  </a:schemeClr>
                </a:solidFill>
                <a:latin charset="-122" panose="02000500000000000000" pitchFamily="2" typeface="方正手迹-小欢卡通体"/>
                <a:ea charset="-122" panose="02000500000000000000" pitchFamily="2" typeface="方正手迹-小欢卡通体"/>
              </a:rPr>
              <a:t>创意孟菲斯风</a:t>
            </a:r>
          </a:p>
        </p:txBody>
      </p:sp>
      <p:pic>
        <p:nvPicPr>
          <p:cNvPr id="6" name="图片 5">
            <a:extLst>
              <a:ext uri="{FF2B5EF4-FFF2-40B4-BE49-F238E27FC236}">
                <a16:creationId xmlns:a16="http://schemas.microsoft.com/office/drawing/2014/main" id="{6E0EC271-F6FA-400A-98A1-C5D063F69E46}"/>
              </a:ext>
            </a:extLst>
          </p:cNvPr>
          <p:cNvPicPr>
            <a:picLocks noChangeAspect="1"/>
          </p:cNvPicPr>
          <p:nvPr/>
        </p:nvPicPr>
        <p:blipFill>
          <a:blip r:embed="rId4"/>
          <a:srcRect r="50000"/>
          <a:stretch>
            <a:fillRect/>
          </a:stretch>
        </p:blipFill>
        <p:spPr>
          <a:xfrm>
            <a:off x="1346200" y="873514"/>
            <a:ext cx="4749800" cy="2802443"/>
          </a:xfrm>
          <a:prstGeom prst="rect">
            <a:avLst/>
          </a:prstGeom>
        </p:spPr>
      </p:pic>
      <p:pic>
        <p:nvPicPr>
          <p:cNvPr id="2" name="图形 1">
            <a:extLst>
              <a:ext uri="{FF2B5EF4-FFF2-40B4-BE49-F238E27FC236}">
                <a16:creationId xmlns:a16="http://schemas.microsoft.com/office/drawing/2014/main" id="{7BD5EE57-79E4-4F8F-AC9B-CA32D68E0D4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732357" y="1731628"/>
            <a:ext cx="1811141" cy="2297714"/>
          </a:xfrm>
          <a:prstGeom prst="rect">
            <a:avLst/>
          </a:prstGeom>
        </p:spPr>
      </p:pic>
      <p:pic>
        <p:nvPicPr>
          <p:cNvPr id="3" name="图形 2">
            <a:extLst>
              <a:ext uri="{FF2B5EF4-FFF2-40B4-BE49-F238E27FC236}">
                <a16:creationId xmlns:a16="http://schemas.microsoft.com/office/drawing/2014/main" id="{0025C21B-8A64-4BE2-ADF4-396252BD23B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779535" y="1348478"/>
            <a:ext cx="2959998" cy="2959997"/>
          </a:xfrm>
          <a:prstGeom prst="rect">
            <a:avLst/>
          </a:prstGeom>
        </p:spPr>
      </p:pic>
      <p:pic>
        <p:nvPicPr>
          <p:cNvPr id="4" name="图形 3">
            <a:extLst>
              <a:ext uri="{FF2B5EF4-FFF2-40B4-BE49-F238E27FC236}">
                <a16:creationId xmlns:a16="http://schemas.microsoft.com/office/drawing/2014/main" id="{D9B8DB9D-22FA-4787-A18F-BEA675C9CB7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927577" y="1780250"/>
            <a:ext cx="1811141" cy="2297714"/>
          </a:xfrm>
          <a:prstGeom prst="rect">
            <a:avLst/>
          </a:prstGeom>
        </p:spPr>
      </p:pic>
      <p:pic>
        <p:nvPicPr>
          <p:cNvPr id="5" name="图形 4">
            <a:extLst>
              <a:ext uri="{FF2B5EF4-FFF2-40B4-BE49-F238E27FC236}">
                <a16:creationId xmlns:a16="http://schemas.microsoft.com/office/drawing/2014/main" id="{9E026779-3C5F-49DA-B353-17E26FFC4D0C}"/>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249282" y="1890434"/>
            <a:ext cx="2500455" cy="1973331"/>
          </a:xfrm>
          <a:prstGeom prst="rect">
            <a:avLst/>
          </a:prstGeom>
        </p:spPr>
      </p:pic>
      <p:grpSp>
        <p:nvGrpSpPr>
          <p:cNvPr id="9" name="组合 8">
            <a:extLst>
              <a:ext uri="{FF2B5EF4-FFF2-40B4-BE49-F238E27FC236}">
                <a16:creationId xmlns:a16="http://schemas.microsoft.com/office/drawing/2014/main" id="{62992CA3-CD68-48C1-8271-50D55EEED39C}"/>
              </a:ext>
            </a:extLst>
          </p:cNvPr>
          <p:cNvGrpSpPr/>
          <p:nvPr/>
        </p:nvGrpSpPr>
        <p:grpSpPr>
          <a:xfrm>
            <a:off x="4926015" y="5410200"/>
            <a:ext cx="2339970" cy="482600"/>
            <a:chOff x="4926015" y="5410200"/>
            <a:chExt cx="2339970" cy="482600"/>
          </a:xfrm>
        </p:grpSpPr>
        <p:sp>
          <p:nvSpPr>
            <p:cNvPr id="8" name="矩形 7">
              <a:extLst>
                <a:ext uri="{FF2B5EF4-FFF2-40B4-BE49-F238E27FC236}">
                  <a16:creationId xmlns:a16="http://schemas.microsoft.com/office/drawing/2014/main" id="{2F65B562-D7CA-457A-AEC6-E818A4EF662E}"/>
                </a:ext>
              </a:extLst>
            </p:cNvPr>
            <p:cNvSpPr/>
            <p:nvPr/>
          </p:nvSpPr>
          <p:spPr>
            <a:xfrm>
              <a:off x="4926015" y="5410200"/>
              <a:ext cx="1169985" cy="482600"/>
            </a:xfrm>
            <a:prstGeom prst="rect">
              <a:avLst/>
            </a:prstGeom>
            <a:solidFill>
              <a:srgbClr val="FF626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2000">
                <a:solidFill>
                  <a:srgbClr val="00416B"/>
                </a:solidFill>
                <a:latin charset="-122" panose="02000500000000000000" pitchFamily="2" typeface="方正雅士黑 简"/>
                <a:ea charset="-122" panose="02000500000000000000" pitchFamily="2" typeface="方正雅士黑 简"/>
              </a:endParaRPr>
            </a:p>
          </p:txBody>
        </p:sp>
        <p:sp>
          <p:nvSpPr>
            <p:cNvPr id="17" name="矩形 16">
              <a:extLst>
                <a:ext uri="{FF2B5EF4-FFF2-40B4-BE49-F238E27FC236}">
                  <a16:creationId xmlns:a16="http://schemas.microsoft.com/office/drawing/2014/main" id="{40BA06C4-4442-4A2A-8A77-3439F3875064}"/>
                </a:ext>
              </a:extLst>
            </p:cNvPr>
            <p:cNvSpPr/>
            <p:nvPr/>
          </p:nvSpPr>
          <p:spPr>
            <a:xfrm>
              <a:off x="6096000" y="5410200"/>
              <a:ext cx="1169985" cy="482600"/>
            </a:xfrm>
            <a:prstGeom prst="rect">
              <a:avLst/>
            </a:prstGeom>
            <a:solidFill>
              <a:srgbClr val="60A8A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2000">
                <a:solidFill>
                  <a:srgbClr val="00416B"/>
                </a:solidFill>
                <a:latin charset="-122" panose="02000500000000000000" pitchFamily="2" typeface="方正雅士黑 简"/>
                <a:ea charset="-122" panose="02000500000000000000" pitchFamily="2" typeface="方正雅士黑 简"/>
              </a:endParaRPr>
            </a:p>
          </p:txBody>
        </p:sp>
      </p:grpSp>
      <p:sp>
        <p:nvSpPr>
          <p:cNvPr id="18" name="矩形 17">
            <a:extLst>
              <a:ext uri="{FF2B5EF4-FFF2-40B4-BE49-F238E27FC236}">
                <a16:creationId xmlns:a16="http://schemas.microsoft.com/office/drawing/2014/main" id="{F1C18E1B-3E2C-401E-A30C-B8E4B40EDF25}"/>
              </a:ext>
            </a:extLst>
          </p:cNvPr>
          <p:cNvSpPr/>
          <p:nvPr/>
        </p:nvSpPr>
        <p:spPr>
          <a:xfrm>
            <a:off x="5147310" y="5470090"/>
            <a:ext cx="1897380" cy="365760"/>
          </a:xfrm>
          <a:prstGeom prst="rect">
            <a:avLst/>
          </a:prstGeom>
        </p:spPr>
        <p:txBody>
          <a:bodyPr wrap="none">
            <a:spAutoFit/>
          </a:bodyPr>
          <a:lstStyle/>
          <a:p>
            <a:pPr algn="ctr"/>
            <a:r>
              <a:rPr altLang="en-US" lang="zh-CN">
                <a:solidFill>
                  <a:schemeClr val="bg1"/>
                </a:solidFill>
                <a:latin charset="-122" panose="02000500000000000000" pitchFamily="2" typeface="方正雅士黑 简"/>
                <a:ea charset="-122" panose="02000500000000000000" pitchFamily="2" typeface="方正雅士黑 简"/>
              </a:rPr>
              <a:t>汇报人：优页PPT</a:t>
            </a:r>
          </a:p>
        </p:txBody>
      </p:sp>
      <p:pic>
        <p:nvPicPr>
          <p:cNvPr id="14" name="图片 13">
            <a:extLst>
              <a:ext uri="{FF2B5EF4-FFF2-40B4-BE49-F238E27FC236}">
                <a16:creationId xmlns:a16="http://schemas.microsoft.com/office/drawing/2014/main" id="{EA40FC9A-B7C0-426E-9DB1-8176B1F1ECA3}"/>
              </a:ext>
            </a:extLst>
          </p:cNvPr>
          <p:cNvPicPr>
            <a:picLocks noChangeAspect="1"/>
          </p:cNvPicPr>
          <p:nvPr/>
        </p:nvPicPr>
        <p:blipFill>
          <a:blip r:embed="rId4"/>
          <a:srcRect r="50000"/>
          <a:stretch>
            <a:fillRect/>
          </a:stretch>
        </p:blipFill>
        <p:spPr>
          <a:xfrm flipH="1">
            <a:off x="6112240" y="873514"/>
            <a:ext cx="4749800" cy="2802443"/>
          </a:xfrm>
          <a:prstGeom prst="rect">
            <a:avLst/>
          </a:prstGeom>
        </p:spPr>
      </p:pic>
      <p:sp>
        <p:nvSpPr>
          <p:cNvPr id="11" name="矩形 10">
            <a:extLst>
              <a:ext uri="{FF2B5EF4-FFF2-40B4-BE49-F238E27FC236}">
                <a16:creationId xmlns:a16="http://schemas.microsoft.com/office/drawing/2014/main" id="{140CF8A4-6CC3-4938-99D7-ADA66323F026}"/>
              </a:ext>
            </a:extLst>
          </p:cNvPr>
          <p:cNvSpPr/>
          <p:nvPr/>
        </p:nvSpPr>
        <p:spPr>
          <a:xfrm>
            <a:off x="6285160" y="3658805"/>
            <a:ext cx="4577080" cy="1432560"/>
          </a:xfrm>
          <a:prstGeom prst="rect">
            <a:avLst/>
          </a:prstGeom>
        </p:spPr>
        <p:txBody>
          <a:bodyPr wrap="none">
            <a:spAutoFit/>
          </a:bodyPr>
          <a:lstStyle/>
          <a:p>
            <a:r>
              <a:rPr altLang="en-US" b="1" lang="zh-CN" spc="-150" sz="8800">
                <a:solidFill>
                  <a:srgbClr val="60A8AF"/>
                </a:solidFill>
                <a:latin charset="-122" panose="02000500000000000000" pitchFamily="2" typeface="方正手迹-小欢卡通体"/>
                <a:ea charset="-122" panose="02000500000000000000" pitchFamily="2" typeface="方正手迹-小欢卡通体"/>
              </a:rPr>
              <a:t>工作总结</a:t>
            </a:r>
          </a:p>
        </p:txBody>
      </p:sp>
    </p:spTree>
    <p:extLst>
      <p:ext uri="{BB962C8B-B14F-4D97-AF65-F5344CB8AC3E}">
        <p14:creationId val="2833951087"/>
      </p:ext>
    </p:extLst>
  </p:cSld>
  <p:clrMapOvr>
    <a:masterClrMapping/>
  </p:clrMapOvr>
  <mc:AlternateContent>
    <mc:Choice Requires="p15">
      <p:transition p14:dur="2000" spd="slow">
        <p15:prstTrans prst="drape"/>
      </p:transition>
    </mc:Choice>
    <mc:Fallback>
      <p:transition spd="slow">
        <p:fade/>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id="5" nodeType="withEffect" presetClass="entr" presetID="2" presetSubtype="9">
                                  <p:stCondLst>
                                    <p:cond delay="0"/>
                                  </p:stCondLst>
                                  <p:childTnLst>
                                    <p:set>
                                      <p:cBhvr>
                                        <p:cTn dur="1" fill="hold" id="6">
                                          <p:stCondLst>
                                            <p:cond delay="0"/>
                                          </p:stCondLst>
                                        </p:cTn>
                                        <p:tgtEl>
                                          <p:spTgt spid="2"/>
                                        </p:tgtEl>
                                        <p:attrNameLst>
                                          <p:attrName>style.visibility</p:attrName>
                                        </p:attrNameLst>
                                      </p:cBhvr>
                                      <p:to>
                                        <p:strVal val="visible"/>
                                      </p:to>
                                    </p:set>
                                    <p:anim calcmode="lin" valueType="num">
                                      <p:cBhvr additive="base">
                                        <p:cTn dur="1500" fill="hold" id="7"/>
                                        <p:tgtEl>
                                          <p:spTgt spid="2"/>
                                        </p:tgtEl>
                                        <p:attrNameLst>
                                          <p:attrName>ppt_x</p:attrName>
                                        </p:attrNameLst>
                                      </p:cBhvr>
                                      <p:tavLst>
                                        <p:tav tm="0">
                                          <p:val>
                                            <p:strVal val="0-#ppt_w/2"/>
                                          </p:val>
                                        </p:tav>
                                        <p:tav tm="100000">
                                          <p:val>
                                            <p:strVal val="#ppt_x"/>
                                          </p:val>
                                        </p:tav>
                                      </p:tavLst>
                                    </p:anim>
                                    <p:anim calcmode="lin" valueType="num">
                                      <p:cBhvr additive="base">
                                        <p:cTn dur="1500" fill="hold" id="8"/>
                                        <p:tgtEl>
                                          <p:spTgt spid="2"/>
                                        </p:tgtEl>
                                        <p:attrNameLst>
                                          <p:attrName>ppt_y</p:attrName>
                                        </p:attrNameLst>
                                      </p:cBhvr>
                                      <p:tavLst>
                                        <p:tav tm="0">
                                          <p:val>
                                            <p:strVal val="0-#ppt_h/2"/>
                                          </p:val>
                                        </p:tav>
                                        <p:tav tm="100000">
                                          <p:val>
                                            <p:strVal val="#ppt_y"/>
                                          </p:val>
                                        </p:tav>
                                      </p:tavLst>
                                    </p:anim>
                                  </p:childTnLst>
                                </p:cTn>
                              </p:par>
                              <p:par>
                                <p:cTn fill="hold" id="9" nodeType="withEffect" presetClass="entr" presetID="2" presetSubtype="12">
                                  <p:stCondLst>
                                    <p:cond delay="0"/>
                                  </p:stCondLst>
                                  <p:childTnLst>
                                    <p:set>
                                      <p:cBhvr>
                                        <p:cTn dur="1" fill="hold" id="10">
                                          <p:stCondLst>
                                            <p:cond delay="0"/>
                                          </p:stCondLst>
                                        </p:cTn>
                                        <p:tgtEl>
                                          <p:spTgt spid="3"/>
                                        </p:tgtEl>
                                        <p:attrNameLst>
                                          <p:attrName>style.visibility</p:attrName>
                                        </p:attrNameLst>
                                      </p:cBhvr>
                                      <p:to>
                                        <p:strVal val="visible"/>
                                      </p:to>
                                    </p:set>
                                    <p:anim calcmode="lin" valueType="num">
                                      <p:cBhvr additive="base">
                                        <p:cTn dur="1500" fill="hold" id="11"/>
                                        <p:tgtEl>
                                          <p:spTgt spid="3"/>
                                        </p:tgtEl>
                                        <p:attrNameLst>
                                          <p:attrName>ppt_x</p:attrName>
                                        </p:attrNameLst>
                                      </p:cBhvr>
                                      <p:tavLst>
                                        <p:tav tm="0">
                                          <p:val>
                                            <p:strVal val="0-#ppt_w/2"/>
                                          </p:val>
                                        </p:tav>
                                        <p:tav tm="100000">
                                          <p:val>
                                            <p:strVal val="#ppt_x"/>
                                          </p:val>
                                        </p:tav>
                                      </p:tavLst>
                                    </p:anim>
                                    <p:anim calcmode="lin" valueType="num">
                                      <p:cBhvr additive="base">
                                        <p:cTn dur="1500" fill="hold" id="12"/>
                                        <p:tgtEl>
                                          <p:spTgt spid="3"/>
                                        </p:tgtEl>
                                        <p:attrNameLst>
                                          <p:attrName>ppt_y</p:attrName>
                                        </p:attrNameLst>
                                      </p:cBhvr>
                                      <p:tavLst>
                                        <p:tav tm="0">
                                          <p:val>
                                            <p:strVal val="1+#ppt_h/2"/>
                                          </p:val>
                                        </p:tav>
                                        <p:tav tm="100000">
                                          <p:val>
                                            <p:strVal val="#ppt_y"/>
                                          </p:val>
                                        </p:tav>
                                      </p:tavLst>
                                    </p:anim>
                                  </p:childTnLst>
                                </p:cTn>
                              </p:par>
                              <p:par>
                                <p:cTn fill="hold" id="13" nodeType="withEffect" presetClass="entr" presetID="2" presetSubtype="3">
                                  <p:stCondLst>
                                    <p:cond delay="0"/>
                                  </p:stCondLst>
                                  <p:childTnLst>
                                    <p:set>
                                      <p:cBhvr>
                                        <p:cTn dur="1" fill="hold" id="14">
                                          <p:stCondLst>
                                            <p:cond delay="0"/>
                                          </p:stCondLst>
                                        </p:cTn>
                                        <p:tgtEl>
                                          <p:spTgt spid="4"/>
                                        </p:tgtEl>
                                        <p:attrNameLst>
                                          <p:attrName>style.visibility</p:attrName>
                                        </p:attrNameLst>
                                      </p:cBhvr>
                                      <p:to>
                                        <p:strVal val="visible"/>
                                      </p:to>
                                    </p:set>
                                    <p:anim calcmode="lin" valueType="num">
                                      <p:cBhvr additive="base">
                                        <p:cTn dur="1500" fill="hold" id="15"/>
                                        <p:tgtEl>
                                          <p:spTgt spid="4"/>
                                        </p:tgtEl>
                                        <p:attrNameLst>
                                          <p:attrName>ppt_x</p:attrName>
                                        </p:attrNameLst>
                                      </p:cBhvr>
                                      <p:tavLst>
                                        <p:tav tm="0">
                                          <p:val>
                                            <p:strVal val="1+#ppt_w/2"/>
                                          </p:val>
                                        </p:tav>
                                        <p:tav tm="100000">
                                          <p:val>
                                            <p:strVal val="#ppt_x"/>
                                          </p:val>
                                        </p:tav>
                                      </p:tavLst>
                                    </p:anim>
                                    <p:anim calcmode="lin" valueType="num">
                                      <p:cBhvr additive="base">
                                        <p:cTn dur="1500" fill="hold" id="16"/>
                                        <p:tgtEl>
                                          <p:spTgt spid="4"/>
                                        </p:tgtEl>
                                        <p:attrNameLst>
                                          <p:attrName>ppt_y</p:attrName>
                                        </p:attrNameLst>
                                      </p:cBhvr>
                                      <p:tavLst>
                                        <p:tav tm="0">
                                          <p:val>
                                            <p:strVal val="0-#ppt_h/2"/>
                                          </p:val>
                                        </p:tav>
                                        <p:tav tm="100000">
                                          <p:val>
                                            <p:strVal val="#ppt_y"/>
                                          </p:val>
                                        </p:tav>
                                      </p:tavLst>
                                    </p:anim>
                                  </p:childTnLst>
                                </p:cTn>
                              </p:par>
                              <p:par>
                                <p:cTn fill="hold" id="17" nodeType="withEffect" presetClass="entr" presetID="2" presetSubtype="6">
                                  <p:stCondLst>
                                    <p:cond delay="0"/>
                                  </p:stCondLst>
                                  <p:childTnLst>
                                    <p:set>
                                      <p:cBhvr>
                                        <p:cTn dur="1" fill="hold" id="18">
                                          <p:stCondLst>
                                            <p:cond delay="0"/>
                                          </p:stCondLst>
                                        </p:cTn>
                                        <p:tgtEl>
                                          <p:spTgt spid="5"/>
                                        </p:tgtEl>
                                        <p:attrNameLst>
                                          <p:attrName>style.visibility</p:attrName>
                                        </p:attrNameLst>
                                      </p:cBhvr>
                                      <p:to>
                                        <p:strVal val="visible"/>
                                      </p:to>
                                    </p:set>
                                    <p:anim calcmode="lin" valueType="num">
                                      <p:cBhvr additive="base">
                                        <p:cTn dur="1500" fill="hold" id="19"/>
                                        <p:tgtEl>
                                          <p:spTgt spid="5"/>
                                        </p:tgtEl>
                                        <p:attrNameLst>
                                          <p:attrName>ppt_x</p:attrName>
                                        </p:attrNameLst>
                                      </p:cBhvr>
                                      <p:tavLst>
                                        <p:tav tm="0">
                                          <p:val>
                                            <p:strVal val="1+#ppt_w/2"/>
                                          </p:val>
                                        </p:tav>
                                        <p:tav tm="100000">
                                          <p:val>
                                            <p:strVal val="#ppt_x"/>
                                          </p:val>
                                        </p:tav>
                                      </p:tavLst>
                                    </p:anim>
                                    <p:anim calcmode="lin" valueType="num">
                                      <p:cBhvr additive="base">
                                        <p:cTn dur="1500" fill="hold" id="20"/>
                                        <p:tgtEl>
                                          <p:spTgt spid="5"/>
                                        </p:tgtEl>
                                        <p:attrNameLst>
                                          <p:attrName>ppt_y</p:attrName>
                                        </p:attrNameLst>
                                      </p:cBhvr>
                                      <p:tavLst>
                                        <p:tav tm="0">
                                          <p:val>
                                            <p:strVal val="1+#ppt_h/2"/>
                                          </p:val>
                                        </p:tav>
                                        <p:tav tm="100000">
                                          <p:val>
                                            <p:strVal val="#ppt_y"/>
                                          </p:val>
                                        </p:tav>
                                      </p:tavLst>
                                    </p:anim>
                                  </p:childTnLst>
                                </p:cTn>
                              </p:par>
                              <p:par>
                                <p:cTn fill="hold" id="21" nodeType="withEffect" presetClass="entr" presetID="53" presetSubtype="0">
                                  <p:stCondLst>
                                    <p:cond delay="1250"/>
                                  </p:stCondLst>
                                  <p:childTnLst>
                                    <p:set>
                                      <p:cBhvr>
                                        <p:cTn dur="1" fill="hold" id="22">
                                          <p:stCondLst>
                                            <p:cond delay="0"/>
                                          </p:stCondLst>
                                        </p:cTn>
                                        <p:tgtEl>
                                          <p:spTgt spid="14"/>
                                        </p:tgtEl>
                                        <p:attrNameLst>
                                          <p:attrName>style.visibility</p:attrName>
                                        </p:attrNameLst>
                                      </p:cBhvr>
                                      <p:to>
                                        <p:strVal val="visible"/>
                                      </p:to>
                                    </p:set>
                                    <p:anim calcmode="lin" valueType="num">
                                      <p:cBhvr>
                                        <p:cTn dur="500" fill="hold" id="23"/>
                                        <p:tgtEl>
                                          <p:spTgt spid="14"/>
                                        </p:tgtEl>
                                        <p:attrNameLst>
                                          <p:attrName>ppt_w</p:attrName>
                                        </p:attrNameLst>
                                      </p:cBhvr>
                                      <p:tavLst>
                                        <p:tav tm="0">
                                          <p:val>
                                            <p:fltVal val="0"/>
                                          </p:val>
                                        </p:tav>
                                        <p:tav tm="100000">
                                          <p:val>
                                            <p:strVal val="#ppt_w"/>
                                          </p:val>
                                        </p:tav>
                                      </p:tavLst>
                                    </p:anim>
                                    <p:anim calcmode="lin" valueType="num">
                                      <p:cBhvr>
                                        <p:cTn dur="500" fill="hold" id="24"/>
                                        <p:tgtEl>
                                          <p:spTgt spid="14"/>
                                        </p:tgtEl>
                                        <p:attrNameLst>
                                          <p:attrName>ppt_h</p:attrName>
                                        </p:attrNameLst>
                                      </p:cBhvr>
                                      <p:tavLst>
                                        <p:tav tm="0">
                                          <p:val>
                                            <p:fltVal val="0"/>
                                          </p:val>
                                        </p:tav>
                                        <p:tav tm="100000">
                                          <p:val>
                                            <p:strVal val="#ppt_h"/>
                                          </p:val>
                                        </p:tav>
                                      </p:tavLst>
                                    </p:anim>
                                    <p:animEffect filter="fade" transition="in">
                                      <p:cBhvr>
                                        <p:cTn dur="500" id="25"/>
                                        <p:tgtEl>
                                          <p:spTgt spid="14"/>
                                        </p:tgtEl>
                                      </p:cBhvr>
                                    </p:animEffect>
                                  </p:childTnLst>
                                </p:cTn>
                              </p:par>
                              <p:par>
                                <p:cTn fill="hold" id="26" nodeType="withEffect" presetClass="entr" presetID="53" presetSubtype="0">
                                  <p:stCondLst>
                                    <p:cond delay="1250"/>
                                  </p:stCondLst>
                                  <p:childTnLst>
                                    <p:set>
                                      <p:cBhvr>
                                        <p:cTn dur="1" fill="hold" id="27">
                                          <p:stCondLst>
                                            <p:cond delay="0"/>
                                          </p:stCondLst>
                                        </p:cTn>
                                        <p:tgtEl>
                                          <p:spTgt spid="6"/>
                                        </p:tgtEl>
                                        <p:attrNameLst>
                                          <p:attrName>style.visibility</p:attrName>
                                        </p:attrNameLst>
                                      </p:cBhvr>
                                      <p:to>
                                        <p:strVal val="visible"/>
                                      </p:to>
                                    </p:set>
                                    <p:anim calcmode="lin" valueType="num">
                                      <p:cBhvr>
                                        <p:cTn dur="500" fill="hold" id="28"/>
                                        <p:tgtEl>
                                          <p:spTgt spid="6"/>
                                        </p:tgtEl>
                                        <p:attrNameLst>
                                          <p:attrName>ppt_w</p:attrName>
                                        </p:attrNameLst>
                                      </p:cBhvr>
                                      <p:tavLst>
                                        <p:tav tm="0">
                                          <p:val>
                                            <p:fltVal val="0"/>
                                          </p:val>
                                        </p:tav>
                                        <p:tav tm="100000">
                                          <p:val>
                                            <p:strVal val="#ppt_w"/>
                                          </p:val>
                                        </p:tav>
                                      </p:tavLst>
                                    </p:anim>
                                    <p:anim calcmode="lin" valueType="num">
                                      <p:cBhvr>
                                        <p:cTn dur="500" fill="hold" id="29"/>
                                        <p:tgtEl>
                                          <p:spTgt spid="6"/>
                                        </p:tgtEl>
                                        <p:attrNameLst>
                                          <p:attrName>ppt_h</p:attrName>
                                        </p:attrNameLst>
                                      </p:cBhvr>
                                      <p:tavLst>
                                        <p:tav tm="0">
                                          <p:val>
                                            <p:fltVal val="0"/>
                                          </p:val>
                                        </p:tav>
                                        <p:tav tm="100000">
                                          <p:val>
                                            <p:strVal val="#ppt_h"/>
                                          </p:val>
                                        </p:tav>
                                      </p:tavLst>
                                    </p:anim>
                                    <p:animEffect filter="fade" transition="in">
                                      <p:cBhvr>
                                        <p:cTn dur="500" id="30"/>
                                        <p:tgtEl>
                                          <p:spTgt spid="6"/>
                                        </p:tgtEl>
                                      </p:cBhvr>
                                    </p:animEffect>
                                  </p:childTnLst>
                                </p:cTn>
                              </p:par>
                            </p:childTnLst>
                          </p:cTn>
                        </p:par>
                        <p:par>
                          <p:cTn fill="hold" id="31" nodeType="afterGroup">
                            <p:stCondLst>
                              <p:cond delay="1750"/>
                            </p:stCondLst>
                            <p:childTnLst>
                              <p:par>
                                <p:cTn decel="100000" fill="hold" grpId="0" id="32" nodeType="afterEffect" presetClass="entr" presetID="50" presetSubtype="0">
                                  <p:stCondLst>
                                    <p:cond delay="0"/>
                                  </p:stCondLst>
                                  <p:iterate type="lt">
                                    <p:tmPct val="10000"/>
                                  </p:iterate>
                                  <p:childTnLst>
                                    <p:set>
                                      <p:cBhvr>
                                        <p:cTn dur="1" fill="hold" id="33">
                                          <p:stCondLst>
                                            <p:cond delay="0"/>
                                          </p:stCondLst>
                                        </p:cTn>
                                        <p:tgtEl>
                                          <p:spTgt spid="7"/>
                                        </p:tgtEl>
                                        <p:attrNameLst>
                                          <p:attrName>style.visibility</p:attrName>
                                        </p:attrNameLst>
                                      </p:cBhvr>
                                      <p:to>
                                        <p:strVal val="visible"/>
                                      </p:to>
                                    </p:set>
                                    <p:anim calcmode="lin" valueType="num">
                                      <p:cBhvr>
                                        <p:cTn dur="750" fill="hold" id="34"/>
                                        <p:tgtEl>
                                          <p:spTgt spid="7"/>
                                        </p:tgtEl>
                                        <p:attrNameLst>
                                          <p:attrName>ppt_w</p:attrName>
                                        </p:attrNameLst>
                                      </p:cBhvr>
                                      <p:tavLst>
                                        <p:tav tm="0">
                                          <p:val>
                                            <p:strVal val="#ppt_w+.3"/>
                                          </p:val>
                                        </p:tav>
                                        <p:tav tm="100000">
                                          <p:val>
                                            <p:strVal val="#ppt_w"/>
                                          </p:val>
                                        </p:tav>
                                      </p:tavLst>
                                    </p:anim>
                                    <p:anim calcmode="lin" valueType="num">
                                      <p:cBhvr>
                                        <p:cTn dur="750" fill="hold" id="35"/>
                                        <p:tgtEl>
                                          <p:spTgt spid="7"/>
                                        </p:tgtEl>
                                        <p:attrNameLst>
                                          <p:attrName>ppt_h</p:attrName>
                                        </p:attrNameLst>
                                      </p:cBhvr>
                                      <p:tavLst>
                                        <p:tav tm="0">
                                          <p:val>
                                            <p:strVal val="#ppt_h"/>
                                          </p:val>
                                        </p:tav>
                                        <p:tav tm="100000">
                                          <p:val>
                                            <p:strVal val="#ppt_h"/>
                                          </p:val>
                                        </p:tav>
                                      </p:tavLst>
                                    </p:anim>
                                    <p:animEffect filter="fade" transition="in">
                                      <p:cBhvr>
                                        <p:cTn dur="750" id="36"/>
                                        <p:tgtEl>
                                          <p:spTgt spid="7"/>
                                        </p:tgtEl>
                                      </p:cBhvr>
                                    </p:animEffect>
                                  </p:childTnLst>
                                </p:cTn>
                              </p:par>
                            </p:childTnLst>
                          </p:cTn>
                        </p:par>
                        <p:par>
                          <p:cTn fill="hold" id="37" nodeType="afterGroup">
                            <p:stCondLst>
                              <p:cond delay="2500"/>
                            </p:stCondLst>
                            <p:childTnLst>
                              <p:par>
                                <p:cTn fill="hold" grpId="0" id="38" nodeType="afterEffect" presetClass="entr" presetID="2" presetSubtype="2">
                                  <p:stCondLst>
                                    <p:cond delay="0"/>
                                  </p:stCondLst>
                                  <p:iterate type="lt">
                                    <p:tmPct val="10000"/>
                                  </p:iterate>
                                  <p:childTnLst>
                                    <p:set>
                                      <p:cBhvr>
                                        <p:cTn dur="1" fill="hold" id="39">
                                          <p:stCondLst>
                                            <p:cond delay="0"/>
                                          </p:stCondLst>
                                        </p:cTn>
                                        <p:tgtEl>
                                          <p:spTgt spid="11"/>
                                        </p:tgtEl>
                                        <p:attrNameLst>
                                          <p:attrName>style.visibility</p:attrName>
                                        </p:attrNameLst>
                                      </p:cBhvr>
                                      <p:to>
                                        <p:strVal val="visible"/>
                                      </p:to>
                                    </p:set>
                                    <p:anim calcmode="lin" valueType="num">
                                      <p:cBhvr additive="base">
                                        <p:cTn dur="750" fill="hold" id="40"/>
                                        <p:tgtEl>
                                          <p:spTgt spid="11"/>
                                        </p:tgtEl>
                                        <p:attrNameLst>
                                          <p:attrName>ppt_x</p:attrName>
                                        </p:attrNameLst>
                                      </p:cBhvr>
                                      <p:tavLst>
                                        <p:tav tm="0">
                                          <p:val>
                                            <p:strVal val="1+#ppt_w/2"/>
                                          </p:val>
                                        </p:tav>
                                        <p:tav tm="100000">
                                          <p:val>
                                            <p:strVal val="#ppt_x"/>
                                          </p:val>
                                        </p:tav>
                                      </p:tavLst>
                                    </p:anim>
                                    <p:anim calcmode="lin" valueType="num">
                                      <p:cBhvr additive="base">
                                        <p:cTn dur="750" fill="hold" id="41"/>
                                        <p:tgtEl>
                                          <p:spTgt spid="11"/>
                                        </p:tgtEl>
                                        <p:attrNameLst>
                                          <p:attrName>ppt_y</p:attrName>
                                        </p:attrNameLst>
                                      </p:cBhvr>
                                      <p:tavLst>
                                        <p:tav tm="0">
                                          <p:val>
                                            <p:strVal val="#ppt_y"/>
                                          </p:val>
                                        </p:tav>
                                        <p:tav tm="100000">
                                          <p:val>
                                            <p:strVal val="#ppt_y"/>
                                          </p:val>
                                        </p:tav>
                                      </p:tavLst>
                                    </p:anim>
                                  </p:childTnLst>
                                </p:cTn>
                              </p:par>
                            </p:childTnLst>
                          </p:cTn>
                        </p:par>
                        <p:par>
                          <p:cTn fill="hold" id="42" nodeType="afterGroup">
                            <p:stCondLst>
                              <p:cond delay="3250"/>
                            </p:stCondLst>
                            <p:childTnLst>
                              <p:par>
                                <p:cTn fill="hold" grpId="1" id="43" nodeType="afterEffect" presetClass="emph" presetID="26" presetSubtype="0">
                                  <p:stCondLst>
                                    <p:cond delay="0"/>
                                  </p:stCondLst>
                                  <p:iterate type="lt">
                                    <p:tmPct val="10000"/>
                                  </p:iterate>
                                  <p:childTnLst>
                                    <p:animEffect filter="fade" transition="out">
                                      <p:cBhvr>
                                        <p:cTn dur="500" id="44" tmFilter="0, 0; .2, .5; .8, .5; 1, 0"/>
                                        <p:tgtEl>
                                          <p:spTgt spid="11"/>
                                        </p:tgtEl>
                                      </p:cBhvr>
                                    </p:animEffect>
                                    <p:animScale>
                                      <p:cBhvr>
                                        <p:cTn autoRev="1" dur="250" fill="hold" id="45"/>
                                        <p:tgtEl>
                                          <p:spTgt spid="11"/>
                                        </p:tgtEl>
                                      </p:cBhvr>
                                      <p:by x="105000" y="105000"/>
                                    </p:animScale>
                                  </p:childTnLst>
                                </p:cTn>
                              </p:par>
                            </p:childTnLst>
                          </p:cTn>
                        </p:par>
                        <p:par>
                          <p:cTn fill="hold" id="46" nodeType="afterGroup">
                            <p:stCondLst>
                              <p:cond delay="3750"/>
                            </p:stCondLst>
                            <p:childTnLst>
                              <p:par>
                                <p:cTn fill="hold" id="47" nodeType="afterEffect" presetClass="entr" presetID="16" presetSubtype="21">
                                  <p:stCondLst>
                                    <p:cond delay="0"/>
                                  </p:stCondLst>
                                  <p:childTnLst>
                                    <p:set>
                                      <p:cBhvr>
                                        <p:cTn dur="1" fill="hold" id="48">
                                          <p:stCondLst>
                                            <p:cond delay="0"/>
                                          </p:stCondLst>
                                        </p:cTn>
                                        <p:tgtEl>
                                          <p:spTgt spid="9"/>
                                        </p:tgtEl>
                                        <p:attrNameLst>
                                          <p:attrName>style.visibility</p:attrName>
                                        </p:attrNameLst>
                                      </p:cBhvr>
                                      <p:to>
                                        <p:strVal val="visible"/>
                                      </p:to>
                                    </p:set>
                                    <p:animEffect filter="barn(inVertical)" transition="in">
                                      <p:cBhvr>
                                        <p:cTn dur="500" id="49"/>
                                        <p:tgtEl>
                                          <p:spTgt spid="9"/>
                                        </p:tgtEl>
                                      </p:cBhvr>
                                    </p:animEffect>
                                  </p:childTnLst>
                                </p:cTn>
                              </p:par>
                              <p:par>
                                <p:cTn fill="hold" grpId="0" id="50" nodeType="withEffect" presetClass="entr" presetID="16" presetSubtype="37">
                                  <p:stCondLst>
                                    <p:cond delay="0"/>
                                  </p:stCondLst>
                                  <p:childTnLst>
                                    <p:set>
                                      <p:cBhvr>
                                        <p:cTn dur="1" fill="hold" id="51">
                                          <p:stCondLst>
                                            <p:cond delay="0"/>
                                          </p:stCondLst>
                                        </p:cTn>
                                        <p:tgtEl>
                                          <p:spTgt spid="18"/>
                                        </p:tgtEl>
                                        <p:attrNameLst>
                                          <p:attrName>style.visibility</p:attrName>
                                        </p:attrNameLst>
                                      </p:cBhvr>
                                      <p:to>
                                        <p:strVal val="visible"/>
                                      </p:to>
                                    </p:set>
                                    <p:animEffect filter="barn(outVertical)" transition="in">
                                      <p:cBhvr>
                                        <p:cTn dur="500" id="52"/>
                                        <p:tgtEl>
                                          <p:spTgt spid="18"/>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7"/>
      <p:bldP grpId="0" spid="18"/>
      <p:bldP grpId="0" spid="11"/>
      <p:bldP grpId="1" spid="11"/>
    </p:bldLst>
  </p:timing>
</p:sld>
</file>

<file path=ppt/slides/slide10.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7" name="椭圆 6">
            <a:extLst>
              <a:ext uri="{FF2B5EF4-FFF2-40B4-BE49-F238E27FC236}">
                <a16:creationId xmlns:a16="http://schemas.microsoft.com/office/drawing/2014/main" id="{97F35CCF-B1AD-40AD-9D77-E1886CA3C847}"/>
              </a:ext>
            </a:extLst>
          </p:cNvPr>
          <p:cNvSpPr/>
          <p:nvPr/>
        </p:nvSpPr>
        <p:spPr>
          <a:xfrm>
            <a:off x="11325281" y="5957455"/>
            <a:ext cx="1193212" cy="1193212"/>
          </a:xfrm>
          <a:prstGeom prst="ellipse">
            <a:avLst/>
          </a:prstGeom>
          <a:solidFill>
            <a:srgbClr val="A0CBD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10" name="文本框 9">
            <a:extLst>
              <a:ext uri="{FF2B5EF4-FFF2-40B4-BE49-F238E27FC236}">
                <a16:creationId xmlns:a16="http://schemas.microsoft.com/office/drawing/2014/main" id="{3EF1E9ED-80AB-4909-8BA5-A43F4FCE2334}"/>
              </a:ext>
            </a:extLst>
          </p:cNvPr>
          <p:cNvSpPr txBox="1"/>
          <p:nvPr/>
        </p:nvSpPr>
        <p:spPr>
          <a:xfrm>
            <a:off x="4133850" y="390618"/>
            <a:ext cx="3924300" cy="640080"/>
          </a:xfrm>
          <a:prstGeom prst="rect">
            <a:avLst/>
          </a:prstGeom>
          <a:noFill/>
        </p:spPr>
        <p:txBody>
          <a:bodyPr rtlCol="0" wrap="square">
            <a:spAutoFit/>
          </a:bodyPr>
          <a:lstStyle/>
          <a:p>
            <a:pPr algn="ctr"/>
            <a:r>
              <a:rPr altLang="en-US" lang="zh-CN" sz="3600">
                <a:solidFill>
                  <a:schemeClr val="tx1">
                    <a:lumMod val="85000"/>
                    <a:lumOff val="15000"/>
                  </a:schemeClr>
                </a:solidFill>
                <a:latin charset="-122" panose="02000500000000000000" pitchFamily="2" typeface="方正雅士黑 简"/>
                <a:ea charset="-122" panose="02000500000000000000" pitchFamily="2" typeface="方正雅士黑 简"/>
              </a:rPr>
              <a:t>工作成果展示</a:t>
            </a:r>
          </a:p>
        </p:txBody>
      </p:sp>
      <p:cxnSp>
        <p:nvCxnSpPr>
          <p:cNvPr id="13" name="直接连接符 12">
            <a:extLst>
              <a:ext uri="{FF2B5EF4-FFF2-40B4-BE49-F238E27FC236}">
                <a16:creationId xmlns:a16="http://schemas.microsoft.com/office/drawing/2014/main" id="{63C006F1-C17E-4B5D-A667-14B1AFD009FE}"/>
              </a:ext>
            </a:extLst>
          </p:cNvPr>
          <p:cNvCxnSpPr/>
          <p:nvPr/>
        </p:nvCxnSpPr>
        <p:spPr>
          <a:xfrm>
            <a:off x="7791452" y="683005"/>
            <a:ext cx="571498" cy="0"/>
          </a:xfrm>
          <a:prstGeom prst="line">
            <a:avLst/>
          </a:prstGeom>
          <a:ln cap="rnd" w="19050">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pic>
        <p:nvPicPr>
          <p:cNvPr id="15" name="图形 14">
            <a:extLst>
              <a:ext uri="{FF2B5EF4-FFF2-40B4-BE49-F238E27FC236}">
                <a16:creationId xmlns:a16="http://schemas.microsoft.com/office/drawing/2014/main" id="{D0B6809A-9193-440B-AB59-9B5857A764E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314825" y="597280"/>
            <a:ext cx="171450" cy="171450"/>
          </a:xfrm>
          <a:prstGeom prst="rect">
            <a:avLst/>
          </a:prstGeom>
        </p:spPr>
      </p:pic>
      <p:pic>
        <p:nvPicPr>
          <p:cNvPr id="16" name="图形 15">
            <a:extLst>
              <a:ext uri="{FF2B5EF4-FFF2-40B4-BE49-F238E27FC236}">
                <a16:creationId xmlns:a16="http://schemas.microsoft.com/office/drawing/2014/main" id="{1508760C-4270-4AAF-AD1C-A51CD87667C3}"/>
              </a:ext>
            </a:extLst>
          </p:cNvPr>
          <p:cNvPicPr>
            <a:picLocks noChangeAspect="1"/>
          </p:cNvPicPr>
          <p:nvPr/>
        </p:nvPicPr>
        <p:blipFill>
          <a:blip r:embed="rId3">
            <a:extLst>
              <a:ext uri="{96DAC541-7B7A-43D3-8B79-37D633B846F1}">
                <asvg:svgBlip xmlns:asvg="http://schemas.microsoft.com/office/drawing/2016/SVG/main" r:embed="rId5"/>
              </a:ext>
            </a:extLst>
          </a:blip>
          <a:stretch>
            <a:fillRect/>
          </a:stretch>
        </p:blipFill>
        <p:spPr>
          <a:xfrm>
            <a:off x="7705727" y="597280"/>
            <a:ext cx="171450" cy="171450"/>
          </a:xfrm>
          <a:prstGeom prst="rect">
            <a:avLst/>
          </a:prstGeom>
        </p:spPr>
      </p:pic>
      <p:cxnSp>
        <p:nvCxnSpPr>
          <p:cNvPr id="18" name="直接连接符 17">
            <a:extLst>
              <a:ext uri="{FF2B5EF4-FFF2-40B4-BE49-F238E27FC236}">
                <a16:creationId xmlns:a16="http://schemas.microsoft.com/office/drawing/2014/main" id="{D59B9B17-AB83-41D0-BA0B-C09A6571714C}"/>
              </a:ext>
            </a:extLst>
          </p:cNvPr>
          <p:cNvCxnSpPr/>
          <p:nvPr/>
        </p:nvCxnSpPr>
        <p:spPr>
          <a:xfrm>
            <a:off x="3829052" y="683005"/>
            <a:ext cx="571498" cy="0"/>
          </a:xfrm>
          <a:prstGeom prst="line">
            <a:avLst/>
          </a:prstGeom>
          <a:ln cap="rnd" w="19050">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pic>
        <p:nvPicPr>
          <p:cNvPr id="11" name="图形 10">
            <a:extLst>
              <a:ext uri="{FF2B5EF4-FFF2-40B4-BE49-F238E27FC236}">
                <a16:creationId xmlns:a16="http://schemas.microsoft.com/office/drawing/2014/main" id="{DC2978AE-F650-4F98-B221-17A2FCD5F42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192576" y="5633038"/>
            <a:ext cx="871735" cy="1193212"/>
          </a:xfrm>
          <a:prstGeom prst="rect">
            <a:avLst/>
          </a:prstGeom>
        </p:spPr>
      </p:pic>
      <p:grpSp>
        <p:nvGrpSpPr>
          <p:cNvPr id="80" name="组合 79">
            <a:extLst>
              <a:ext uri="{FF2B5EF4-FFF2-40B4-BE49-F238E27FC236}">
                <a16:creationId xmlns:a16="http://schemas.microsoft.com/office/drawing/2014/main" id="{E723D293-1B73-4173-B92B-54B9AE6D929D}"/>
              </a:ext>
            </a:extLst>
          </p:cNvPr>
          <p:cNvGrpSpPr/>
          <p:nvPr/>
        </p:nvGrpSpPr>
        <p:grpSpPr>
          <a:xfrm>
            <a:off x="1329313" y="2085182"/>
            <a:ext cx="2804537" cy="2687636"/>
            <a:chOff x="1329313" y="1651002"/>
            <a:chExt cx="2804537" cy="2687636"/>
          </a:xfrm>
        </p:grpSpPr>
        <p:sp>
          <p:nvSpPr>
            <p:cNvPr id="81" name="îṣļîďê">
              <a:extLst>
                <a:ext uri="{FF2B5EF4-FFF2-40B4-BE49-F238E27FC236}">
                  <a16:creationId xmlns:a16="http://schemas.microsoft.com/office/drawing/2014/main" id="{5DC1CC99-00CD-4171-97AE-D553C2FF811E}"/>
                </a:ext>
              </a:extLst>
            </p:cNvPr>
            <p:cNvSpPr/>
            <p:nvPr/>
          </p:nvSpPr>
          <p:spPr bwMode="auto">
            <a:xfrm>
              <a:off x="1769030" y="1679959"/>
              <a:ext cx="1915450" cy="2629722"/>
            </a:xfrm>
            <a:custGeom>
              <a:gdLst>
                <a:gd fmla="*/ 156 w 200" name="T0"/>
                <a:gd fmla="*/ 44 h 275" name="T1"/>
                <a:gd fmla="*/ 156 w 200" name="T2"/>
                <a:gd fmla="*/ 0 h 275" name="T3"/>
                <a:gd fmla="*/ 13 w 200" name="T4"/>
                <a:gd fmla="*/ 0 h 275" name="T5"/>
                <a:gd fmla="*/ 0 w 200" name="T6"/>
                <a:gd fmla="*/ 13 h 275" name="T7"/>
                <a:gd fmla="*/ 0 w 200" name="T8"/>
                <a:gd fmla="*/ 250 h 275" name="T9"/>
                <a:gd fmla="*/ 0 w 200" name="T10"/>
                <a:gd fmla="*/ 262 h 275" name="T11"/>
                <a:gd fmla="*/ 13 w 200" name="T12"/>
                <a:gd fmla="*/ 275 h 275" name="T13"/>
                <a:gd fmla="*/ 187 w 200" name="T14"/>
                <a:gd fmla="*/ 275 h 275" name="T15"/>
                <a:gd fmla="*/ 200 w 200" name="T16"/>
                <a:gd fmla="*/ 262 h 275" name="T17"/>
                <a:gd fmla="*/ 200 w 200" name="T18"/>
                <a:gd fmla="*/ 44 h 275" name="T19"/>
                <a:gd fmla="*/ 156 w 200" name="T20"/>
                <a:gd fmla="*/ 44 h 275" name="T2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b="b" l="0" r="r" t="0"/>
              <a:pathLst>
                <a:path h="275" w="200">
                  <a:moveTo>
                    <a:pt x="156" y="44"/>
                  </a:moveTo>
                  <a:cubicBezTo>
                    <a:pt x="156" y="0"/>
                    <a:pt x="156" y="0"/>
                    <a:pt x="156" y="0"/>
                  </a:cubicBezTo>
                  <a:cubicBezTo>
                    <a:pt x="13" y="0"/>
                    <a:pt x="13" y="0"/>
                    <a:pt x="13" y="0"/>
                  </a:cubicBezTo>
                  <a:cubicBezTo>
                    <a:pt x="6" y="0"/>
                    <a:pt x="0" y="6"/>
                    <a:pt x="0" y="13"/>
                  </a:cubicBezTo>
                  <a:cubicBezTo>
                    <a:pt x="0" y="250"/>
                    <a:pt x="0" y="250"/>
                    <a:pt x="0" y="250"/>
                  </a:cubicBezTo>
                  <a:cubicBezTo>
                    <a:pt x="0" y="262"/>
                    <a:pt x="0" y="262"/>
                    <a:pt x="0" y="262"/>
                  </a:cubicBezTo>
                  <a:cubicBezTo>
                    <a:pt x="0" y="269"/>
                    <a:pt x="6" y="275"/>
                    <a:pt x="13" y="275"/>
                  </a:cubicBezTo>
                  <a:cubicBezTo>
                    <a:pt x="187" y="275"/>
                    <a:pt x="187" y="275"/>
                    <a:pt x="187" y="275"/>
                  </a:cubicBezTo>
                  <a:cubicBezTo>
                    <a:pt x="194" y="275"/>
                    <a:pt x="200" y="269"/>
                    <a:pt x="200" y="262"/>
                  </a:cubicBezTo>
                  <a:cubicBezTo>
                    <a:pt x="200" y="44"/>
                    <a:pt x="200" y="44"/>
                    <a:pt x="200" y="44"/>
                  </a:cubicBezTo>
                  <a:lnTo>
                    <a:pt x="156" y="44"/>
                  </a:lnTo>
                  <a:close/>
                </a:path>
              </a:pathLst>
            </a:custGeom>
            <a:solidFill>
              <a:schemeClr val="bg1"/>
            </a:solidFill>
            <a:ln>
              <a:noFill/>
            </a:ln>
          </p:spPr>
          <p:txBody>
            <a:bodyPr anchor="ctr"/>
            <a:lstStyle/>
            <a:p>
              <a:pPr algn="ctr"/>
              <a:endParaRPr/>
            </a:p>
          </p:txBody>
        </p:sp>
        <p:sp>
          <p:nvSpPr>
            <p:cNvPr id="82" name="îṡľiḍé">
              <a:extLst>
                <a:ext uri="{FF2B5EF4-FFF2-40B4-BE49-F238E27FC236}">
                  <a16:creationId xmlns:a16="http://schemas.microsoft.com/office/drawing/2014/main" id="{952552E1-6D9B-4A8D-B910-A8C7FB1AA09A}"/>
                </a:ext>
              </a:extLst>
            </p:cNvPr>
            <p:cNvSpPr/>
            <p:nvPr/>
          </p:nvSpPr>
          <p:spPr bwMode="auto">
            <a:xfrm>
              <a:off x="3262995" y="1679959"/>
              <a:ext cx="421485" cy="420412"/>
            </a:xfrm>
            <a:custGeom>
              <a:gdLst>
                <a:gd fmla="*/ 0 w 44" name="T0"/>
                <a:gd fmla="*/ 0 h 44" name="T1"/>
                <a:gd fmla="*/ 44 w 44" name="T2"/>
                <a:gd fmla="*/ 44 h 44" name="T3"/>
                <a:gd fmla="*/ 0 w 44" name="T4"/>
                <a:gd fmla="*/ 44 h 44" name="T5"/>
                <a:gd fmla="*/ 0 w 44" name="T6"/>
                <a:gd fmla="*/ 0 h 44" name="T7"/>
              </a:gdLst>
              <a:cxnLst>
                <a:cxn ang="0">
                  <a:pos x="T0" y="T1"/>
                </a:cxn>
                <a:cxn ang="0">
                  <a:pos x="T2" y="T3"/>
                </a:cxn>
                <a:cxn ang="0">
                  <a:pos x="T4" y="T5"/>
                </a:cxn>
                <a:cxn ang="0">
                  <a:pos x="T6" y="T7"/>
                </a:cxn>
              </a:cxnLst>
              <a:rect b="b" l="0" r="r" t="0"/>
              <a:pathLst>
                <a:path h="44" w="44">
                  <a:moveTo>
                    <a:pt x="0" y="0"/>
                  </a:moveTo>
                  <a:cubicBezTo>
                    <a:pt x="17" y="17"/>
                    <a:pt x="27" y="27"/>
                    <a:pt x="44" y="44"/>
                  </a:cubicBezTo>
                  <a:cubicBezTo>
                    <a:pt x="0" y="44"/>
                    <a:pt x="0" y="44"/>
                    <a:pt x="0" y="44"/>
                  </a:cubicBezTo>
                  <a:lnTo>
                    <a:pt x="0" y="0"/>
                  </a:lnTo>
                  <a:close/>
                </a:path>
              </a:pathLst>
            </a:custGeom>
            <a:solidFill>
              <a:srgbClr val="FFC73E"/>
            </a:solidFill>
            <a:ln>
              <a:noFill/>
            </a:ln>
          </p:spPr>
          <p:txBody>
            <a:bodyPr anchor="ctr"/>
            <a:lstStyle/>
            <a:p>
              <a:pPr algn="ctr"/>
              <a:endParaRPr/>
            </a:p>
          </p:txBody>
        </p:sp>
        <p:sp>
          <p:nvSpPr>
            <p:cNvPr id="83" name="iṣḻíḓé">
              <a:extLst>
                <a:ext uri="{FF2B5EF4-FFF2-40B4-BE49-F238E27FC236}">
                  <a16:creationId xmlns:a16="http://schemas.microsoft.com/office/drawing/2014/main" id="{36D25E52-AFD2-4651-ACE3-5B8C87F8AEA8}"/>
                </a:ext>
              </a:extLst>
            </p:cNvPr>
            <p:cNvSpPr/>
            <p:nvPr/>
          </p:nvSpPr>
          <p:spPr bwMode="auto">
            <a:xfrm>
              <a:off x="3856077" y="1975963"/>
              <a:ext cx="134060" cy="134060"/>
            </a:xfrm>
            <a:custGeom>
              <a:gdLst>
                <a:gd fmla="*/ 11 w 14" name="T0"/>
                <a:gd fmla="*/ 2 h 14" name="T1"/>
                <a:gd fmla="*/ 11 w 14" name="T2"/>
                <a:gd fmla="*/ 11 h 14" name="T3"/>
                <a:gd fmla="*/ 3 w 14" name="T4"/>
                <a:gd fmla="*/ 11 h 14" name="T5"/>
                <a:gd fmla="*/ 3 w 14" name="T6"/>
                <a:gd fmla="*/ 2 h 14" name="T7"/>
                <a:gd fmla="*/ 11 w 14" name="T8"/>
                <a:gd fmla="*/ 2 h 14" name="T9"/>
              </a:gdLst>
              <a:cxnLst>
                <a:cxn ang="0">
                  <a:pos x="T0" y="T1"/>
                </a:cxn>
                <a:cxn ang="0">
                  <a:pos x="T2" y="T3"/>
                </a:cxn>
                <a:cxn ang="0">
                  <a:pos x="T4" y="T5"/>
                </a:cxn>
                <a:cxn ang="0">
                  <a:pos x="T6" y="T7"/>
                </a:cxn>
                <a:cxn ang="0">
                  <a:pos x="T8" y="T9"/>
                </a:cxn>
              </a:cxnLst>
              <a:rect b="b" l="0" r="r" t="0"/>
              <a:pathLst>
                <a:path h="14" w="14">
                  <a:moveTo>
                    <a:pt x="11" y="2"/>
                  </a:moveTo>
                  <a:cubicBezTo>
                    <a:pt x="14" y="5"/>
                    <a:pt x="14" y="9"/>
                    <a:pt x="11" y="11"/>
                  </a:cubicBezTo>
                  <a:cubicBezTo>
                    <a:pt x="9" y="14"/>
                    <a:pt x="5" y="14"/>
                    <a:pt x="3" y="11"/>
                  </a:cubicBezTo>
                  <a:cubicBezTo>
                    <a:pt x="0" y="9"/>
                    <a:pt x="0" y="5"/>
                    <a:pt x="3" y="2"/>
                  </a:cubicBezTo>
                  <a:cubicBezTo>
                    <a:pt x="5" y="0"/>
                    <a:pt x="9" y="0"/>
                    <a:pt x="11" y="2"/>
                  </a:cubicBezTo>
                  <a:close/>
                </a:path>
              </a:pathLst>
            </a:custGeom>
            <a:solidFill>
              <a:srgbClr val="FFE9B3"/>
            </a:solidFill>
            <a:ln>
              <a:noFill/>
            </a:ln>
          </p:spPr>
          <p:txBody>
            <a:bodyPr anchor="ctr"/>
            <a:lstStyle/>
            <a:p>
              <a:pPr algn="ctr"/>
              <a:endParaRPr/>
            </a:p>
          </p:txBody>
        </p:sp>
        <p:sp>
          <p:nvSpPr>
            <p:cNvPr id="84" name="i$lïdè">
              <a:extLst>
                <a:ext uri="{FF2B5EF4-FFF2-40B4-BE49-F238E27FC236}">
                  <a16:creationId xmlns:a16="http://schemas.microsoft.com/office/drawing/2014/main" id="{787588BC-6D44-4CF9-9DC2-DDD3F293FE43}"/>
                </a:ext>
              </a:extLst>
            </p:cNvPr>
            <p:cNvSpPr/>
            <p:nvPr/>
          </p:nvSpPr>
          <p:spPr bwMode="auto">
            <a:xfrm>
              <a:off x="3856077" y="3286534"/>
              <a:ext cx="134060" cy="134060"/>
            </a:xfrm>
            <a:custGeom>
              <a:gdLst>
                <a:gd fmla="*/ 11 w 14" name="T0"/>
                <a:gd fmla="*/ 3 h 14" name="T1"/>
                <a:gd fmla="*/ 11 w 14" name="T2"/>
                <a:gd fmla="*/ 11 h 14" name="T3"/>
                <a:gd fmla="*/ 3 w 14" name="T4"/>
                <a:gd fmla="*/ 11 h 14" name="T5"/>
                <a:gd fmla="*/ 3 w 14" name="T6"/>
                <a:gd fmla="*/ 3 h 14" name="T7"/>
                <a:gd fmla="*/ 11 w 14" name="T8"/>
                <a:gd fmla="*/ 3 h 14" name="T9"/>
              </a:gdLst>
              <a:cxnLst>
                <a:cxn ang="0">
                  <a:pos x="T0" y="T1"/>
                </a:cxn>
                <a:cxn ang="0">
                  <a:pos x="T2" y="T3"/>
                </a:cxn>
                <a:cxn ang="0">
                  <a:pos x="T4" y="T5"/>
                </a:cxn>
                <a:cxn ang="0">
                  <a:pos x="T6" y="T7"/>
                </a:cxn>
                <a:cxn ang="0">
                  <a:pos x="T8" y="T9"/>
                </a:cxn>
              </a:cxnLst>
              <a:rect b="b" l="0" r="r" t="0"/>
              <a:pathLst>
                <a:path h="14" w="14">
                  <a:moveTo>
                    <a:pt x="11" y="3"/>
                  </a:moveTo>
                  <a:cubicBezTo>
                    <a:pt x="14" y="5"/>
                    <a:pt x="14" y="9"/>
                    <a:pt x="11" y="11"/>
                  </a:cubicBezTo>
                  <a:cubicBezTo>
                    <a:pt x="9" y="14"/>
                    <a:pt x="5" y="14"/>
                    <a:pt x="3" y="11"/>
                  </a:cubicBezTo>
                  <a:cubicBezTo>
                    <a:pt x="0" y="9"/>
                    <a:pt x="0" y="5"/>
                    <a:pt x="3" y="3"/>
                  </a:cubicBezTo>
                  <a:cubicBezTo>
                    <a:pt x="5" y="0"/>
                    <a:pt x="9" y="0"/>
                    <a:pt x="11" y="3"/>
                  </a:cubicBezTo>
                  <a:close/>
                </a:path>
              </a:pathLst>
            </a:custGeom>
            <a:solidFill>
              <a:srgbClr val="FFE9B3"/>
            </a:solidFill>
            <a:ln>
              <a:noFill/>
            </a:ln>
          </p:spPr>
          <p:txBody>
            <a:bodyPr anchor="ctr"/>
            <a:lstStyle/>
            <a:p>
              <a:pPr algn="ctr"/>
              <a:endParaRPr/>
            </a:p>
          </p:txBody>
        </p:sp>
        <p:sp>
          <p:nvSpPr>
            <p:cNvPr id="85" name="ïSľíďè">
              <a:extLst>
                <a:ext uri="{FF2B5EF4-FFF2-40B4-BE49-F238E27FC236}">
                  <a16:creationId xmlns:a16="http://schemas.microsoft.com/office/drawing/2014/main" id="{F5B600B6-90E4-487A-B2AD-91F1A4433B7A}"/>
                </a:ext>
              </a:extLst>
            </p:cNvPr>
            <p:cNvSpPr/>
            <p:nvPr/>
          </p:nvSpPr>
          <p:spPr bwMode="auto">
            <a:xfrm>
              <a:off x="3435665" y="4004024"/>
              <a:ext cx="134060" cy="134060"/>
            </a:xfrm>
            <a:custGeom>
              <a:gdLst>
                <a:gd fmla="*/ 12 w 14" name="T0"/>
                <a:gd fmla="*/ 3 h 14" name="T1"/>
                <a:gd fmla="*/ 12 w 14" name="T2"/>
                <a:gd fmla="*/ 11 h 14" name="T3"/>
                <a:gd fmla="*/ 3 w 14" name="T4"/>
                <a:gd fmla="*/ 11 h 14" name="T5"/>
                <a:gd fmla="*/ 3 w 14" name="T6"/>
                <a:gd fmla="*/ 3 h 14" name="T7"/>
                <a:gd fmla="*/ 12 w 14" name="T8"/>
                <a:gd fmla="*/ 3 h 14" name="T9"/>
              </a:gdLst>
              <a:cxnLst>
                <a:cxn ang="0">
                  <a:pos x="T0" y="T1"/>
                </a:cxn>
                <a:cxn ang="0">
                  <a:pos x="T2" y="T3"/>
                </a:cxn>
                <a:cxn ang="0">
                  <a:pos x="T4" y="T5"/>
                </a:cxn>
                <a:cxn ang="0">
                  <a:pos x="T6" y="T7"/>
                </a:cxn>
                <a:cxn ang="0">
                  <a:pos x="T8" y="T9"/>
                </a:cxn>
              </a:cxnLst>
              <a:rect b="b" l="0" r="r" t="0"/>
              <a:pathLst>
                <a:path h="14" w="14">
                  <a:moveTo>
                    <a:pt x="12" y="3"/>
                  </a:moveTo>
                  <a:cubicBezTo>
                    <a:pt x="14" y="5"/>
                    <a:pt x="14" y="9"/>
                    <a:pt x="12" y="11"/>
                  </a:cubicBezTo>
                  <a:cubicBezTo>
                    <a:pt x="9" y="14"/>
                    <a:pt x="5" y="14"/>
                    <a:pt x="3" y="11"/>
                  </a:cubicBezTo>
                  <a:cubicBezTo>
                    <a:pt x="0" y="9"/>
                    <a:pt x="0" y="5"/>
                    <a:pt x="3" y="3"/>
                  </a:cubicBezTo>
                  <a:cubicBezTo>
                    <a:pt x="5" y="0"/>
                    <a:pt x="9" y="0"/>
                    <a:pt x="12" y="3"/>
                  </a:cubicBezTo>
                  <a:close/>
                </a:path>
              </a:pathLst>
            </a:custGeom>
            <a:solidFill>
              <a:srgbClr val="FFC73E"/>
            </a:solidFill>
            <a:ln>
              <a:noFill/>
            </a:ln>
          </p:spPr>
          <p:txBody>
            <a:bodyPr anchor="ctr"/>
            <a:lstStyle/>
            <a:p>
              <a:pPr algn="ctr"/>
              <a:endParaRPr/>
            </a:p>
          </p:txBody>
        </p:sp>
        <p:sp>
          <p:nvSpPr>
            <p:cNvPr id="86" name="íṣḷïḍè">
              <a:extLst>
                <a:ext uri="{FF2B5EF4-FFF2-40B4-BE49-F238E27FC236}">
                  <a16:creationId xmlns:a16="http://schemas.microsoft.com/office/drawing/2014/main" id="{ED26CDC5-2B0E-48D3-9864-27624E4404EC}"/>
                </a:ext>
              </a:extLst>
            </p:cNvPr>
            <p:cNvSpPr/>
            <p:nvPr/>
          </p:nvSpPr>
          <p:spPr bwMode="auto">
            <a:xfrm>
              <a:off x="1473025" y="2808208"/>
              <a:ext cx="124408" cy="134060"/>
            </a:xfrm>
            <a:custGeom>
              <a:gdLst>
                <a:gd fmla="*/ 11 w 13" name="T0"/>
                <a:gd fmla="*/ 3 h 14" name="T1"/>
                <a:gd fmla="*/ 11 w 13" name="T2"/>
                <a:gd fmla="*/ 12 h 14" name="T3"/>
                <a:gd fmla="*/ 2 w 13" name="T4"/>
                <a:gd fmla="*/ 12 h 14" name="T5"/>
                <a:gd fmla="*/ 2 w 13" name="T6"/>
                <a:gd fmla="*/ 3 h 14" name="T7"/>
                <a:gd fmla="*/ 11 w 13" name="T8"/>
                <a:gd fmla="*/ 3 h 14" name="T9"/>
              </a:gdLst>
              <a:cxnLst>
                <a:cxn ang="0">
                  <a:pos x="T0" y="T1"/>
                </a:cxn>
                <a:cxn ang="0">
                  <a:pos x="T2" y="T3"/>
                </a:cxn>
                <a:cxn ang="0">
                  <a:pos x="T4" y="T5"/>
                </a:cxn>
                <a:cxn ang="0">
                  <a:pos x="T6" y="T7"/>
                </a:cxn>
                <a:cxn ang="0">
                  <a:pos x="T8" y="T9"/>
                </a:cxn>
              </a:cxnLst>
              <a:rect b="b" l="0" r="r" t="0"/>
              <a:pathLst>
                <a:path h="14" w="13">
                  <a:moveTo>
                    <a:pt x="11" y="3"/>
                  </a:moveTo>
                  <a:cubicBezTo>
                    <a:pt x="13" y="5"/>
                    <a:pt x="13" y="9"/>
                    <a:pt x="11" y="12"/>
                  </a:cubicBezTo>
                  <a:cubicBezTo>
                    <a:pt x="8" y="14"/>
                    <a:pt x="4" y="14"/>
                    <a:pt x="2" y="12"/>
                  </a:cubicBezTo>
                  <a:cubicBezTo>
                    <a:pt x="0" y="9"/>
                    <a:pt x="0" y="5"/>
                    <a:pt x="2" y="3"/>
                  </a:cubicBezTo>
                  <a:cubicBezTo>
                    <a:pt x="4" y="0"/>
                    <a:pt x="8" y="0"/>
                    <a:pt x="11" y="3"/>
                  </a:cubicBezTo>
                  <a:close/>
                </a:path>
              </a:pathLst>
            </a:custGeom>
            <a:solidFill>
              <a:srgbClr val="FFE9B3"/>
            </a:solidFill>
            <a:ln>
              <a:noFill/>
            </a:ln>
          </p:spPr>
          <p:txBody>
            <a:bodyPr anchor="ctr"/>
            <a:lstStyle/>
            <a:p>
              <a:pPr algn="ctr"/>
              <a:endParaRPr/>
            </a:p>
          </p:txBody>
        </p:sp>
        <p:sp>
          <p:nvSpPr>
            <p:cNvPr id="87" name="ïśļïḍe">
              <a:extLst>
                <a:ext uri="{FF2B5EF4-FFF2-40B4-BE49-F238E27FC236}">
                  <a16:creationId xmlns:a16="http://schemas.microsoft.com/office/drawing/2014/main" id="{3248C3EC-5E7B-4496-B819-3FF8A4F6A207}"/>
                </a:ext>
              </a:extLst>
            </p:cNvPr>
            <p:cNvSpPr/>
            <p:nvPr/>
          </p:nvSpPr>
          <p:spPr bwMode="auto">
            <a:xfrm>
              <a:off x="3234038" y="1651002"/>
              <a:ext cx="478326" cy="478326"/>
            </a:xfrm>
            <a:custGeom>
              <a:gdLst>
                <a:gd fmla="*/ 47 w 50" name="T0"/>
                <a:gd fmla="*/ 50 h 50" name="T1"/>
                <a:gd fmla="*/ 3 w 50" name="T2"/>
                <a:gd fmla="*/ 50 h 50" name="T3"/>
                <a:gd fmla="*/ 0 w 50" name="T4"/>
                <a:gd fmla="*/ 47 h 50" name="T5"/>
                <a:gd fmla="*/ 0 w 50" name="T6"/>
                <a:gd fmla="*/ 3 h 50" name="T7"/>
                <a:gd fmla="*/ 3 w 50" name="T8"/>
                <a:gd fmla="*/ 0 h 50" name="T9"/>
                <a:gd fmla="*/ 6 w 50" name="T10"/>
                <a:gd fmla="*/ 3 h 50" name="T11"/>
                <a:gd fmla="*/ 6 w 50" name="T12"/>
                <a:gd fmla="*/ 44 h 50" name="T13"/>
                <a:gd fmla="*/ 47 w 50" name="T14"/>
                <a:gd fmla="*/ 44 h 50" name="T15"/>
                <a:gd fmla="*/ 50 w 50" name="T16"/>
                <a:gd fmla="*/ 47 h 50" name="T17"/>
                <a:gd fmla="*/ 47 w 50" name="T18"/>
                <a:gd fmla="*/ 50 h 50" name="T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b="b" l="0" r="r" t="0"/>
              <a:pathLst>
                <a:path h="50" w="50">
                  <a:moveTo>
                    <a:pt x="47" y="50"/>
                  </a:moveTo>
                  <a:cubicBezTo>
                    <a:pt x="3" y="50"/>
                    <a:pt x="3" y="50"/>
                    <a:pt x="3" y="50"/>
                  </a:cubicBezTo>
                  <a:cubicBezTo>
                    <a:pt x="2" y="50"/>
                    <a:pt x="0" y="49"/>
                    <a:pt x="0" y="47"/>
                  </a:cubicBezTo>
                  <a:cubicBezTo>
                    <a:pt x="0" y="3"/>
                    <a:pt x="0" y="3"/>
                    <a:pt x="0" y="3"/>
                  </a:cubicBezTo>
                  <a:cubicBezTo>
                    <a:pt x="0" y="2"/>
                    <a:pt x="2" y="0"/>
                    <a:pt x="3" y="0"/>
                  </a:cubicBezTo>
                  <a:cubicBezTo>
                    <a:pt x="5" y="0"/>
                    <a:pt x="6" y="2"/>
                    <a:pt x="6" y="3"/>
                  </a:cubicBezTo>
                  <a:cubicBezTo>
                    <a:pt x="6" y="44"/>
                    <a:pt x="6" y="44"/>
                    <a:pt x="6" y="44"/>
                  </a:cubicBezTo>
                  <a:cubicBezTo>
                    <a:pt x="47" y="44"/>
                    <a:pt x="47" y="44"/>
                    <a:pt x="47" y="44"/>
                  </a:cubicBezTo>
                  <a:cubicBezTo>
                    <a:pt x="49" y="44"/>
                    <a:pt x="50" y="45"/>
                    <a:pt x="50" y="47"/>
                  </a:cubicBezTo>
                  <a:cubicBezTo>
                    <a:pt x="50" y="49"/>
                    <a:pt x="49" y="50"/>
                    <a:pt x="47" y="50"/>
                  </a:cubicBezTo>
                  <a:close/>
                </a:path>
              </a:pathLst>
            </a:custGeom>
            <a:solidFill>
              <a:srgbClr val="FFC73E"/>
            </a:solidFill>
            <a:ln>
              <a:noFill/>
            </a:ln>
          </p:spPr>
          <p:txBody>
            <a:bodyPr anchor="ctr"/>
            <a:lstStyle/>
            <a:p>
              <a:pPr algn="ctr"/>
              <a:endParaRPr/>
            </a:p>
          </p:txBody>
        </p:sp>
        <p:sp>
          <p:nvSpPr>
            <p:cNvPr id="88" name="ïśľïḍê">
              <a:extLst>
                <a:ext uri="{FF2B5EF4-FFF2-40B4-BE49-F238E27FC236}">
                  <a16:creationId xmlns:a16="http://schemas.microsoft.com/office/drawing/2014/main" id="{D2195FBB-1121-4130-9269-4723378FBE77}"/>
                </a:ext>
              </a:extLst>
            </p:cNvPr>
            <p:cNvSpPr/>
            <p:nvPr/>
          </p:nvSpPr>
          <p:spPr bwMode="auto">
            <a:xfrm>
              <a:off x="1741146" y="1651002"/>
              <a:ext cx="1971219" cy="2687636"/>
            </a:xfrm>
            <a:custGeom>
              <a:gdLst>
                <a:gd fmla="*/ 190 w 206" name="T0"/>
                <a:gd fmla="*/ 281 h 281" name="T1"/>
                <a:gd fmla="*/ 16 w 206" name="T2"/>
                <a:gd fmla="*/ 281 h 281" name="T3"/>
                <a:gd fmla="*/ 0 w 206" name="T4"/>
                <a:gd fmla="*/ 265 h 281" name="T5"/>
                <a:gd fmla="*/ 0 w 206" name="T6"/>
                <a:gd fmla="*/ 16 h 281" name="T7"/>
                <a:gd fmla="*/ 16 w 206" name="T8"/>
                <a:gd fmla="*/ 0 h 281" name="T9"/>
                <a:gd fmla="*/ 159 w 206" name="T10"/>
                <a:gd fmla="*/ 0 h 281" name="T11"/>
                <a:gd fmla="*/ 162 w 206" name="T12"/>
                <a:gd fmla="*/ 1 h 281" name="T13"/>
                <a:gd fmla="*/ 177 w 206" name="T14"/>
                <a:gd fmla="*/ 17 h 281" name="T15"/>
                <a:gd fmla="*/ 205 w 206" name="T16"/>
                <a:gd fmla="*/ 45 h 281" name="T17"/>
                <a:gd fmla="*/ 206 w 206" name="T18"/>
                <a:gd fmla="*/ 47 h 281" name="T19"/>
                <a:gd fmla="*/ 206 w 206" name="T20"/>
                <a:gd fmla="*/ 265 h 281" name="T21"/>
                <a:gd fmla="*/ 190 w 206" name="T22"/>
                <a:gd fmla="*/ 281 h 281" name="T23"/>
                <a:gd fmla="*/ 16 w 206" name="T24"/>
                <a:gd fmla="*/ 6 h 281" name="T25"/>
                <a:gd fmla="*/ 6 w 206" name="T26"/>
                <a:gd fmla="*/ 16 h 281" name="T27"/>
                <a:gd fmla="*/ 6 w 206" name="T28"/>
                <a:gd fmla="*/ 265 h 281" name="T29"/>
                <a:gd fmla="*/ 16 w 206" name="T30"/>
                <a:gd fmla="*/ 275 h 281" name="T31"/>
                <a:gd fmla="*/ 190 w 206" name="T32"/>
                <a:gd fmla="*/ 275 h 281" name="T33"/>
                <a:gd fmla="*/ 200 w 206" name="T34"/>
                <a:gd fmla="*/ 265 h 281" name="T35"/>
                <a:gd fmla="*/ 200 w 206" name="T36"/>
                <a:gd fmla="*/ 48 h 281" name="T37"/>
                <a:gd fmla="*/ 173 w 206" name="T38"/>
                <a:gd fmla="*/ 21 h 281" name="T39"/>
                <a:gd fmla="*/ 158 w 206" name="T40"/>
                <a:gd fmla="*/ 6 h 281" name="T41"/>
                <a:gd fmla="*/ 16 w 206" name="T42"/>
                <a:gd fmla="*/ 6 h 281" name="T4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b="b" l="0" r="r" t="0"/>
              <a:pathLst>
                <a:path h="281" w="206">
                  <a:moveTo>
                    <a:pt x="190" y="281"/>
                  </a:moveTo>
                  <a:cubicBezTo>
                    <a:pt x="16" y="281"/>
                    <a:pt x="16" y="281"/>
                    <a:pt x="16" y="281"/>
                  </a:cubicBezTo>
                  <a:cubicBezTo>
                    <a:pt x="7" y="281"/>
                    <a:pt x="0" y="274"/>
                    <a:pt x="0" y="265"/>
                  </a:cubicBezTo>
                  <a:cubicBezTo>
                    <a:pt x="0" y="16"/>
                    <a:pt x="0" y="16"/>
                    <a:pt x="0" y="16"/>
                  </a:cubicBezTo>
                  <a:cubicBezTo>
                    <a:pt x="0" y="7"/>
                    <a:pt x="7" y="0"/>
                    <a:pt x="16" y="0"/>
                  </a:cubicBezTo>
                  <a:cubicBezTo>
                    <a:pt x="159" y="0"/>
                    <a:pt x="159" y="0"/>
                    <a:pt x="159" y="0"/>
                  </a:cubicBezTo>
                  <a:cubicBezTo>
                    <a:pt x="160" y="0"/>
                    <a:pt x="161" y="1"/>
                    <a:pt x="162" y="1"/>
                  </a:cubicBezTo>
                  <a:cubicBezTo>
                    <a:pt x="177" y="17"/>
                    <a:pt x="177" y="17"/>
                    <a:pt x="177" y="17"/>
                  </a:cubicBezTo>
                  <a:cubicBezTo>
                    <a:pt x="186" y="26"/>
                    <a:pt x="194" y="34"/>
                    <a:pt x="205" y="45"/>
                  </a:cubicBezTo>
                  <a:cubicBezTo>
                    <a:pt x="206" y="45"/>
                    <a:pt x="206" y="46"/>
                    <a:pt x="206" y="47"/>
                  </a:cubicBezTo>
                  <a:cubicBezTo>
                    <a:pt x="206" y="265"/>
                    <a:pt x="206" y="265"/>
                    <a:pt x="206" y="265"/>
                  </a:cubicBezTo>
                  <a:cubicBezTo>
                    <a:pt x="206" y="274"/>
                    <a:pt x="199" y="281"/>
                    <a:pt x="190" y="281"/>
                  </a:cubicBezTo>
                  <a:close/>
                  <a:moveTo>
                    <a:pt x="16" y="6"/>
                  </a:moveTo>
                  <a:cubicBezTo>
                    <a:pt x="11" y="6"/>
                    <a:pt x="6" y="11"/>
                    <a:pt x="6" y="16"/>
                  </a:cubicBezTo>
                  <a:cubicBezTo>
                    <a:pt x="6" y="265"/>
                    <a:pt x="6" y="265"/>
                    <a:pt x="6" y="265"/>
                  </a:cubicBezTo>
                  <a:cubicBezTo>
                    <a:pt x="6" y="270"/>
                    <a:pt x="11" y="275"/>
                    <a:pt x="16" y="275"/>
                  </a:cubicBezTo>
                  <a:cubicBezTo>
                    <a:pt x="190" y="275"/>
                    <a:pt x="190" y="275"/>
                    <a:pt x="190" y="275"/>
                  </a:cubicBezTo>
                  <a:cubicBezTo>
                    <a:pt x="195" y="275"/>
                    <a:pt x="200" y="270"/>
                    <a:pt x="200" y="265"/>
                  </a:cubicBezTo>
                  <a:cubicBezTo>
                    <a:pt x="200" y="48"/>
                    <a:pt x="200" y="48"/>
                    <a:pt x="200" y="48"/>
                  </a:cubicBezTo>
                  <a:cubicBezTo>
                    <a:pt x="189" y="38"/>
                    <a:pt x="182" y="30"/>
                    <a:pt x="173" y="21"/>
                  </a:cubicBezTo>
                  <a:cubicBezTo>
                    <a:pt x="158" y="6"/>
                    <a:pt x="158" y="6"/>
                    <a:pt x="158" y="6"/>
                  </a:cubicBezTo>
                  <a:lnTo>
                    <a:pt x="16" y="6"/>
                  </a:lnTo>
                  <a:close/>
                </a:path>
              </a:pathLst>
            </a:custGeom>
            <a:solidFill>
              <a:srgbClr val="FFC73E"/>
            </a:solidFill>
            <a:ln>
              <a:noFill/>
            </a:ln>
          </p:spPr>
          <p:txBody>
            <a:bodyPr anchor="ctr"/>
            <a:lstStyle/>
            <a:p>
              <a:pPr algn="ctr"/>
              <a:endParaRPr/>
            </a:p>
          </p:txBody>
        </p:sp>
        <p:sp>
          <p:nvSpPr>
            <p:cNvPr id="89" name="isḷïďe">
              <a:extLst>
                <a:ext uri="{FF2B5EF4-FFF2-40B4-BE49-F238E27FC236}">
                  <a16:creationId xmlns:a16="http://schemas.microsoft.com/office/drawing/2014/main" id="{6C237161-2A91-49B0-8EB5-CBC0BF4D804D}"/>
                </a:ext>
              </a:extLst>
            </p:cNvPr>
            <p:cNvSpPr/>
            <p:nvPr/>
          </p:nvSpPr>
          <p:spPr bwMode="auto">
            <a:xfrm>
              <a:off x="1741146" y="4042633"/>
              <a:ext cx="1617301" cy="56842"/>
            </a:xfrm>
            <a:custGeom>
              <a:gdLst>
                <a:gd fmla="*/ 166 w 169" name="T0"/>
                <a:gd fmla="*/ 6 h 6" name="T1"/>
                <a:gd fmla="*/ 3 w 169" name="T2"/>
                <a:gd fmla="*/ 6 h 6" name="T3"/>
                <a:gd fmla="*/ 0 w 169" name="T4"/>
                <a:gd fmla="*/ 3 h 6" name="T5"/>
                <a:gd fmla="*/ 3 w 169" name="T6"/>
                <a:gd fmla="*/ 0 h 6" name="T7"/>
                <a:gd fmla="*/ 166 w 169" name="T8"/>
                <a:gd fmla="*/ 0 h 6" name="T9"/>
                <a:gd fmla="*/ 169 w 169" name="T10"/>
                <a:gd fmla="*/ 3 h 6" name="T11"/>
                <a:gd fmla="*/ 166 w 169" name="T12"/>
                <a:gd fmla="*/ 6 h 6" name="T13"/>
              </a:gdLst>
              <a:cxnLst>
                <a:cxn ang="0">
                  <a:pos x="T0" y="T1"/>
                </a:cxn>
                <a:cxn ang="0">
                  <a:pos x="T2" y="T3"/>
                </a:cxn>
                <a:cxn ang="0">
                  <a:pos x="T4" y="T5"/>
                </a:cxn>
                <a:cxn ang="0">
                  <a:pos x="T6" y="T7"/>
                </a:cxn>
                <a:cxn ang="0">
                  <a:pos x="T8" y="T9"/>
                </a:cxn>
                <a:cxn ang="0">
                  <a:pos x="T10" y="T11"/>
                </a:cxn>
                <a:cxn ang="0">
                  <a:pos x="T12" y="T13"/>
                </a:cxn>
              </a:cxnLst>
              <a:rect b="b" l="0" r="r" t="0"/>
              <a:pathLst>
                <a:path h="6" w="169">
                  <a:moveTo>
                    <a:pt x="166" y="6"/>
                  </a:moveTo>
                  <a:cubicBezTo>
                    <a:pt x="3" y="6"/>
                    <a:pt x="3" y="6"/>
                    <a:pt x="3" y="6"/>
                  </a:cubicBezTo>
                  <a:cubicBezTo>
                    <a:pt x="2" y="6"/>
                    <a:pt x="0" y="5"/>
                    <a:pt x="0" y="3"/>
                  </a:cubicBezTo>
                  <a:cubicBezTo>
                    <a:pt x="0" y="1"/>
                    <a:pt x="2" y="0"/>
                    <a:pt x="3" y="0"/>
                  </a:cubicBezTo>
                  <a:cubicBezTo>
                    <a:pt x="166" y="0"/>
                    <a:pt x="166" y="0"/>
                    <a:pt x="166" y="0"/>
                  </a:cubicBezTo>
                  <a:cubicBezTo>
                    <a:pt x="167" y="0"/>
                    <a:pt x="169" y="1"/>
                    <a:pt x="169" y="3"/>
                  </a:cubicBezTo>
                  <a:cubicBezTo>
                    <a:pt x="169" y="5"/>
                    <a:pt x="167" y="6"/>
                    <a:pt x="166" y="6"/>
                  </a:cubicBezTo>
                  <a:close/>
                </a:path>
              </a:pathLst>
            </a:custGeom>
            <a:solidFill>
              <a:srgbClr val="FFC73E"/>
            </a:solidFill>
            <a:ln>
              <a:noFill/>
            </a:ln>
          </p:spPr>
          <p:txBody>
            <a:bodyPr anchor="ctr"/>
            <a:lstStyle/>
            <a:p>
              <a:pPr algn="ctr"/>
              <a:endParaRPr/>
            </a:p>
          </p:txBody>
        </p:sp>
        <p:sp>
          <p:nvSpPr>
            <p:cNvPr id="90" name="îṣlidé">
              <a:extLst>
                <a:ext uri="{FF2B5EF4-FFF2-40B4-BE49-F238E27FC236}">
                  <a16:creationId xmlns:a16="http://schemas.microsoft.com/office/drawing/2014/main" id="{B8480327-85DD-4F82-B9FC-70018ADA5980}"/>
                </a:ext>
              </a:extLst>
            </p:cNvPr>
            <p:cNvSpPr/>
            <p:nvPr/>
          </p:nvSpPr>
          <p:spPr bwMode="auto">
            <a:xfrm>
              <a:off x="1329313" y="3267230"/>
              <a:ext cx="296005" cy="297077"/>
            </a:xfrm>
            <a:custGeom>
              <a:gdLst>
                <a:gd fmla="*/ 15 w 31" name="T0"/>
                <a:gd fmla="*/ 31 h 31" name="T1"/>
                <a:gd fmla="*/ 0 w 31" name="T2"/>
                <a:gd fmla="*/ 15 h 31" name="T3"/>
                <a:gd fmla="*/ 15 w 31" name="T4"/>
                <a:gd fmla="*/ 0 h 31" name="T5"/>
                <a:gd fmla="*/ 31 w 31" name="T6"/>
                <a:gd fmla="*/ 15 h 31" name="T7"/>
                <a:gd fmla="*/ 15 w 31" name="T8"/>
                <a:gd fmla="*/ 31 h 31" name="T9"/>
                <a:gd fmla="*/ 15 w 31" name="T10"/>
                <a:gd fmla="*/ 6 h 31" name="T11"/>
                <a:gd fmla="*/ 6 w 31" name="T12"/>
                <a:gd fmla="*/ 15 h 31" name="T13"/>
                <a:gd fmla="*/ 15 w 31" name="T14"/>
                <a:gd fmla="*/ 25 h 31" name="T15"/>
                <a:gd fmla="*/ 24 w 31" name="T16"/>
                <a:gd fmla="*/ 15 h 31" name="T17"/>
                <a:gd fmla="*/ 15 w 31" name="T18"/>
                <a:gd fmla="*/ 6 h 31" name="T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b="b" l="0" r="r" t="0"/>
              <a:pathLst>
                <a:path h="31" w="31">
                  <a:moveTo>
                    <a:pt x="15" y="31"/>
                  </a:moveTo>
                  <a:cubicBezTo>
                    <a:pt x="7" y="31"/>
                    <a:pt x="0" y="24"/>
                    <a:pt x="0" y="15"/>
                  </a:cubicBezTo>
                  <a:cubicBezTo>
                    <a:pt x="0" y="7"/>
                    <a:pt x="7" y="0"/>
                    <a:pt x="15" y="0"/>
                  </a:cubicBezTo>
                  <a:cubicBezTo>
                    <a:pt x="24" y="0"/>
                    <a:pt x="31" y="7"/>
                    <a:pt x="31" y="15"/>
                  </a:cubicBezTo>
                  <a:cubicBezTo>
                    <a:pt x="31" y="24"/>
                    <a:pt x="24" y="31"/>
                    <a:pt x="15" y="31"/>
                  </a:cubicBezTo>
                  <a:close/>
                  <a:moveTo>
                    <a:pt x="15" y="6"/>
                  </a:moveTo>
                  <a:cubicBezTo>
                    <a:pt x="10" y="6"/>
                    <a:pt x="6" y="10"/>
                    <a:pt x="6" y="15"/>
                  </a:cubicBezTo>
                  <a:cubicBezTo>
                    <a:pt x="6" y="20"/>
                    <a:pt x="10" y="25"/>
                    <a:pt x="15" y="25"/>
                  </a:cubicBezTo>
                  <a:cubicBezTo>
                    <a:pt x="20" y="25"/>
                    <a:pt x="24" y="20"/>
                    <a:pt x="24" y="15"/>
                  </a:cubicBezTo>
                  <a:cubicBezTo>
                    <a:pt x="24" y="10"/>
                    <a:pt x="20" y="6"/>
                    <a:pt x="15" y="6"/>
                  </a:cubicBezTo>
                  <a:close/>
                </a:path>
              </a:pathLst>
            </a:custGeom>
            <a:solidFill>
              <a:srgbClr val="FFE9B3"/>
            </a:solidFill>
            <a:ln>
              <a:noFill/>
            </a:ln>
          </p:spPr>
          <p:txBody>
            <a:bodyPr anchor="ctr"/>
            <a:lstStyle/>
            <a:p>
              <a:pPr algn="ctr"/>
              <a:endParaRPr/>
            </a:p>
          </p:txBody>
        </p:sp>
        <p:sp>
          <p:nvSpPr>
            <p:cNvPr id="91" name="ïsḷïďe">
              <a:extLst>
                <a:ext uri="{FF2B5EF4-FFF2-40B4-BE49-F238E27FC236}">
                  <a16:creationId xmlns:a16="http://schemas.microsoft.com/office/drawing/2014/main" id="{FFE4C369-03E1-4CDD-A983-55EB4C9956F8}"/>
                </a:ext>
              </a:extLst>
            </p:cNvPr>
            <p:cNvSpPr/>
            <p:nvPr/>
          </p:nvSpPr>
          <p:spPr bwMode="auto">
            <a:xfrm>
              <a:off x="3894686" y="2492899"/>
              <a:ext cx="239164" cy="239163"/>
            </a:xfrm>
            <a:custGeom>
              <a:gdLst>
                <a:gd fmla="*/ 12 w 25" name="T0"/>
                <a:gd fmla="*/ 25 h 25" name="T1"/>
                <a:gd fmla="*/ 0 w 25" name="T2"/>
                <a:gd fmla="*/ 12 h 25" name="T3"/>
                <a:gd fmla="*/ 12 w 25" name="T4"/>
                <a:gd fmla="*/ 0 h 25" name="T5"/>
                <a:gd fmla="*/ 25 w 25" name="T6"/>
                <a:gd fmla="*/ 12 h 25" name="T7"/>
                <a:gd fmla="*/ 12 w 25" name="T8"/>
                <a:gd fmla="*/ 25 h 25" name="T9"/>
                <a:gd fmla="*/ 12 w 25" name="T10"/>
                <a:gd fmla="*/ 6 h 25" name="T11"/>
                <a:gd fmla="*/ 6 w 25" name="T12"/>
                <a:gd fmla="*/ 12 h 25" name="T13"/>
                <a:gd fmla="*/ 12 w 25" name="T14"/>
                <a:gd fmla="*/ 18 h 25" name="T15"/>
                <a:gd fmla="*/ 19 w 25" name="T16"/>
                <a:gd fmla="*/ 12 h 25" name="T17"/>
                <a:gd fmla="*/ 12 w 25" name="T18"/>
                <a:gd fmla="*/ 6 h 25" name="T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b="b" l="0" r="r" t="0"/>
              <a:pathLst>
                <a:path h="25" w="25">
                  <a:moveTo>
                    <a:pt x="12" y="25"/>
                  </a:moveTo>
                  <a:cubicBezTo>
                    <a:pt x="5" y="25"/>
                    <a:pt x="0" y="19"/>
                    <a:pt x="0" y="12"/>
                  </a:cubicBezTo>
                  <a:cubicBezTo>
                    <a:pt x="0" y="5"/>
                    <a:pt x="5" y="0"/>
                    <a:pt x="12" y="0"/>
                  </a:cubicBezTo>
                  <a:cubicBezTo>
                    <a:pt x="19" y="0"/>
                    <a:pt x="25" y="5"/>
                    <a:pt x="25" y="12"/>
                  </a:cubicBezTo>
                  <a:cubicBezTo>
                    <a:pt x="25" y="19"/>
                    <a:pt x="19" y="25"/>
                    <a:pt x="12" y="25"/>
                  </a:cubicBezTo>
                  <a:close/>
                  <a:moveTo>
                    <a:pt x="12" y="6"/>
                  </a:moveTo>
                  <a:cubicBezTo>
                    <a:pt x="9" y="6"/>
                    <a:pt x="6" y="9"/>
                    <a:pt x="6" y="12"/>
                  </a:cubicBezTo>
                  <a:cubicBezTo>
                    <a:pt x="6" y="15"/>
                    <a:pt x="9" y="18"/>
                    <a:pt x="12" y="18"/>
                  </a:cubicBezTo>
                  <a:cubicBezTo>
                    <a:pt x="16" y="18"/>
                    <a:pt x="19" y="15"/>
                    <a:pt x="19" y="12"/>
                  </a:cubicBezTo>
                  <a:cubicBezTo>
                    <a:pt x="19" y="9"/>
                    <a:pt x="16" y="6"/>
                    <a:pt x="12" y="6"/>
                  </a:cubicBezTo>
                  <a:close/>
                </a:path>
              </a:pathLst>
            </a:custGeom>
            <a:solidFill>
              <a:srgbClr val="FFE9B3"/>
            </a:solidFill>
            <a:ln>
              <a:noFill/>
            </a:ln>
          </p:spPr>
          <p:txBody>
            <a:bodyPr anchor="ctr"/>
            <a:lstStyle/>
            <a:p>
              <a:pPr algn="ctr"/>
              <a:endParaRPr/>
            </a:p>
          </p:txBody>
        </p:sp>
      </p:grpSp>
      <p:grpSp>
        <p:nvGrpSpPr>
          <p:cNvPr id="92" name="组合 91">
            <a:extLst>
              <a:ext uri="{FF2B5EF4-FFF2-40B4-BE49-F238E27FC236}">
                <a16:creationId xmlns:a16="http://schemas.microsoft.com/office/drawing/2014/main" id="{74970E7C-7E44-4AD2-8F78-9E5BA3C079E4}"/>
              </a:ext>
            </a:extLst>
          </p:cNvPr>
          <p:cNvGrpSpPr/>
          <p:nvPr/>
        </p:nvGrpSpPr>
        <p:grpSpPr>
          <a:xfrm>
            <a:off x="4693731" y="2085182"/>
            <a:ext cx="2804537" cy="2687636"/>
            <a:chOff x="1329313" y="1651002"/>
            <a:chExt cx="2804537" cy="2687636"/>
          </a:xfrm>
        </p:grpSpPr>
        <p:sp>
          <p:nvSpPr>
            <p:cNvPr id="93" name="îṣļîďê">
              <a:extLst>
                <a:ext uri="{FF2B5EF4-FFF2-40B4-BE49-F238E27FC236}">
                  <a16:creationId xmlns:a16="http://schemas.microsoft.com/office/drawing/2014/main" id="{FBF22508-0BF9-4755-AF5D-257785088B2C}"/>
                </a:ext>
              </a:extLst>
            </p:cNvPr>
            <p:cNvSpPr/>
            <p:nvPr/>
          </p:nvSpPr>
          <p:spPr bwMode="auto">
            <a:xfrm>
              <a:off x="1769030" y="1679959"/>
              <a:ext cx="1915450" cy="2629722"/>
            </a:xfrm>
            <a:custGeom>
              <a:gdLst>
                <a:gd fmla="*/ 156 w 200" name="T0"/>
                <a:gd fmla="*/ 44 h 275" name="T1"/>
                <a:gd fmla="*/ 156 w 200" name="T2"/>
                <a:gd fmla="*/ 0 h 275" name="T3"/>
                <a:gd fmla="*/ 13 w 200" name="T4"/>
                <a:gd fmla="*/ 0 h 275" name="T5"/>
                <a:gd fmla="*/ 0 w 200" name="T6"/>
                <a:gd fmla="*/ 13 h 275" name="T7"/>
                <a:gd fmla="*/ 0 w 200" name="T8"/>
                <a:gd fmla="*/ 250 h 275" name="T9"/>
                <a:gd fmla="*/ 0 w 200" name="T10"/>
                <a:gd fmla="*/ 262 h 275" name="T11"/>
                <a:gd fmla="*/ 13 w 200" name="T12"/>
                <a:gd fmla="*/ 275 h 275" name="T13"/>
                <a:gd fmla="*/ 187 w 200" name="T14"/>
                <a:gd fmla="*/ 275 h 275" name="T15"/>
                <a:gd fmla="*/ 200 w 200" name="T16"/>
                <a:gd fmla="*/ 262 h 275" name="T17"/>
                <a:gd fmla="*/ 200 w 200" name="T18"/>
                <a:gd fmla="*/ 44 h 275" name="T19"/>
                <a:gd fmla="*/ 156 w 200" name="T20"/>
                <a:gd fmla="*/ 44 h 275" name="T2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b="b" l="0" r="r" t="0"/>
              <a:pathLst>
                <a:path h="275" w="200">
                  <a:moveTo>
                    <a:pt x="156" y="44"/>
                  </a:moveTo>
                  <a:cubicBezTo>
                    <a:pt x="156" y="0"/>
                    <a:pt x="156" y="0"/>
                    <a:pt x="156" y="0"/>
                  </a:cubicBezTo>
                  <a:cubicBezTo>
                    <a:pt x="13" y="0"/>
                    <a:pt x="13" y="0"/>
                    <a:pt x="13" y="0"/>
                  </a:cubicBezTo>
                  <a:cubicBezTo>
                    <a:pt x="6" y="0"/>
                    <a:pt x="0" y="6"/>
                    <a:pt x="0" y="13"/>
                  </a:cubicBezTo>
                  <a:cubicBezTo>
                    <a:pt x="0" y="250"/>
                    <a:pt x="0" y="250"/>
                    <a:pt x="0" y="250"/>
                  </a:cubicBezTo>
                  <a:cubicBezTo>
                    <a:pt x="0" y="262"/>
                    <a:pt x="0" y="262"/>
                    <a:pt x="0" y="262"/>
                  </a:cubicBezTo>
                  <a:cubicBezTo>
                    <a:pt x="0" y="269"/>
                    <a:pt x="6" y="275"/>
                    <a:pt x="13" y="275"/>
                  </a:cubicBezTo>
                  <a:cubicBezTo>
                    <a:pt x="187" y="275"/>
                    <a:pt x="187" y="275"/>
                    <a:pt x="187" y="275"/>
                  </a:cubicBezTo>
                  <a:cubicBezTo>
                    <a:pt x="194" y="275"/>
                    <a:pt x="200" y="269"/>
                    <a:pt x="200" y="262"/>
                  </a:cubicBezTo>
                  <a:cubicBezTo>
                    <a:pt x="200" y="44"/>
                    <a:pt x="200" y="44"/>
                    <a:pt x="200" y="44"/>
                  </a:cubicBezTo>
                  <a:lnTo>
                    <a:pt x="156" y="44"/>
                  </a:lnTo>
                  <a:close/>
                </a:path>
              </a:pathLst>
            </a:custGeom>
            <a:solidFill>
              <a:schemeClr val="bg1"/>
            </a:solidFill>
            <a:ln>
              <a:noFill/>
            </a:ln>
          </p:spPr>
          <p:txBody>
            <a:bodyPr anchor="ctr"/>
            <a:lstStyle/>
            <a:p>
              <a:pPr algn="ctr"/>
              <a:endParaRPr/>
            </a:p>
          </p:txBody>
        </p:sp>
        <p:sp>
          <p:nvSpPr>
            <p:cNvPr id="94" name="îṡľiḍé">
              <a:extLst>
                <a:ext uri="{FF2B5EF4-FFF2-40B4-BE49-F238E27FC236}">
                  <a16:creationId xmlns:a16="http://schemas.microsoft.com/office/drawing/2014/main" id="{041B83A7-818F-4ECD-B290-A5CEA8B5FB9B}"/>
                </a:ext>
              </a:extLst>
            </p:cNvPr>
            <p:cNvSpPr/>
            <p:nvPr/>
          </p:nvSpPr>
          <p:spPr bwMode="auto">
            <a:xfrm>
              <a:off x="3262995" y="1679959"/>
              <a:ext cx="421485" cy="420412"/>
            </a:xfrm>
            <a:custGeom>
              <a:gdLst>
                <a:gd fmla="*/ 0 w 44" name="T0"/>
                <a:gd fmla="*/ 0 h 44" name="T1"/>
                <a:gd fmla="*/ 44 w 44" name="T2"/>
                <a:gd fmla="*/ 44 h 44" name="T3"/>
                <a:gd fmla="*/ 0 w 44" name="T4"/>
                <a:gd fmla="*/ 44 h 44" name="T5"/>
                <a:gd fmla="*/ 0 w 44" name="T6"/>
                <a:gd fmla="*/ 0 h 44" name="T7"/>
              </a:gdLst>
              <a:cxnLst>
                <a:cxn ang="0">
                  <a:pos x="T0" y="T1"/>
                </a:cxn>
                <a:cxn ang="0">
                  <a:pos x="T2" y="T3"/>
                </a:cxn>
                <a:cxn ang="0">
                  <a:pos x="T4" y="T5"/>
                </a:cxn>
                <a:cxn ang="0">
                  <a:pos x="T6" y="T7"/>
                </a:cxn>
              </a:cxnLst>
              <a:rect b="b" l="0" r="r" t="0"/>
              <a:pathLst>
                <a:path h="44" w="44">
                  <a:moveTo>
                    <a:pt x="0" y="0"/>
                  </a:moveTo>
                  <a:cubicBezTo>
                    <a:pt x="17" y="17"/>
                    <a:pt x="27" y="27"/>
                    <a:pt x="44" y="44"/>
                  </a:cubicBezTo>
                  <a:cubicBezTo>
                    <a:pt x="0" y="44"/>
                    <a:pt x="0" y="44"/>
                    <a:pt x="0" y="44"/>
                  </a:cubicBezTo>
                  <a:lnTo>
                    <a:pt x="0" y="0"/>
                  </a:lnTo>
                  <a:close/>
                </a:path>
              </a:pathLst>
            </a:custGeom>
            <a:solidFill>
              <a:srgbClr val="60A8AF"/>
            </a:solidFill>
            <a:ln>
              <a:noFill/>
            </a:ln>
          </p:spPr>
          <p:txBody>
            <a:bodyPr anchor="ctr"/>
            <a:lstStyle/>
            <a:p>
              <a:pPr algn="ctr"/>
              <a:endParaRPr/>
            </a:p>
          </p:txBody>
        </p:sp>
        <p:sp>
          <p:nvSpPr>
            <p:cNvPr id="95" name="iṣḻíḓé">
              <a:extLst>
                <a:ext uri="{FF2B5EF4-FFF2-40B4-BE49-F238E27FC236}">
                  <a16:creationId xmlns:a16="http://schemas.microsoft.com/office/drawing/2014/main" id="{105A7AFE-58E8-4F65-8F40-1E8A0A36CB57}"/>
                </a:ext>
              </a:extLst>
            </p:cNvPr>
            <p:cNvSpPr/>
            <p:nvPr/>
          </p:nvSpPr>
          <p:spPr bwMode="auto">
            <a:xfrm>
              <a:off x="3856077" y="1975963"/>
              <a:ext cx="134060" cy="134060"/>
            </a:xfrm>
            <a:custGeom>
              <a:gdLst>
                <a:gd fmla="*/ 11 w 14" name="T0"/>
                <a:gd fmla="*/ 2 h 14" name="T1"/>
                <a:gd fmla="*/ 11 w 14" name="T2"/>
                <a:gd fmla="*/ 11 h 14" name="T3"/>
                <a:gd fmla="*/ 3 w 14" name="T4"/>
                <a:gd fmla="*/ 11 h 14" name="T5"/>
                <a:gd fmla="*/ 3 w 14" name="T6"/>
                <a:gd fmla="*/ 2 h 14" name="T7"/>
                <a:gd fmla="*/ 11 w 14" name="T8"/>
                <a:gd fmla="*/ 2 h 14" name="T9"/>
              </a:gdLst>
              <a:cxnLst>
                <a:cxn ang="0">
                  <a:pos x="T0" y="T1"/>
                </a:cxn>
                <a:cxn ang="0">
                  <a:pos x="T2" y="T3"/>
                </a:cxn>
                <a:cxn ang="0">
                  <a:pos x="T4" y="T5"/>
                </a:cxn>
                <a:cxn ang="0">
                  <a:pos x="T6" y="T7"/>
                </a:cxn>
                <a:cxn ang="0">
                  <a:pos x="T8" y="T9"/>
                </a:cxn>
              </a:cxnLst>
              <a:rect b="b" l="0" r="r" t="0"/>
              <a:pathLst>
                <a:path h="14" w="14">
                  <a:moveTo>
                    <a:pt x="11" y="2"/>
                  </a:moveTo>
                  <a:cubicBezTo>
                    <a:pt x="14" y="5"/>
                    <a:pt x="14" y="9"/>
                    <a:pt x="11" y="11"/>
                  </a:cubicBezTo>
                  <a:cubicBezTo>
                    <a:pt x="9" y="14"/>
                    <a:pt x="5" y="14"/>
                    <a:pt x="3" y="11"/>
                  </a:cubicBezTo>
                  <a:cubicBezTo>
                    <a:pt x="0" y="9"/>
                    <a:pt x="0" y="5"/>
                    <a:pt x="3" y="2"/>
                  </a:cubicBezTo>
                  <a:cubicBezTo>
                    <a:pt x="5" y="0"/>
                    <a:pt x="9" y="0"/>
                    <a:pt x="11" y="2"/>
                  </a:cubicBezTo>
                  <a:close/>
                </a:path>
              </a:pathLst>
            </a:custGeom>
            <a:solidFill>
              <a:srgbClr val="A0CBD0"/>
            </a:solidFill>
            <a:ln>
              <a:noFill/>
            </a:ln>
          </p:spPr>
          <p:txBody>
            <a:bodyPr anchor="ctr"/>
            <a:lstStyle/>
            <a:p>
              <a:pPr algn="ctr"/>
              <a:endParaRPr/>
            </a:p>
          </p:txBody>
        </p:sp>
        <p:sp>
          <p:nvSpPr>
            <p:cNvPr id="96" name="i$lïdè">
              <a:extLst>
                <a:ext uri="{FF2B5EF4-FFF2-40B4-BE49-F238E27FC236}">
                  <a16:creationId xmlns:a16="http://schemas.microsoft.com/office/drawing/2014/main" id="{31D65BE1-53BA-43C3-A39A-D4B4552420A2}"/>
                </a:ext>
              </a:extLst>
            </p:cNvPr>
            <p:cNvSpPr/>
            <p:nvPr/>
          </p:nvSpPr>
          <p:spPr bwMode="auto">
            <a:xfrm>
              <a:off x="3856077" y="3286534"/>
              <a:ext cx="134060" cy="134060"/>
            </a:xfrm>
            <a:custGeom>
              <a:gdLst>
                <a:gd fmla="*/ 11 w 14" name="T0"/>
                <a:gd fmla="*/ 3 h 14" name="T1"/>
                <a:gd fmla="*/ 11 w 14" name="T2"/>
                <a:gd fmla="*/ 11 h 14" name="T3"/>
                <a:gd fmla="*/ 3 w 14" name="T4"/>
                <a:gd fmla="*/ 11 h 14" name="T5"/>
                <a:gd fmla="*/ 3 w 14" name="T6"/>
                <a:gd fmla="*/ 3 h 14" name="T7"/>
                <a:gd fmla="*/ 11 w 14" name="T8"/>
                <a:gd fmla="*/ 3 h 14" name="T9"/>
              </a:gdLst>
              <a:cxnLst>
                <a:cxn ang="0">
                  <a:pos x="T0" y="T1"/>
                </a:cxn>
                <a:cxn ang="0">
                  <a:pos x="T2" y="T3"/>
                </a:cxn>
                <a:cxn ang="0">
                  <a:pos x="T4" y="T5"/>
                </a:cxn>
                <a:cxn ang="0">
                  <a:pos x="T6" y="T7"/>
                </a:cxn>
                <a:cxn ang="0">
                  <a:pos x="T8" y="T9"/>
                </a:cxn>
              </a:cxnLst>
              <a:rect b="b" l="0" r="r" t="0"/>
              <a:pathLst>
                <a:path h="14" w="14">
                  <a:moveTo>
                    <a:pt x="11" y="3"/>
                  </a:moveTo>
                  <a:cubicBezTo>
                    <a:pt x="14" y="5"/>
                    <a:pt x="14" y="9"/>
                    <a:pt x="11" y="11"/>
                  </a:cubicBezTo>
                  <a:cubicBezTo>
                    <a:pt x="9" y="14"/>
                    <a:pt x="5" y="14"/>
                    <a:pt x="3" y="11"/>
                  </a:cubicBezTo>
                  <a:cubicBezTo>
                    <a:pt x="0" y="9"/>
                    <a:pt x="0" y="5"/>
                    <a:pt x="3" y="3"/>
                  </a:cubicBezTo>
                  <a:cubicBezTo>
                    <a:pt x="5" y="0"/>
                    <a:pt x="9" y="0"/>
                    <a:pt x="11" y="3"/>
                  </a:cubicBezTo>
                  <a:close/>
                </a:path>
              </a:pathLst>
            </a:custGeom>
            <a:solidFill>
              <a:srgbClr val="A0CBD0"/>
            </a:solidFill>
            <a:ln>
              <a:noFill/>
            </a:ln>
          </p:spPr>
          <p:txBody>
            <a:bodyPr anchor="ctr"/>
            <a:lstStyle/>
            <a:p>
              <a:pPr algn="ctr"/>
              <a:endParaRPr/>
            </a:p>
          </p:txBody>
        </p:sp>
        <p:sp>
          <p:nvSpPr>
            <p:cNvPr id="97" name="ïSľíďè">
              <a:extLst>
                <a:ext uri="{FF2B5EF4-FFF2-40B4-BE49-F238E27FC236}">
                  <a16:creationId xmlns:a16="http://schemas.microsoft.com/office/drawing/2014/main" id="{361F6B38-45D2-469A-BF7E-B703F139B876}"/>
                </a:ext>
              </a:extLst>
            </p:cNvPr>
            <p:cNvSpPr/>
            <p:nvPr/>
          </p:nvSpPr>
          <p:spPr bwMode="auto">
            <a:xfrm>
              <a:off x="3435665" y="4004024"/>
              <a:ext cx="134060" cy="134060"/>
            </a:xfrm>
            <a:custGeom>
              <a:gdLst>
                <a:gd fmla="*/ 12 w 14" name="T0"/>
                <a:gd fmla="*/ 3 h 14" name="T1"/>
                <a:gd fmla="*/ 12 w 14" name="T2"/>
                <a:gd fmla="*/ 11 h 14" name="T3"/>
                <a:gd fmla="*/ 3 w 14" name="T4"/>
                <a:gd fmla="*/ 11 h 14" name="T5"/>
                <a:gd fmla="*/ 3 w 14" name="T6"/>
                <a:gd fmla="*/ 3 h 14" name="T7"/>
                <a:gd fmla="*/ 12 w 14" name="T8"/>
                <a:gd fmla="*/ 3 h 14" name="T9"/>
              </a:gdLst>
              <a:cxnLst>
                <a:cxn ang="0">
                  <a:pos x="T0" y="T1"/>
                </a:cxn>
                <a:cxn ang="0">
                  <a:pos x="T2" y="T3"/>
                </a:cxn>
                <a:cxn ang="0">
                  <a:pos x="T4" y="T5"/>
                </a:cxn>
                <a:cxn ang="0">
                  <a:pos x="T6" y="T7"/>
                </a:cxn>
                <a:cxn ang="0">
                  <a:pos x="T8" y="T9"/>
                </a:cxn>
              </a:cxnLst>
              <a:rect b="b" l="0" r="r" t="0"/>
              <a:pathLst>
                <a:path h="14" w="14">
                  <a:moveTo>
                    <a:pt x="12" y="3"/>
                  </a:moveTo>
                  <a:cubicBezTo>
                    <a:pt x="14" y="5"/>
                    <a:pt x="14" y="9"/>
                    <a:pt x="12" y="11"/>
                  </a:cubicBezTo>
                  <a:cubicBezTo>
                    <a:pt x="9" y="14"/>
                    <a:pt x="5" y="14"/>
                    <a:pt x="3" y="11"/>
                  </a:cubicBezTo>
                  <a:cubicBezTo>
                    <a:pt x="0" y="9"/>
                    <a:pt x="0" y="5"/>
                    <a:pt x="3" y="3"/>
                  </a:cubicBezTo>
                  <a:cubicBezTo>
                    <a:pt x="5" y="0"/>
                    <a:pt x="9" y="0"/>
                    <a:pt x="12" y="3"/>
                  </a:cubicBezTo>
                  <a:close/>
                </a:path>
              </a:pathLst>
            </a:custGeom>
            <a:solidFill>
              <a:srgbClr val="60A8AF"/>
            </a:solidFill>
            <a:ln>
              <a:noFill/>
            </a:ln>
          </p:spPr>
          <p:txBody>
            <a:bodyPr anchor="ctr"/>
            <a:lstStyle/>
            <a:p>
              <a:pPr algn="ctr"/>
              <a:endParaRPr/>
            </a:p>
          </p:txBody>
        </p:sp>
        <p:sp>
          <p:nvSpPr>
            <p:cNvPr id="98" name="íṣḷïḍè">
              <a:extLst>
                <a:ext uri="{FF2B5EF4-FFF2-40B4-BE49-F238E27FC236}">
                  <a16:creationId xmlns:a16="http://schemas.microsoft.com/office/drawing/2014/main" id="{0ED43435-FFD2-4091-AC3A-8B731617150D}"/>
                </a:ext>
              </a:extLst>
            </p:cNvPr>
            <p:cNvSpPr/>
            <p:nvPr/>
          </p:nvSpPr>
          <p:spPr bwMode="auto">
            <a:xfrm>
              <a:off x="1473025" y="2808208"/>
              <a:ext cx="124408" cy="134060"/>
            </a:xfrm>
            <a:custGeom>
              <a:gdLst>
                <a:gd fmla="*/ 11 w 13" name="T0"/>
                <a:gd fmla="*/ 3 h 14" name="T1"/>
                <a:gd fmla="*/ 11 w 13" name="T2"/>
                <a:gd fmla="*/ 12 h 14" name="T3"/>
                <a:gd fmla="*/ 2 w 13" name="T4"/>
                <a:gd fmla="*/ 12 h 14" name="T5"/>
                <a:gd fmla="*/ 2 w 13" name="T6"/>
                <a:gd fmla="*/ 3 h 14" name="T7"/>
                <a:gd fmla="*/ 11 w 13" name="T8"/>
                <a:gd fmla="*/ 3 h 14" name="T9"/>
              </a:gdLst>
              <a:cxnLst>
                <a:cxn ang="0">
                  <a:pos x="T0" y="T1"/>
                </a:cxn>
                <a:cxn ang="0">
                  <a:pos x="T2" y="T3"/>
                </a:cxn>
                <a:cxn ang="0">
                  <a:pos x="T4" y="T5"/>
                </a:cxn>
                <a:cxn ang="0">
                  <a:pos x="T6" y="T7"/>
                </a:cxn>
                <a:cxn ang="0">
                  <a:pos x="T8" y="T9"/>
                </a:cxn>
              </a:cxnLst>
              <a:rect b="b" l="0" r="r" t="0"/>
              <a:pathLst>
                <a:path h="14" w="13">
                  <a:moveTo>
                    <a:pt x="11" y="3"/>
                  </a:moveTo>
                  <a:cubicBezTo>
                    <a:pt x="13" y="5"/>
                    <a:pt x="13" y="9"/>
                    <a:pt x="11" y="12"/>
                  </a:cubicBezTo>
                  <a:cubicBezTo>
                    <a:pt x="8" y="14"/>
                    <a:pt x="4" y="14"/>
                    <a:pt x="2" y="12"/>
                  </a:cubicBezTo>
                  <a:cubicBezTo>
                    <a:pt x="0" y="9"/>
                    <a:pt x="0" y="5"/>
                    <a:pt x="2" y="3"/>
                  </a:cubicBezTo>
                  <a:cubicBezTo>
                    <a:pt x="4" y="0"/>
                    <a:pt x="8" y="0"/>
                    <a:pt x="11" y="3"/>
                  </a:cubicBezTo>
                  <a:close/>
                </a:path>
              </a:pathLst>
            </a:custGeom>
            <a:solidFill>
              <a:srgbClr val="A0CBD0"/>
            </a:solidFill>
            <a:ln>
              <a:noFill/>
            </a:ln>
          </p:spPr>
          <p:txBody>
            <a:bodyPr anchor="ctr"/>
            <a:lstStyle/>
            <a:p>
              <a:pPr algn="ctr"/>
              <a:endParaRPr/>
            </a:p>
          </p:txBody>
        </p:sp>
        <p:sp>
          <p:nvSpPr>
            <p:cNvPr id="99" name="ïśļïḍe">
              <a:extLst>
                <a:ext uri="{FF2B5EF4-FFF2-40B4-BE49-F238E27FC236}">
                  <a16:creationId xmlns:a16="http://schemas.microsoft.com/office/drawing/2014/main" id="{1FD1F608-AA4A-4BD3-A094-A086B50E172D}"/>
                </a:ext>
              </a:extLst>
            </p:cNvPr>
            <p:cNvSpPr/>
            <p:nvPr/>
          </p:nvSpPr>
          <p:spPr bwMode="auto">
            <a:xfrm>
              <a:off x="3234038" y="1651002"/>
              <a:ext cx="478326" cy="478326"/>
            </a:xfrm>
            <a:custGeom>
              <a:gdLst>
                <a:gd fmla="*/ 47 w 50" name="T0"/>
                <a:gd fmla="*/ 50 h 50" name="T1"/>
                <a:gd fmla="*/ 3 w 50" name="T2"/>
                <a:gd fmla="*/ 50 h 50" name="T3"/>
                <a:gd fmla="*/ 0 w 50" name="T4"/>
                <a:gd fmla="*/ 47 h 50" name="T5"/>
                <a:gd fmla="*/ 0 w 50" name="T6"/>
                <a:gd fmla="*/ 3 h 50" name="T7"/>
                <a:gd fmla="*/ 3 w 50" name="T8"/>
                <a:gd fmla="*/ 0 h 50" name="T9"/>
                <a:gd fmla="*/ 6 w 50" name="T10"/>
                <a:gd fmla="*/ 3 h 50" name="T11"/>
                <a:gd fmla="*/ 6 w 50" name="T12"/>
                <a:gd fmla="*/ 44 h 50" name="T13"/>
                <a:gd fmla="*/ 47 w 50" name="T14"/>
                <a:gd fmla="*/ 44 h 50" name="T15"/>
                <a:gd fmla="*/ 50 w 50" name="T16"/>
                <a:gd fmla="*/ 47 h 50" name="T17"/>
                <a:gd fmla="*/ 47 w 50" name="T18"/>
                <a:gd fmla="*/ 50 h 50" name="T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b="b" l="0" r="r" t="0"/>
              <a:pathLst>
                <a:path h="50" w="50">
                  <a:moveTo>
                    <a:pt x="47" y="50"/>
                  </a:moveTo>
                  <a:cubicBezTo>
                    <a:pt x="3" y="50"/>
                    <a:pt x="3" y="50"/>
                    <a:pt x="3" y="50"/>
                  </a:cubicBezTo>
                  <a:cubicBezTo>
                    <a:pt x="2" y="50"/>
                    <a:pt x="0" y="49"/>
                    <a:pt x="0" y="47"/>
                  </a:cubicBezTo>
                  <a:cubicBezTo>
                    <a:pt x="0" y="3"/>
                    <a:pt x="0" y="3"/>
                    <a:pt x="0" y="3"/>
                  </a:cubicBezTo>
                  <a:cubicBezTo>
                    <a:pt x="0" y="2"/>
                    <a:pt x="2" y="0"/>
                    <a:pt x="3" y="0"/>
                  </a:cubicBezTo>
                  <a:cubicBezTo>
                    <a:pt x="5" y="0"/>
                    <a:pt x="6" y="2"/>
                    <a:pt x="6" y="3"/>
                  </a:cubicBezTo>
                  <a:cubicBezTo>
                    <a:pt x="6" y="44"/>
                    <a:pt x="6" y="44"/>
                    <a:pt x="6" y="44"/>
                  </a:cubicBezTo>
                  <a:cubicBezTo>
                    <a:pt x="47" y="44"/>
                    <a:pt x="47" y="44"/>
                    <a:pt x="47" y="44"/>
                  </a:cubicBezTo>
                  <a:cubicBezTo>
                    <a:pt x="49" y="44"/>
                    <a:pt x="50" y="45"/>
                    <a:pt x="50" y="47"/>
                  </a:cubicBezTo>
                  <a:cubicBezTo>
                    <a:pt x="50" y="49"/>
                    <a:pt x="49" y="50"/>
                    <a:pt x="47" y="50"/>
                  </a:cubicBezTo>
                  <a:close/>
                </a:path>
              </a:pathLst>
            </a:custGeom>
            <a:solidFill>
              <a:srgbClr val="60A8AF"/>
            </a:solidFill>
            <a:ln>
              <a:noFill/>
            </a:ln>
          </p:spPr>
          <p:txBody>
            <a:bodyPr anchor="ctr"/>
            <a:lstStyle/>
            <a:p>
              <a:pPr algn="ctr"/>
              <a:endParaRPr/>
            </a:p>
          </p:txBody>
        </p:sp>
        <p:sp>
          <p:nvSpPr>
            <p:cNvPr id="100" name="ïśľïḍê">
              <a:extLst>
                <a:ext uri="{FF2B5EF4-FFF2-40B4-BE49-F238E27FC236}">
                  <a16:creationId xmlns:a16="http://schemas.microsoft.com/office/drawing/2014/main" id="{53F2355D-4F49-479F-8956-FCEB16AC67D0}"/>
                </a:ext>
              </a:extLst>
            </p:cNvPr>
            <p:cNvSpPr/>
            <p:nvPr/>
          </p:nvSpPr>
          <p:spPr bwMode="auto">
            <a:xfrm>
              <a:off x="1741146" y="1651002"/>
              <a:ext cx="1971219" cy="2687636"/>
            </a:xfrm>
            <a:custGeom>
              <a:gdLst>
                <a:gd fmla="*/ 190 w 206" name="T0"/>
                <a:gd fmla="*/ 281 h 281" name="T1"/>
                <a:gd fmla="*/ 16 w 206" name="T2"/>
                <a:gd fmla="*/ 281 h 281" name="T3"/>
                <a:gd fmla="*/ 0 w 206" name="T4"/>
                <a:gd fmla="*/ 265 h 281" name="T5"/>
                <a:gd fmla="*/ 0 w 206" name="T6"/>
                <a:gd fmla="*/ 16 h 281" name="T7"/>
                <a:gd fmla="*/ 16 w 206" name="T8"/>
                <a:gd fmla="*/ 0 h 281" name="T9"/>
                <a:gd fmla="*/ 159 w 206" name="T10"/>
                <a:gd fmla="*/ 0 h 281" name="T11"/>
                <a:gd fmla="*/ 162 w 206" name="T12"/>
                <a:gd fmla="*/ 1 h 281" name="T13"/>
                <a:gd fmla="*/ 177 w 206" name="T14"/>
                <a:gd fmla="*/ 17 h 281" name="T15"/>
                <a:gd fmla="*/ 205 w 206" name="T16"/>
                <a:gd fmla="*/ 45 h 281" name="T17"/>
                <a:gd fmla="*/ 206 w 206" name="T18"/>
                <a:gd fmla="*/ 47 h 281" name="T19"/>
                <a:gd fmla="*/ 206 w 206" name="T20"/>
                <a:gd fmla="*/ 265 h 281" name="T21"/>
                <a:gd fmla="*/ 190 w 206" name="T22"/>
                <a:gd fmla="*/ 281 h 281" name="T23"/>
                <a:gd fmla="*/ 16 w 206" name="T24"/>
                <a:gd fmla="*/ 6 h 281" name="T25"/>
                <a:gd fmla="*/ 6 w 206" name="T26"/>
                <a:gd fmla="*/ 16 h 281" name="T27"/>
                <a:gd fmla="*/ 6 w 206" name="T28"/>
                <a:gd fmla="*/ 265 h 281" name="T29"/>
                <a:gd fmla="*/ 16 w 206" name="T30"/>
                <a:gd fmla="*/ 275 h 281" name="T31"/>
                <a:gd fmla="*/ 190 w 206" name="T32"/>
                <a:gd fmla="*/ 275 h 281" name="T33"/>
                <a:gd fmla="*/ 200 w 206" name="T34"/>
                <a:gd fmla="*/ 265 h 281" name="T35"/>
                <a:gd fmla="*/ 200 w 206" name="T36"/>
                <a:gd fmla="*/ 48 h 281" name="T37"/>
                <a:gd fmla="*/ 173 w 206" name="T38"/>
                <a:gd fmla="*/ 21 h 281" name="T39"/>
                <a:gd fmla="*/ 158 w 206" name="T40"/>
                <a:gd fmla="*/ 6 h 281" name="T41"/>
                <a:gd fmla="*/ 16 w 206" name="T42"/>
                <a:gd fmla="*/ 6 h 281" name="T4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b="b" l="0" r="r" t="0"/>
              <a:pathLst>
                <a:path h="281" w="206">
                  <a:moveTo>
                    <a:pt x="190" y="281"/>
                  </a:moveTo>
                  <a:cubicBezTo>
                    <a:pt x="16" y="281"/>
                    <a:pt x="16" y="281"/>
                    <a:pt x="16" y="281"/>
                  </a:cubicBezTo>
                  <a:cubicBezTo>
                    <a:pt x="7" y="281"/>
                    <a:pt x="0" y="274"/>
                    <a:pt x="0" y="265"/>
                  </a:cubicBezTo>
                  <a:cubicBezTo>
                    <a:pt x="0" y="16"/>
                    <a:pt x="0" y="16"/>
                    <a:pt x="0" y="16"/>
                  </a:cubicBezTo>
                  <a:cubicBezTo>
                    <a:pt x="0" y="7"/>
                    <a:pt x="7" y="0"/>
                    <a:pt x="16" y="0"/>
                  </a:cubicBezTo>
                  <a:cubicBezTo>
                    <a:pt x="159" y="0"/>
                    <a:pt x="159" y="0"/>
                    <a:pt x="159" y="0"/>
                  </a:cubicBezTo>
                  <a:cubicBezTo>
                    <a:pt x="160" y="0"/>
                    <a:pt x="161" y="1"/>
                    <a:pt x="162" y="1"/>
                  </a:cubicBezTo>
                  <a:cubicBezTo>
                    <a:pt x="177" y="17"/>
                    <a:pt x="177" y="17"/>
                    <a:pt x="177" y="17"/>
                  </a:cubicBezTo>
                  <a:cubicBezTo>
                    <a:pt x="186" y="26"/>
                    <a:pt x="194" y="34"/>
                    <a:pt x="205" y="45"/>
                  </a:cubicBezTo>
                  <a:cubicBezTo>
                    <a:pt x="206" y="45"/>
                    <a:pt x="206" y="46"/>
                    <a:pt x="206" y="47"/>
                  </a:cubicBezTo>
                  <a:cubicBezTo>
                    <a:pt x="206" y="265"/>
                    <a:pt x="206" y="265"/>
                    <a:pt x="206" y="265"/>
                  </a:cubicBezTo>
                  <a:cubicBezTo>
                    <a:pt x="206" y="274"/>
                    <a:pt x="199" y="281"/>
                    <a:pt x="190" y="281"/>
                  </a:cubicBezTo>
                  <a:close/>
                  <a:moveTo>
                    <a:pt x="16" y="6"/>
                  </a:moveTo>
                  <a:cubicBezTo>
                    <a:pt x="11" y="6"/>
                    <a:pt x="6" y="11"/>
                    <a:pt x="6" y="16"/>
                  </a:cubicBezTo>
                  <a:cubicBezTo>
                    <a:pt x="6" y="265"/>
                    <a:pt x="6" y="265"/>
                    <a:pt x="6" y="265"/>
                  </a:cubicBezTo>
                  <a:cubicBezTo>
                    <a:pt x="6" y="270"/>
                    <a:pt x="11" y="275"/>
                    <a:pt x="16" y="275"/>
                  </a:cubicBezTo>
                  <a:cubicBezTo>
                    <a:pt x="190" y="275"/>
                    <a:pt x="190" y="275"/>
                    <a:pt x="190" y="275"/>
                  </a:cubicBezTo>
                  <a:cubicBezTo>
                    <a:pt x="195" y="275"/>
                    <a:pt x="200" y="270"/>
                    <a:pt x="200" y="265"/>
                  </a:cubicBezTo>
                  <a:cubicBezTo>
                    <a:pt x="200" y="48"/>
                    <a:pt x="200" y="48"/>
                    <a:pt x="200" y="48"/>
                  </a:cubicBezTo>
                  <a:cubicBezTo>
                    <a:pt x="189" y="38"/>
                    <a:pt x="182" y="30"/>
                    <a:pt x="173" y="21"/>
                  </a:cubicBezTo>
                  <a:cubicBezTo>
                    <a:pt x="158" y="6"/>
                    <a:pt x="158" y="6"/>
                    <a:pt x="158" y="6"/>
                  </a:cubicBezTo>
                  <a:lnTo>
                    <a:pt x="16" y="6"/>
                  </a:lnTo>
                  <a:close/>
                </a:path>
              </a:pathLst>
            </a:custGeom>
            <a:solidFill>
              <a:srgbClr val="60A8AF"/>
            </a:solidFill>
            <a:ln>
              <a:noFill/>
            </a:ln>
          </p:spPr>
          <p:txBody>
            <a:bodyPr anchor="ctr"/>
            <a:lstStyle/>
            <a:p>
              <a:pPr algn="ctr"/>
              <a:endParaRPr/>
            </a:p>
          </p:txBody>
        </p:sp>
        <p:sp>
          <p:nvSpPr>
            <p:cNvPr id="101" name="isḷïďe">
              <a:extLst>
                <a:ext uri="{FF2B5EF4-FFF2-40B4-BE49-F238E27FC236}">
                  <a16:creationId xmlns:a16="http://schemas.microsoft.com/office/drawing/2014/main" id="{5D67848B-3A54-4AC8-B6E9-BA60A2FB6707}"/>
                </a:ext>
              </a:extLst>
            </p:cNvPr>
            <p:cNvSpPr/>
            <p:nvPr/>
          </p:nvSpPr>
          <p:spPr bwMode="auto">
            <a:xfrm>
              <a:off x="1741146" y="4042633"/>
              <a:ext cx="1617301" cy="56842"/>
            </a:xfrm>
            <a:custGeom>
              <a:gdLst>
                <a:gd fmla="*/ 166 w 169" name="T0"/>
                <a:gd fmla="*/ 6 h 6" name="T1"/>
                <a:gd fmla="*/ 3 w 169" name="T2"/>
                <a:gd fmla="*/ 6 h 6" name="T3"/>
                <a:gd fmla="*/ 0 w 169" name="T4"/>
                <a:gd fmla="*/ 3 h 6" name="T5"/>
                <a:gd fmla="*/ 3 w 169" name="T6"/>
                <a:gd fmla="*/ 0 h 6" name="T7"/>
                <a:gd fmla="*/ 166 w 169" name="T8"/>
                <a:gd fmla="*/ 0 h 6" name="T9"/>
                <a:gd fmla="*/ 169 w 169" name="T10"/>
                <a:gd fmla="*/ 3 h 6" name="T11"/>
                <a:gd fmla="*/ 166 w 169" name="T12"/>
                <a:gd fmla="*/ 6 h 6" name="T13"/>
              </a:gdLst>
              <a:cxnLst>
                <a:cxn ang="0">
                  <a:pos x="T0" y="T1"/>
                </a:cxn>
                <a:cxn ang="0">
                  <a:pos x="T2" y="T3"/>
                </a:cxn>
                <a:cxn ang="0">
                  <a:pos x="T4" y="T5"/>
                </a:cxn>
                <a:cxn ang="0">
                  <a:pos x="T6" y="T7"/>
                </a:cxn>
                <a:cxn ang="0">
                  <a:pos x="T8" y="T9"/>
                </a:cxn>
                <a:cxn ang="0">
                  <a:pos x="T10" y="T11"/>
                </a:cxn>
                <a:cxn ang="0">
                  <a:pos x="T12" y="T13"/>
                </a:cxn>
              </a:cxnLst>
              <a:rect b="b" l="0" r="r" t="0"/>
              <a:pathLst>
                <a:path h="6" w="169">
                  <a:moveTo>
                    <a:pt x="166" y="6"/>
                  </a:moveTo>
                  <a:cubicBezTo>
                    <a:pt x="3" y="6"/>
                    <a:pt x="3" y="6"/>
                    <a:pt x="3" y="6"/>
                  </a:cubicBezTo>
                  <a:cubicBezTo>
                    <a:pt x="2" y="6"/>
                    <a:pt x="0" y="5"/>
                    <a:pt x="0" y="3"/>
                  </a:cubicBezTo>
                  <a:cubicBezTo>
                    <a:pt x="0" y="1"/>
                    <a:pt x="2" y="0"/>
                    <a:pt x="3" y="0"/>
                  </a:cubicBezTo>
                  <a:cubicBezTo>
                    <a:pt x="166" y="0"/>
                    <a:pt x="166" y="0"/>
                    <a:pt x="166" y="0"/>
                  </a:cubicBezTo>
                  <a:cubicBezTo>
                    <a:pt x="167" y="0"/>
                    <a:pt x="169" y="1"/>
                    <a:pt x="169" y="3"/>
                  </a:cubicBezTo>
                  <a:cubicBezTo>
                    <a:pt x="169" y="5"/>
                    <a:pt x="167" y="6"/>
                    <a:pt x="166" y="6"/>
                  </a:cubicBezTo>
                  <a:close/>
                </a:path>
              </a:pathLst>
            </a:custGeom>
            <a:solidFill>
              <a:srgbClr val="60A8AF"/>
            </a:solidFill>
            <a:ln>
              <a:noFill/>
            </a:ln>
          </p:spPr>
          <p:txBody>
            <a:bodyPr anchor="ctr"/>
            <a:lstStyle/>
            <a:p>
              <a:pPr algn="ctr"/>
              <a:endParaRPr/>
            </a:p>
          </p:txBody>
        </p:sp>
        <p:sp>
          <p:nvSpPr>
            <p:cNvPr id="102" name="îṣlidé">
              <a:extLst>
                <a:ext uri="{FF2B5EF4-FFF2-40B4-BE49-F238E27FC236}">
                  <a16:creationId xmlns:a16="http://schemas.microsoft.com/office/drawing/2014/main" id="{E8390CB1-F39E-4498-A8A6-A18FAD8CA7C1}"/>
                </a:ext>
              </a:extLst>
            </p:cNvPr>
            <p:cNvSpPr/>
            <p:nvPr/>
          </p:nvSpPr>
          <p:spPr bwMode="auto">
            <a:xfrm>
              <a:off x="1329313" y="3267230"/>
              <a:ext cx="296005" cy="297077"/>
            </a:xfrm>
            <a:custGeom>
              <a:gdLst>
                <a:gd fmla="*/ 15 w 31" name="T0"/>
                <a:gd fmla="*/ 31 h 31" name="T1"/>
                <a:gd fmla="*/ 0 w 31" name="T2"/>
                <a:gd fmla="*/ 15 h 31" name="T3"/>
                <a:gd fmla="*/ 15 w 31" name="T4"/>
                <a:gd fmla="*/ 0 h 31" name="T5"/>
                <a:gd fmla="*/ 31 w 31" name="T6"/>
                <a:gd fmla="*/ 15 h 31" name="T7"/>
                <a:gd fmla="*/ 15 w 31" name="T8"/>
                <a:gd fmla="*/ 31 h 31" name="T9"/>
                <a:gd fmla="*/ 15 w 31" name="T10"/>
                <a:gd fmla="*/ 6 h 31" name="T11"/>
                <a:gd fmla="*/ 6 w 31" name="T12"/>
                <a:gd fmla="*/ 15 h 31" name="T13"/>
                <a:gd fmla="*/ 15 w 31" name="T14"/>
                <a:gd fmla="*/ 25 h 31" name="T15"/>
                <a:gd fmla="*/ 24 w 31" name="T16"/>
                <a:gd fmla="*/ 15 h 31" name="T17"/>
                <a:gd fmla="*/ 15 w 31" name="T18"/>
                <a:gd fmla="*/ 6 h 31" name="T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b="b" l="0" r="r" t="0"/>
              <a:pathLst>
                <a:path h="31" w="31">
                  <a:moveTo>
                    <a:pt x="15" y="31"/>
                  </a:moveTo>
                  <a:cubicBezTo>
                    <a:pt x="7" y="31"/>
                    <a:pt x="0" y="24"/>
                    <a:pt x="0" y="15"/>
                  </a:cubicBezTo>
                  <a:cubicBezTo>
                    <a:pt x="0" y="7"/>
                    <a:pt x="7" y="0"/>
                    <a:pt x="15" y="0"/>
                  </a:cubicBezTo>
                  <a:cubicBezTo>
                    <a:pt x="24" y="0"/>
                    <a:pt x="31" y="7"/>
                    <a:pt x="31" y="15"/>
                  </a:cubicBezTo>
                  <a:cubicBezTo>
                    <a:pt x="31" y="24"/>
                    <a:pt x="24" y="31"/>
                    <a:pt x="15" y="31"/>
                  </a:cubicBezTo>
                  <a:close/>
                  <a:moveTo>
                    <a:pt x="15" y="6"/>
                  </a:moveTo>
                  <a:cubicBezTo>
                    <a:pt x="10" y="6"/>
                    <a:pt x="6" y="10"/>
                    <a:pt x="6" y="15"/>
                  </a:cubicBezTo>
                  <a:cubicBezTo>
                    <a:pt x="6" y="20"/>
                    <a:pt x="10" y="25"/>
                    <a:pt x="15" y="25"/>
                  </a:cubicBezTo>
                  <a:cubicBezTo>
                    <a:pt x="20" y="25"/>
                    <a:pt x="24" y="20"/>
                    <a:pt x="24" y="15"/>
                  </a:cubicBezTo>
                  <a:cubicBezTo>
                    <a:pt x="24" y="10"/>
                    <a:pt x="20" y="6"/>
                    <a:pt x="15" y="6"/>
                  </a:cubicBezTo>
                  <a:close/>
                </a:path>
              </a:pathLst>
            </a:custGeom>
            <a:solidFill>
              <a:srgbClr val="A0CBD0"/>
            </a:solidFill>
            <a:ln>
              <a:noFill/>
            </a:ln>
          </p:spPr>
          <p:txBody>
            <a:bodyPr anchor="ctr"/>
            <a:lstStyle/>
            <a:p>
              <a:pPr algn="ctr"/>
              <a:endParaRPr/>
            </a:p>
          </p:txBody>
        </p:sp>
        <p:sp>
          <p:nvSpPr>
            <p:cNvPr id="103" name="ïsḷïďe">
              <a:extLst>
                <a:ext uri="{FF2B5EF4-FFF2-40B4-BE49-F238E27FC236}">
                  <a16:creationId xmlns:a16="http://schemas.microsoft.com/office/drawing/2014/main" id="{1861DBC2-5CE8-4312-9E3F-240C06994113}"/>
                </a:ext>
              </a:extLst>
            </p:cNvPr>
            <p:cNvSpPr/>
            <p:nvPr/>
          </p:nvSpPr>
          <p:spPr bwMode="auto">
            <a:xfrm>
              <a:off x="3894686" y="2492899"/>
              <a:ext cx="239164" cy="239163"/>
            </a:xfrm>
            <a:custGeom>
              <a:gdLst>
                <a:gd fmla="*/ 12 w 25" name="T0"/>
                <a:gd fmla="*/ 25 h 25" name="T1"/>
                <a:gd fmla="*/ 0 w 25" name="T2"/>
                <a:gd fmla="*/ 12 h 25" name="T3"/>
                <a:gd fmla="*/ 12 w 25" name="T4"/>
                <a:gd fmla="*/ 0 h 25" name="T5"/>
                <a:gd fmla="*/ 25 w 25" name="T6"/>
                <a:gd fmla="*/ 12 h 25" name="T7"/>
                <a:gd fmla="*/ 12 w 25" name="T8"/>
                <a:gd fmla="*/ 25 h 25" name="T9"/>
                <a:gd fmla="*/ 12 w 25" name="T10"/>
                <a:gd fmla="*/ 6 h 25" name="T11"/>
                <a:gd fmla="*/ 6 w 25" name="T12"/>
                <a:gd fmla="*/ 12 h 25" name="T13"/>
                <a:gd fmla="*/ 12 w 25" name="T14"/>
                <a:gd fmla="*/ 18 h 25" name="T15"/>
                <a:gd fmla="*/ 19 w 25" name="T16"/>
                <a:gd fmla="*/ 12 h 25" name="T17"/>
                <a:gd fmla="*/ 12 w 25" name="T18"/>
                <a:gd fmla="*/ 6 h 25" name="T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b="b" l="0" r="r" t="0"/>
              <a:pathLst>
                <a:path h="25" w="25">
                  <a:moveTo>
                    <a:pt x="12" y="25"/>
                  </a:moveTo>
                  <a:cubicBezTo>
                    <a:pt x="5" y="25"/>
                    <a:pt x="0" y="19"/>
                    <a:pt x="0" y="12"/>
                  </a:cubicBezTo>
                  <a:cubicBezTo>
                    <a:pt x="0" y="5"/>
                    <a:pt x="5" y="0"/>
                    <a:pt x="12" y="0"/>
                  </a:cubicBezTo>
                  <a:cubicBezTo>
                    <a:pt x="19" y="0"/>
                    <a:pt x="25" y="5"/>
                    <a:pt x="25" y="12"/>
                  </a:cubicBezTo>
                  <a:cubicBezTo>
                    <a:pt x="25" y="19"/>
                    <a:pt x="19" y="25"/>
                    <a:pt x="12" y="25"/>
                  </a:cubicBezTo>
                  <a:close/>
                  <a:moveTo>
                    <a:pt x="12" y="6"/>
                  </a:moveTo>
                  <a:cubicBezTo>
                    <a:pt x="9" y="6"/>
                    <a:pt x="6" y="9"/>
                    <a:pt x="6" y="12"/>
                  </a:cubicBezTo>
                  <a:cubicBezTo>
                    <a:pt x="6" y="15"/>
                    <a:pt x="9" y="18"/>
                    <a:pt x="12" y="18"/>
                  </a:cubicBezTo>
                  <a:cubicBezTo>
                    <a:pt x="16" y="18"/>
                    <a:pt x="19" y="15"/>
                    <a:pt x="19" y="12"/>
                  </a:cubicBezTo>
                  <a:cubicBezTo>
                    <a:pt x="19" y="9"/>
                    <a:pt x="16" y="6"/>
                    <a:pt x="12" y="6"/>
                  </a:cubicBezTo>
                  <a:close/>
                </a:path>
              </a:pathLst>
            </a:custGeom>
            <a:solidFill>
              <a:srgbClr val="A0CBD0"/>
            </a:solidFill>
            <a:ln>
              <a:noFill/>
            </a:ln>
          </p:spPr>
          <p:txBody>
            <a:bodyPr anchor="ctr"/>
            <a:lstStyle/>
            <a:p>
              <a:pPr algn="ctr"/>
              <a:endParaRPr/>
            </a:p>
          </p:txBody>
        </p:sp>
      </p:grpSp>
      <p:grpSp>
        <p:nvGrpSpPr>
          <p:cNvPr id="104" name="组合 103">
            <a:extLst>
              <a:ext uri="{FF2B5EF4-FFF2-40B4-BE49-F238E27FC236}">
                <a16:creationId xmlns:a16="http://schemas.microsoft.com/office/drawing/2014/main" id="{DB98B03F-259F-443E-B7EF-BB6776A6CEE7}"/>
              </a:ext>
            </a:extLst>
          </p:cNvPr>
          <p:cNvGrpSpPr/>
          <p:nvPr/>
        </p:nvGrpSpPr>
        <p:grpSpPr>
          <a:xfrm>
            <a:off x="8201865" y="2085182"/>
            <a:ext cx="2804537" cy="2687636"/>
            <a:chOff x="1329313" y="1651002"/>
            <a:chExt cx="2804537" cy="2687636"/>
          </a:xfrm>
        </p:grpSpPr>
        <p:sp>
          <p:nvSpPr>
            <p:cNvPr id="105" name="îṣļîďê">
              <a:extLst>
                <a:ext uri="{FF2B5EF4-FFF2-40B4-BE49-F238E27FC236}">
                  <a16:creationId xmlns:a16="http://schemas.microsoft.com/office/drawing/2014/main" id="{99D48454-C25E-453A-AD2A-8148AB839EFB}"/>
                </a:ext>
              </a:extLst>
            </p:cNvPr>
            <p:cNvSpPr/>
            <p:nvPr/>
          </p:nvSpPr>
          <p:spPr bwMode="auto">
            <a:xfrm>
              <a:off x="1769030" y="1679959"/>
              <a:ext cx="1915450" cy="2629722"/>
            </a:xfrm>
            <a:custGeom>
              <a:gdLst>
                <a:gd fmla="*/ 156 w 200" name="T0"/>
                <a:gd fmla="*/ 44 h 275" name="T1"/>
                <a:gd fmla="*/ 156 w 200" name="T2"/>
                <a:gd fmla="*/ 0 h 275" name="T3"/>
                <a:gd fmla="*/ 13 w 200" name="T4"/>
                <a:gd fmla="*/ 0 h 275" name="T5"/>
                <a:gd fmla="*/ 0 w 200" name="T6"/>
                <a:gd fmla="*/ 13 h 275" name="T7"/>
                <a:gd fmla="*/ 0 w 200" name="T8"/>
                <a:gd fmla="*/ 250 h 275" name="T9"/>
                <a:gd fmla="*/ 0 w 200" name="T10"/>
                <a:gd fmla="*/ 262 h 275" name="T11"/>
                <a:gd fmla="*/ 13 w 200" name="T12"/>
                <a:gd fmla="*/ 275 h 275" name="T13"/>
                <a:gd fmla="*/ 187 w 200" name="T14"/>
                <a:gd fmla="*/ 275 h 275" name="T15"/>
                <a:gd fmla="*/ 200 w 200" name="T16"/>
                <a:gd fmla="*/ 262 h 275" name="T17"/>
                <a:gd fmla="*/ 200 w 200" name="T18"/>
                <a:gd fmla="*/ 44 h 275" name="T19"/>
                <a:gd fmla="*/ 156 w 200" name="T20"/>
                <a:gd fmla="*/ 44 h 275" name="T2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b="b" l="0" r="r" t="0"/>
              <a:pathLst>
                <a:path h="275" w="200">
                  <a:moveTo>
                    <a:pt x="156" y="44"/>
                  </a:moveTo>
                  <a:cubicBezTo>
                    <a:pt x="156" y="0"/>
                    <a:pt x="156" y="0"/>
                    <a:pt x="156" y="0"/>
                  </a:cubicBezTo>
                  <a:cubicBezTo>
                    <a:pt x="13" y="0"/>
                    <a:pt x="13" y="0"/>
                    <a:pt x="13" y="0"/>
                  </a:cubicBezTo>
                  <a:cubicBezTo>
                    <a:pt x="6" y="0"/>
                    <a:pt x="0" y="6"/>
                    <a:pt x="0" y="13"/>
                  </a:cubicBezTo>
                  <a:cubicBezTo>
                    <a:pt x="0" y="250"/>
                    <a:pt x="0" y="250"/>
                    <a:pt x="0" y="250"/>
                  </a:cubicBezTo>
                  <a:cubicBezTo>
                    <a:pt x="0" y="262"/>
                    <a:pt x="0" y="262"/>
                    <a:pt x="0" y="262"/>
                  </a:cubicBezTo>
                  <a:cubicBezTo>
                    <a:pt x="0" y="269"/>
                    <a:pt x="6" y="275"/>
                    <a:pt x="13" y="275"/>
                  </a:cubicBezTo>
                  <a:cubicBezTo>
                    <a:pt x="187" y="275"/>
                    <a:pt x="187" y="275"/>
                    <a:pt x="187" y="275"/>
                  </a:cubicBezTo>
                  <a:cubicBezTo>
                    <a:pt x="194" y="275"/>
                    <a:pt x="200" y="269"/>
                    <a:pt x="200" y="262"/>
                  </a:cubicBezTo>
                  <a:cubicBezTo>
                    <a:pt x="200" y="44"/>
                    <a:pt x="200" y="44"/>
                    <a:pt x="200" y="44"/>
                  </a:cubicBezTo>
                  <a:lnTo>
                    <a:pt x="156" y="44"/>
                  </a:lnTo>
                  <a:close/>
                </a:path>
              </a:pathLst>
            </a:custGeom>
            <a:solidFill>
              <a:schemeClr val="bg1"/>
            </a:solidFill>
            <a:ln>
              <a:noFill/>
            </a:ln>
          </p:spPr>
          <p:txBody>
            <a:bodyPr anchor="ctr"/>
            <a:lstStyle/>
            <a:p>
              <a:pPr algn="ctr"/>
              <a:endParaRPr/>
            </a:p>
          </p:txBody>
        </p:sp>
        <p:sp>
          <p:nvSpPr>
            <p:cNvPr id="106" name="îṡľiḍé">
              <a:extLst>
                <a:ext uri="{FF2B5EF4-FFF2-40B4-BE49-F238E27FC236}">
                  <a16:creationId xmlns:a16="http://schemas.microsoft.com/office/drawing/2014/main" id="{CC6AB031-19C1-4C4F-85FC-854D4D194BEC}"/>
                </a:ext>
              </a:extLst>
            </p:cNvPr>
            <p:cNvSpPr/>
            <p:nvPr/>
          </p:nvSpPr>
          <p:spPr bwMode="auto">
            <a:xfrm>
              <a:off x="3262995" y="1679959"/>
              <a:ext cx="421485" cy="420412"/>
            </a:xfrm>
            <a:custGeom>
              <a:gdLst>
                <a:gd fmla="*/ 0 w 44" name="T0"/>
                <a:gd fmla="*/ 0 h 44" name="T1"/>
                <a:gd fmla="*/ 44 w 44" name="T2"/>
                <a:gd fmla="*/ 44 h 44" name="T3"/>
                <a:gd fmla="*/ 0 w 44" name="T4"/>
                <a:gd fmla="*/ 44 h 44" name="T5"/>
                <a:gd fmla="*/ 0 w 44" name="T6"/>
                <a:gd fmla="*/ 0 h 44" name="T7"/>
              </a:gdLst>
              <a:cxnLst>
                <a:cxn ang="0">
                  <a:pos x="T0" y="T1"/>
                </a:cxn>
                <a:cxn ang="0">
                  <a:pos x="T2" y="T3"/>
                </a:cxn>
                <a:cxn ang="0">
                  <a:pos x="T4" y="T5"/>
                </a:cxn>
                <a:cxn ang="0">
                  <a:pos x="T6" y="T7"/>
                </a:cxn>
              </a:cxnLst>
              <a:rect b="b" l="0" r="r" t="0"/>
              <a:pathLst>
                <a:path h="44" w="44">
                  <a:moveTo>
                    <a:pt x="0" y="0"/>
                  </a:moveTo>
                  <a:cubicBezTo>
                    <a:pt x="17" y="17"/>
                    <a:pt x="27" y="27"/>
                    <a:pt x="44" y="44"/>
                  </a:cubicBezTo>
                  <a:cubicBezTo>
                    <a:pt x="0" y="44"/>
                    <a:pt x="0" y="44"/>
                    <a:pt x="0" y="44"/>
                  </a:cubicBezTo>
                  <a:lnTo>
                    <a:pt x="0" y="0"/>
                  </a:lnTo>
                  <a:close/>
                </a:path>
              </a:pathLst>
            </a:custGeom>
            <a:solidFill>
              <a:srgbClr val="FFB9BE"/>
            </a:solidFill>
            <a:ln>
              <a:noFill/>
            </a:ln>
          </p:spPr>
          <p:txBody>
            <a:bodyPr anchor="ctr"/>
            <a:lstStyle/>
            <a:p>
              <a:pPr algn="ctr"/>
              <a:endParaRPr/>
            </a:p>
          </p:txBody>
        </p:sp>
        <p:sp>
          <p:nvSpPr>
            <p:cNvPr id="107" name="iṣḻíḓé">
              <a:extLst>
                <a:ext uri="{FF2B5EF4-FFF2-40B4-BE49-F238E27FC236}">
                  <a16:creationId xmlns:a16="http://schemas.microsoft.com/office/drawing/2014/main" id="{25FDCA60-77DB-4D63-8C91-408C9830B0CF}"/>
                </a:ext>
              </a:extLst>
            </p:cNvPr>
            <p:cNvSpPr/>
            <p:nvPr/>
          </p:nvSpPr>
          <p:spPr bwMode="auto">
            <a:xfrm>
              <a:off x="3856077" y="1975963"/>
              <a:ext cx="134060" cy="134060"/>
            </a:xfrm>
            <a:custGeom>
              <a:gdLst>
                <a:gd fmla="*/ 11 w 14" name="T0"/>
                <a:gd fmla="*/ 2 h 14" name="T1"/>
                <a:gd fmla="*/ 11 w 14" name="T2"/>
                <a:gd fmla="*/ 11 h 14" name="T3"/>
                <a:gd fmla="*/ 3 w 14" name="T4"/>
                <a:gd fmla="*/ 11 h 14" name="T5"/>
                <a:gd fmla="*/ 3 w 14" name="T6"/>
                <a:gd fmla="*/ 2 h 14" name="T7"/>
                <a:gd fmla="*/ 11 w 14" name="T8"/>
                <a:gd fmla="*/ 2 h 14" name="T9"/>
              </a:gdLst>
              <a:cxnLst>
                <a:cxn ang="0">
                  <a:pos x="T0" y="T1"/>
                </a:cxn>
                <a:cxn ang="0">
                  <a:pos x="T2" y="T3"/>
                </a:cxn>
                <a:cxn ang="0">
                  <a:pos x="T4" y="T5"/>
                </a:cxn>
                <a:cxn ang="0">
                  <a:pos x="T6" y="T7"/>
                </a:cxn>
                <a:cxn ang="0">
                  <a:pos x="T8" y="T9"/>
                </a:cxn>
              </a:cxnLst>
              <a:rect b="b" l="0" r="r" t="0"/>
              <a:pathLst>
                <a:path h="14" w="14">
                  <a:moveTo>
                    <a:pt x="11" y="2"/>
                  </a:moveTo>
                  <a:cubicBezTo>
                    <a:pt x="14" y="5"/>
                    <a:pt x="14" y="9"/>
                    <a:pt x="11" y="11"/>
                  </a:cubicBezTo>
                  <a:cubicBezTo>
                    <a:pt x="9" y="14"/>
                    <a:pt x="5" y="14"/>
                    <a:pt x="3" y="11"/>
                  </a:cubicBezTo>
                  <a:cubicBezTo>
                    <a:pt x="0" y="9"/>
                    <a:pt x="0" y="5"/>
                    <a:pt x="3" y="2"/>
                  </a:cubicBezTo>
                  <a:cubicBezTo>
                    <a:pt x="5" y="0"/>
                    <a:pt x="9" y="0"/>
                    <a:pt x="11" y="2"/>
                  </a:cubicBezTo>
                  <a:close/>
                </a:path>
              </a:pathLst>
            </a:custGeom>
            <a:solidFill>
              <a:srgbClr val="FAD3D4"/>
            </a:solidFill>
            <a:ln>
              <a:noFill/>
            </a:ln>
          </p:spPr>
          <p:txBody>
            <a:bodyPr anchor="ctr"/>
            <a:lstStyle/>
            <a:p>
              <a:pPr algn="ctr"/>
              <a:endParaRPr/>
            </a:p>
          </p:txBody>
        </p:sp>
        <p:sp>
          <p:nvSpPr>
            <p:cNvPr id="108" name="i$lïdè">
              <a:extLst>
                <a:ext uri="{FF2B5EF4-FFF2-40B4-BE49-F238E27FC236}">
                  <a16:creationId xmlns:a16="http://schemas.microsoft.com/office/drawing/2014/main" id="{768A17AB-9542-47CA-99BA-A785E6D33432}"/>
                </a:ext>
              </a:extLst>
            </p:cNvPr>
            <p:cNvSpPr/>
            <p:nvPr/>
          </p:nvSpPr>
          <p:spPr bwMode="auto">
            <a:xfrm>
              <a:off x="3856077" y="3286534"/>
              <a:ext cx="134060" cy="134060"/>
            </a:xfrm>
            <a:custGeom>
              <a:gdLst>
                <a:gd fmla="*/ 11 w 14" name="T0"/>
                <a:gd fmla="*/ 3 h 14" name="T1"/>
                <a:gd fmla="*/ 11 w 14" name="T2"/>
                <a:gd fmla="*/ 11 h 14" name="T3"/>
                <a:gd fmla="*/ 3 w 14" name="T4"/>
                <a:gd fmla="*/ 11 h 14" name="T5"/>
                <a:gd fmla="*/ 3 w 14" name="T6"/>
                <a:gd fmla="*/ 3 h 14" name="T7"/>
                <a:gd fmla="*/ 11 w 14" name="T8"/>
                <a:gd fmla="*/ 3 h 14" name="T9"/>
              </a:gdLst>
              <a:cxnLst>
                <a:cxn ang="0">
                  <a:pos x="T0" y="T1"/>
                </a:cxn>
                <a:cxn ang="0">
                  <a:pos x="T2" y="T3"/>
                </a:cxn>
                <a:cxn ang="0">
                  <a:pos x="T4" y="T5"/>
                </a:cxn>
                <a:cxn ang="0">
                  <a:pos x="T6" y="T7"/>
                </a:cxn>
                <a:cxn ang="0">
                  <a:pos x="T8" y="T9"/>
                </a:cxn>
              </a:cxnLst>
              <a:rect b="b" l="0" r="r" t="0"/>
              <a:pathLst>
                <a:path h="14" w="14">
                  <a:moveTo>
                    <a:pt x="11" y="3"/>
                  </a:moveTo>
                  <a:cubicBezTo>
                    <a:pt x="14" y="5"/>
                    <a:pt x="14" y="9"/>
                    <a:pt x="11" y="11"/>
                  </a:cubicBezTo>
                  <a:cubicBezTo>
                    <a:pt x="9" y="14"/>
                    <a:pt x="5" y="14"/>
                    <a:pt x="3" y="11"/>
                  </a:cubicBezTo>
                  <a:cubicBezTo>
                    <a:pt x="0" y="9"/>
                    <a:pt x="0" y="5"/>
                    <a:pt x="3" y="3"/>
                  </a:cubicBezTo>
                  <a:cubicBezTo>
                    <a:pt x="5" y="0"/>
                    <a:pt x="9" y="0"/>
                    <a:pt x="11" y="3"/>
                  </a:cubicBezTo>
                  <a:close/>
                </a:path>
              </a:pathLst>
            </a:custGeom>
            <a:solidFill>
              <a:srgbClr val="FAD3D4"/>
            </a:solidFill>
            <a:ln>
              <a:noFill/>
            </a:ln>
          </p:spPr>
          <p:txBody>
            <a:bodyPr anchor="ctr"/>
            <a:lstStyle/>
            <a:p>
              <a:pPr algn="ctr"/>
              <a:endParaRPr/>
            </a:p>
          </p:txBody>
        </p:sp>
        <p:sp>
          <p:nvSpPr>
            <p:cNvPr id="109" name="ïSľíďè">
              <a:extLst>
                <a:ext uri="{FF2B5EF4-FFF2-40B4-BE49-F238E27FC236}">
                  <a16:creationId xmlns:a16="http://schemas.microsoft.com/office/drawing/2014/main" id="{181F45A1-72E7-4C33-8EC0-5408B2BE8EC7}"/>
                </a:ext>
              </a:extLst>
            </p:cNvPr>
            <p:cNvSpPr/>
            <p:nvPr/>
          </p:nvSpPr>
          <p:spPr bwMode="auto">
            <a:xfrm>
              <a:off x="3435665" y="4004024"/>
              <a:ext cx="134060" cy="134060"/>
            </a:xfrm>
            <a:custGeom>
              <a:gdLst>
                <a:gd fmla="*/ 12 w 14" name="T0"/>
                <a:gd fmla="*/ 3 h 14" name="T1"/>
                <a:gd fmla="*/ 12 w 14" name="T2"/>
                <a:gd fmla="*/ 11 h 14" name="T3"/>
                <a:gd fmla="*/ 3 w 14" name="T4"/>
                <a:gd fmla="*/ 11 h 14" name="T5"/>
                <a:gd fmla="*/ 3 w 14" name="T6"/>
                <a:gd fmla="*/ 3 h 14" name="T7"/>
                <a:gd fmla="*/ 12 w 14" name="T8"/>
                <a:gd fmla="*/ 3 h 14" name="T9"/>
              </a:gdLst>
              <a:cxnLst>
                <a:cxn ang="0">
                  <a:pos x="T0" y="T1"/>
                </a:cxn>
                <a:cxn ang="0">
                  <a:pos x="T2" y="T3"/>
                </a:cxn>
                <a:cxn ang="0">
                  <a:pos x="T4" y="T5"/>
                </a:cxn>
                <a:cxn ang="0">
                  <a:pos x="T6" y="T7"/>
                </a:cxn>
                <a:cxn ang="0">
                  <a:pos x="T8" y="T9"/>
                </a:cxn>
              </a:cxnLst>
              <a:rect b="b" l="0" r="r" t="0"/>
              <a:pathLst>
                <a:path h="14" w="14">
                  <a:moveTo>
                    <a:pt x="12" y="3"/>
                  </a:moveTo>
                  <a:cubicBezTo>
                    <a:pt x="14" y="5"/>
                    <a:pt x="14" y="9"/>
                    <a:pt x="12" y="11"/>
                  </a:cubicBezTo>
                  <a:cubicBezTo>
                    <a:pt x="9" y="14"/>
                    <a:pt x="5" y="14"/>
                    <a:pt x="3" y="11"/>
                  </a:cubicBezTo>
                  <a:cubicBezTo>
                    <a:pt x="0" y="9"/>
                    <a:pt x="0" y="5"/>
                    <a:pt x="3" y="3"/>
                  </a:cubicBezTo>
                  <a:cubicBezTo>
                    <a:pt x="5" y="0"/>
                    <a:pt x="9" y="0"/>
                    <a:pt x="12" y="3"/>
                  </a:cubicBezTo>
                  <a:close/>
                </a:path>
              </a:pathLst>
            </a:custGeom>
            <a:solidFill>
              <a:srgbClr val="FFB9BE"/>
            </a:solidFill>
            <a:ln>
              <a:noFill/>
            </a:ln>
          </p:spPr>
          <p:txBody>
            <a:bodyPr anchor="ctr"/>
            <a:lstStyle/>
            <a:p>
              <a:pPr algn="ctr"/>
              <a:endParaRPr/>
            </a:p>
          </p:txBody>
        </p:sp>
        <p:sp>
          <p:nvSpPr>
            <p:cNvPr id="110" name="íṣḷïḍè">
              <a:extLst>
                <a:ext uri="{FF2B5EF4-FFF2-40B4-BE49-F238E27FC236}">
                  <a16:creationId xmlns:a16="http://schemas.microsoft.com/office/drawing/2014/main" id="{7B77A35C-383A-4CF2-A008-252D9FD64CBE}"/>
                </a:ext>
              </a:extLst>
            </p:cNvPr>
            <p:cNvSpPr/>
            <p:nvPr/>
          </p:nvSpPr>
          <p:spPr bwMode="auto">
            <a:xfrm>
              <a:off x="1473025" y="2808208"/>
              <a:ext cx="124408" cy="134060"/>
            </a:xfrm>
            <a:custGeom>
              <a:gdLst>
                <a:gd fmla="*/ 11 w 13" name="T0"/>
                <a:gd fmla="*/ 3 h 14" name="T1"/>
                <a:gd fmla="*/ 11 w 13" name="T2"/>
                <a:gd fmla="*/ 12 h 14" name="T3"/>
                <a:gd fmla="*/ 2 w 13" name="T4"/>
                <a:gd fmla="*/ 12 h 14" name="T5"/>
                <a:gd fmla="*/ 2 w 13" name="T6"/>
                <a:gd fmla="*/ 3 h 14" name="T7"/>
                <a:gd fmla="*/ 11 w 13" name="T8"/>
                <a:gd fmla="*/ 3 h 14" name="T9"/>
              </a:gdLst>
              <a:cxnLst>
                <a:cxn ang="0">
                  <a:pos x="T0" y="T1"/>
                </a:cxn>
                <a:cxn ang="0">
                  <a:pos x="T2" y="T3"/>
                </a:cxn>
                <a:cxn ang="0">
                  <a:pos x="T4" y="T5"/>
                </a:cxn>
                <a:cxn ang="0">
                  <a:pos x="T6" y="T7"/>
                </a:cxn>
                <a:cxn ang="0">
                  <a:pos x="T8" y="T9"/>
                </a:cxn>
              </a:cxnLst>
              <a:rect b="b" l="0" r="r" t="0"/>
              <a:pathLst>
                <a:path h="14" w="13">
                  <a:moveTo>
                    <a:pt x="11" y="3"/>
                  </a:moveTo>
                  <a:cubicBezTo>
                    <a:pt x="13" y="5"/>
                    <a:pt x="13" y="9"/>
                    <a:pt x="11" y="12"/>
                  </a:cubicBezTo>
                  <a:cubicBezTo>
                    <a:pt x="8" y="14"/>
                    <a:pt x="4" y="14"/>
                    <a:pt x="2" y="12"/>
                  </a:cubicBezTo>
                  <a:cubicBezTo>
                    <a:pt x="0" y="9"/>
                    <a:pt x="0" y="5"/>
                    <a:pt x="2" y="3"/>
                  </a:cubicBezTo>
                  <a:cubicBezTo>
                    <a:pt x="4" y="0"/>
                    <a:pt x="8" y="0"/>
                    <a:pt x="11" y="3"/>
                  </a:cubicBezTo>
                  <a:close/>
                </a:path>
              </a:pathLst>
            </a:custGeom>
            <a:solidFill>
              <a:srgbClr val="FAD3D4"/>
            </a:solidFill>
            <a:ln>
              <a:noFill/>
            </a:ln>
          </p:spPr>
          <p:txBody>
            <a:bodyPr anchor="ctr"/>
            <a:lstStyle/>
            <a:p>
              <a:pPr algn="ctr"/>
              <a:endParaRPr/>
            </a:p>
          </p:txBody>
        </p:sp>
        <p:sp>
          <p:nvSpPr>
            <p:cNvPr id="111" name="ïśļïḍe">
              <a:extLst>
                <a:ext uri="{FF2B5EF4-FFF2-40B4-BE49-F238E27FC236}">
                  <a16:creationId xmlns:a16="http://schemas.microsoft.com/office/drawing/2014/main" id="{A9B9938F-9E1A-415D-9F3F-9FD2AF8D3427}"/>
                </a:ext>
              </a:extLst>
            </p:cNvPr>
            <p:cNvSpPr/>
            <p:nvPr/>
          </p:nvSpPr>
          <p:spPr bwMode="auto">
            <a:xfrm>
              <a:off x="3234038" y="1651002"/>
              <a:ext cx="478326" cy="478326"/>
            </a:xfrm>
            <a:custGeom>
              <a:gdLst>
                <a:gd fmla="*/ 47 w 50" name="T0"/>
                <a:gd fmla="*/ 50 h 50" name="T1"/>
                <a:gd fmla="*/ 3 w 50" name="T2"/>
                <a:gd fmla="*/ 50 h 50" name="T3"/>
                <a:gd fmla="*/ 0 w 50" name="T4"/>
                <a:gd fmla="*/ 47 h 50" name="T5"/>
                <a:gd fmla="*/ 0 w 50" name="T6"/>
                <a:gd fmla="*/ 3 h 50" name="T7"/>
                <a:gd fmla="*/ 3 w 50" name="T8"/>
                <a:gd fmla="*/ 0 h 50" name="T9"/>
                <a:gd fmla="*/ 6 w 50" name="T10"/>
                <a:gd fmla="*/ 3 h 50" name="T11"/>
                <a:gd fmla="*/ 6 w 50" name="T12"/>
                <a:gd fmla="*/ 44 h 50" name="T13"/>
                <a:gd fmla="*/ 47 w 50" name="T14"/>
                <a:gd fmla="*/ 44 h 50" name="T15"/>
                <a:gd fmla="*/ 50 w 50" name="T16"/>
                <a:gd fmla="*/ 47 h 50" name="T17"/>
                <a:gd fmla="*/ 47 w 50" name="T18"/>
                <a:gd fmla="*/ 50 h 50" name="T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b="b" l="0" r="r" t="0"/>
              <a:pathLst>
                <a:path h="50" w="50">
                  <a:moveTo>
                    <a:pt x="47" y="50"/>
                  </a:moveTo>
                  <a:cubicBezTo>
                    <a:pt x="3" y="50"/>
                    <a:pt x="3" y="50"/>
                    <a:pt x="3" y="50"/>
                  </a:cubicBezTo>
                  <a:cubicBezTo>
                    <a:pt x="2" y="50"/>
                    <a:pt x="0" y="49"/>
                    <a:pt x="0" y="47"/>
                  </a:cubicBezTo>
                  <a:cubicBezTo>
                    <a:pt x="0" y="3"/>
                    <a:pt x="0" y="3"/>
                    <a:pt x="0" y="3"/>
                  </a:cubicBezTo>
                  <a:cubicBezTo>
                    <a:pt x="0" y="2"/>
                    <a:pt x="2" y="0"/>
                    <a:pt x="3" y="0"/>
                  </a:cubicBezTo>
                  <a:cubicBezTo>
                    <a:pt x="5" y="0"/>
                    <a:pt x="6" y="2"/>
                    <a:pt x="6" y="3"/>
                  </a:cubicBezTo>
                  <a:cubicBezTo>
                    <a:pt x="6" y="44"/>
                    <a:pt x="6" y="44"/>
                    <a:pt x="6" y="44"/>
                  </a:cubicBezTo>
                  <a:cubicBezTo>
                    <a:pt x="47" y="44"/>
                    <a:pt x="47" y="44"/>
                    <a:pt x="47" y="44"/>
                  </a:cubicBezTo>
                  <a:cubicBezTo>
                    <a:pt x="49" y="44"/>
                    <a:pt x="50" y="45"/>
                    <a:pt x="50" y="47"/>
                  </a:cubicBezTo>
                  <a:cubicBezTo>
                    <a:pt x="50" y="49"/>
                    <a:pt x="49" y="50"/>
                    <a:pt x="47" y="50"/>
                  </a:cubicBezTo>
                  <a:close/>
                </a:path>
              </a:pathLst>
            </a:custGeom>
            <a:solidFill>
              <a:srgbClr val="FFB9BE"/>
            </a:solidFill>
            <a:ln>
              <a:noFill/>
            </a:ln>
          </p:spPr>
          <p:txBody>
            <a:bodyPr anchor="ctr"/>
            <a:lstStyle/>
            <a:p>
              <a:pPr algn="ctr"/>
              <a:endParaRPr/>
            </a:p>
          </p:txBody>
        </p:sp>
        <p:sp>
          <p:nvSpPr>
            <p:cNvPr id="112" name="ïśľïḍê">
              <a:extLst>
                <a:ext uri="{FF2B5EF4-FFF2-40B4-BE49-F238E27FC236}">
                  <a16:creationId xmlns:a16="http://schemas.microsoft.com/office/drawing/2014/main" id="{D990D452-47FE-48F6-B26E-44314DBFCD7F}"/>
                </a:ext>
              </a:extLst>
            </p:cNvPr>
            <p:cNvSpPr/>
            <p:nvPr/>
          </p:nvSpPr>
          <p:spPr bwMode="auto">
            <a:xfrm>
              <a:off x="1741146" y="1651002"/>
              <a:ext cx="1971219" cy="2687636"/>
            </a:xfrm>
            <a:custGeom>
              <a:gdLst>
                <a:gd fmla="*/ 190 w 206" name="T0"/>
                <a:gd fmla="*/ 281 h 281" name="T1"/>
                <a:gd fmla="*/ 16 w 206" name="T2"/>
                <a:gd fmla="*/ 281 h 281" name="T3"/>
                <a:gd fmla="*/ 0 w 206" name="T4"/>
                <a:gd fmla="*/ 265 h 281" name="T5"/>
                <a:gd fmla="*/ 0 w 206" name="T6"/>
                <a:gd fmla="*/ 16 h 281" name="T7"/>
                <a:gd fmla="*/ 16 w 206" name="T8"/>
                <a:gd fmla="*/ 0 h 281" name="T9"/>
                <a:gd fmla="*/ 159 w 206" name="T10"/>
                <a:gd fmla="*/ 0 h 281" name="T11"/>
                <a:gd fmla="*/ 162 w 206" name="T12"/>
                <a:gd fmla="*/ 1 h 281" name="T13"/>
                <a:gd fmla="*/ 177 w 206" name="T14"/>
                <a:gd fmla="*/ 17 h 281" name="T15"/>
                <a:gd fmla="*/ 205 w 206" name="T16"/>
                <a:gd fmla="*/ 45 h 281" name="T17"/>
                <a:gd fmla="*/ 206 w 206" name="T18"/>
                <a:gd fmla="*/ 47 h 281" name="T19"/>
                <a:gd fmla="*/ 206 w 206" name="T20"/>
                <a:gd fmla="*/ 265 h 281" name="T21"/>
                <a:gd fmla="*/ 190 w 206" name="T22"/>
                <a:gd fmla="*/ 281 h 281" name="T23"/>
                <a:gd fmla="*/ 16 w 206" name="T24"/>
                <a:gd fmla="*/ 6 h 281" name="T25"/>
                <a:gd fmla="*/ 6 w 206" name="T26"/>
                <a:gd fmla="*/ 16 h 281" name="T27"/>
                <a:gd fmla="*/ 6 w 206" name="T28"/>
                <a:gd fmla="*/ 265 h 281" name="T29"/>
                <a:gd fmla="*/ 16 w 206" name="T30"/>
                <a:gd fmla="*/ 275 h 281" name="T31"/>
                <a:gd fmla="*/ 190 w 206" name="T32"/>
                <a:gd fmla="*/ 275 h 281" name="T33"/>
                <a:gd fmla="*/ 200 w 206" name="T34"/>
                <a:gd fmla="*/ 265 h 281" name="T35"/>
                <a:gd fmla="*/ 200 w 206" name="T36"/>
                <a:gd fmla="*/ 48 h 281" name="T37"/>
                <a:gd fmla="*/ 173 w 206" name="T38"/>
                <a:gd fmla="*/ 21 h 281" name="T39"/>
                <a:gd fmla="*/ 158 w 206" name="T40"/>
                <a:gd fmla="*/ 6 h 281" name="T41"/>
                <a:gd fmla="*/ 16 w 206" name="T42"/>
                <a:gd fmla="*/ 6 h 281" name="T4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b="b" l="0" r="r" t="0"/>
              <a:pathLst>
                <a:path h="281" w="206">
                  <a:moveTo>
                    <a:pt x="190" y="281"/>
                  </a:moveTo>
                  <a:cubicBezTo>
                    <a:pt x="16" y="281"/>
                    <a:pt x="16" y="281"/>
                    <a:pt x="16" y="281"/>
                  </a:cubicBezTo>
                  <a:cubicBezTo>
                    <a:pt x="7" y="281"/>
                    <a:pt x="0" y="274"/>
                    <a:pt x="0" y="265"/>
                  </a:cubicBezTo>
                  <a:cubicBezTo>
                    <a:pt x="0" y="16"/>
                    <a:pt x="0" y="16"/>
                    <a:pt x="0" y="16"/>
                  </a:cubicBezTo>
                  <a:cubicBezTo>
                    <a:pt x="0" y="7"/>
                    <a:pt x="7" y="0"/>
                    <a:pt x="16" y="0"/>
                  </a:cubicBezTo>
                  <a:cubicBezTo>
                    <a:pt x="159" y="0"/>
                    <a:pt x="159" y="0"/>
                    <a:pt x="159" y="0"/>
                  </a:cubicBezTo>
                  <a:cubicBezTo>
                    <a:pt x="160" y="0"/>
                    <a:pt x="161" y="1"/>
                    <a:pt x="162" y="1"/>
                  </a:cubicBezTo>
                  <a:cubicBezTo>
                    <a:pt x="177" y="17"/>
                    <a:pt x="177" y="17"/>
                    <a:pt x="177" y="17"/>
                  </a:cubicBezTo>
                  <a:cubicBezTo>
                    <a:pt x="186" y="26"/>
                    <a:pt x="194" y="34"/>
                    <a:pt x="205" y="45"/>
                  </a:cubicBezTo>
                  <a:cubicBezTo>
                    <a:pt x="206" y="45"/>
                    <a:pt x="206" y="46"/>
                    <a:pt x="206" y="47"/>
                  </a:cubicBezTo>
                  <a:cubicBezTo>
                    <a:pt x="206" y="265"/>
                    <a:pt x="206" y="265"/>
                    <a:pt x="206" y="265"/>
                  </a:cubicBezTo>
                  <a:cubicBezTo>
                    <a:pt x="206" y="274"/>
                    <a:pt x="199" y="281"/>
                    <a:pt x="190" y="281"/>
                  </a:cubicBezTo>
                  <a:close/>
                  <a:moveTo>
                    <a:pt x="16" y="6"/>
                  </a:moveTo>
                  <a:cubicBezTo>
                    <a:pt x="11" y="6"/>
                    <a:pt x="6" y="11"/>
                    <a:pt x="6" y="16"/>
                  </a:cubicBezTo>
                  <a:cubicBezTo>
                    <a:pt x="6" y="265"/>
                    <a:pt x="6" y="265"/>
                    <a:pt x="6" y="265"/>
                  </a:cubicBezTo>
                  <a:cubicBezTo>
                    <a:pt x="6" y="270"/>
                    <a:pt x="11" y="275"/>
                    <a:pt x="16" y="275"/>
                  </a:cubicBezTo>
                  <a:cubicBezTo>
                    <a:pt x="190" y="275"/>
                    <a:pt x="190" y="275"/>
                    <a:pt x="190" y="275"/>
                  </a:cubicBezTo>
                  <a:cubicBezTo>
                    <a:pt x="195" y="275"/>
                    <a:pt x="200" y="270"/>
                    <a:pt x="200" y="265"/>
                  </a:cubicBezTo>
                  <a:cubicBezTo>
                    <a:pt x="200" y="48"/>
                    <a:pt x="200" y="48"/>
                    <a:pt x="200" y="48"/>
                  </a:cubicBezTo>
                  <a:cubicBezTo>
                    <a:pt x="189" y="38"/>
                    <a:pt x="182" y="30"/>
                    <a:pt x="173" y="21"/>
                  </a:cubicBezTo>
                  <a:cubicBezTo>
                    <a:pt x="158" y="6"/>
                    <a:pt x="158" y="6"/>
                    <a:pt x="158" y="6"/>
                  </a:cubicBezTo>
                  <a:lnTo>
                    <a:pt x="16" y="6"/>
                  </a:lnTo>
                  <a:close/>
                </a:path>
              </a:pathLst>
            </a:custGeom>
            <a:solidFill>
              <a:srgbClr val="FFB9BE"/>
            </a:solidFill>
            <a:ln>
              <a:noFill/>
            </a:ln>
          </p:spPr>
          <p:txBody>
            <a:bodyPr anchor="ctr"/>
            <a:lstStyle/>
            <a:p>
              <a:pPr algn="ctr"/>
              <a:endParaRPr/>
            </a:p>
          </p:txBody>
        </p:sp>
        <p:sp>
          <p:nvSpPr>
            <p:cNvPr id="113" name="isḷïďe">
              <a:extLst>
                <a:ext uri="{FF2B5EF4-FFF2-40B4-BE49-F238E27FC236}">
                  <a16:creationId xmlns:a16="http://schemas.microsoft.com/office/drawing/2014/main" id="{B6083848-99C6-4A68-9E57-4646D2A6FC0F}"/>
                </a:ext>
              </a:extLst>
            </p:cNvPr>
            <p:cNvSpPr/>
            <p:nvPr/>
          </p:nvSpPr>
          <p:spPr bwMode="auto">
            <a:xfrm>
              <a:off x="1741146" y="4042633"/>
              <a:ext cx="1617301" cy="56842"/>
            </a:xfrm>
            <a:custGeom>
              <a:gdLst>
                <a:gd fmla="*/ 166 w 169" name="T0"/>
                <a:gd fmla="*/ 6 h 6" name="T1"/>
                <a:gd fmla="*/ 3 w 169" name="T2"/>
                <a:gd fmla="*/ 6 h 6" name="T3"/>
                <a:gd fmla="*/ 0 w 169" name="T4"/>
                <a:gd fmla="*/ 3 h 6" name="T5"/>
                <a:gd fmla="*/ 3 w 169" name="T6"/>
                <a:gd fmla="*/ 0 h 6" name="T7"/>
                <a:gd fmla="*/ 166 w 169" name="T8"/>
                <a:gd fmla="*/ 0 h 6" name="T9"/>
                <a:gd fmla="*/ 169 w 169" name="T10"/>
                <a:gd fmla="*/ 3 h 6" name="T11"/>
                <a:gd fmla="*/ 166 w 169" name="T12"/>
                <a:gd fmla="*/ 6 h 6" name="T13"/>
              </a:gdLst>
              <a:cxnLst>
                <a:cxn ang="0">
                  <a:pos x="T0" y="T1"/>
                </a:cxn>
                <a:cxn ang="0">
                  <a:pos x="T2" y="T3"/>
                </a:cxn>
                <a:cxn ang="0">
                  <a:pos x="T4" y="T5"/>
                </a:cxn>
                <a:cxn ang="0">
                  <a:pos x="T6" y="T7"/>
                </a:cxn>
                <a:cxn ang="0">
                  <a:pos x="T8" y="T9"/>
                </a:cxn>
                <a:cxn ang="0">
                  <a:pos x="T10" y="T11"/>
                </a:cxn>
                <a:cxn ang="0">
                  <a:pos x="T12" y="T13"/>
                </a:cxn>
              </a:cxnLst>
              <a:rect b="b" l="0" r="r" t="0"/>
              <a:pathLst>
                <a:path h="6" w="169">
                  <a:moveTo>
                    <a:pt x="166" y="6"/>
                  </a:moveTo>
                  <a:cubicBezTo>
                    <a:pt x="3" y="6"/>
                    <a:pt x="3" y="6"/>
                    <a:pt x="3" y="6"/>
                  </a:cubicBezTo>
                  <a:cubicBezTo>
                    <a:pt x="2" y="6"/>
                    <a:pt x="0" y="5"/>
                    <a:pt x="0" y="3"/>
                  </a:cubicBezTo>
                  <a:cubicBezTo>
                    <a:pt x="0" y="1"/>
                    <a:pt x="2" y="0"/>
                    <a:pt x="3" y="0"/>
                  </a:cubicBezTo>
                  <a:cubicBezTo>
                    <a:pt x="166" y="0"/>
                    <a:pt x="166" y="0"/>
                    <a:pt x="166" y="0"/>
                  </a:cubicBezTo>
                  <a:cubicBezTo>
                    <a:pt x="167" y="0"/>
                    <a:pt x="169" y="1"/>
                    <a:pt x="169" y="3"/>
                  </a:cubicBezTo>
                  <a:cubicBezTo>
                    <a:pt x="169" y="5"/>
                    <a:pt x="167" y="6"/>
                    <a:pt x="166" y="6"/>
                  </a:cubicBezTo>
                  <a:close/>
                </a:path>
              </a:pathLst>
            </a:custGeom>
            <a:solidFill>
              <a:srgbClr val="FFB9BE"/>
            </a:solidFill>
            <a:ln>
              <a:noFill/>
            </a:ln>
          </p:spPr>
          <p:txBody>
            <a:bodyPr anchor="ctr"/>
            <a:lstStyle/>
            <a:p>
              <a:pPr algn="ctr"/>
              <a:endParaRPr/>
            </a:p>
          </p:txBody>
        </p:sp>
        <p:sp>
          <p:nvSpPr>
            <p:cNvPr id="114" name="îṣlidé">
              <a:extLst>
                <a:ext uri="{FF2B5EF4-FFF2-40B4-BE49-F238E27FC236}">
                  <a16:creationId xmlns:a16="http://schemas.microsoft.com/office/drawing/2014/main" id="{831CEDFA-1C9A-4F36-AED7-AFD1F1DB21BE}"/>
                </a:ext>
              </a:extLst>
            </p:cNvPr>
            <p:cNvSpPr/>
            <p:nvPr/>
          </p:nvSpPr>
          <p:spPr bwMode="auto">
            <a:xfrm>
              <a:off x="1329313" y="3267230"/>
              <a:ext cx="296005" cy="297077"/>
            </a:xfrm>
            <a:custGeom>
              <a:gdLst>
                <a:gd fmla="*/ 15 w 31" name="T0"/>
                <a:gd fmla="*/ 31 h 31" name="T1"/>
                <a:gd fmla="*/ 0 w 31" name="T2"/>
                <a:gd fmla="*/ 15 h 31" name="T3"/>
                <a:gd fmla="*/ 15 w 31" name="T4"/>
                <a:gd fmla="*/ 0 h 31" name="T5"/>
                <a:gd fmla="*/ 31 w 31" name="T6"/>
                <a:gd fmla="*/ 15 h 31" name="T7"/>
                <a:gd fmla="*/ 15 w 31" name="T8"/>
                <a:gd fmla="*/ 31 h 31" name="T9"/>
                <a:gd fmla="*/ 15 w 31" name="T10"/>
                <a:gd fmla="*/ 6 h 31" name="T11"/>
                <a:gd fmla="*/ 6 w 31" name="T12"/>
                <a:gd fmla="*/ 15 h 31" name="T13"/>
                <a:gd fmla="*/ 15 w 31" name="T14"/>
                <a:gd fmla="*/ 25 h 31" name="T15"/>
                <a:gd fmla="*/ 24 w 31" name="T16"/>
                <a:gd fmla="*/ 15 h 31" name="T17"/>
                <a:gd fmla="*/ 15 w 31" name="T18"/>
                <a:gd fmla="*/ 6 h 31" name="T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b="b" l="0" r="r" t="0"/>
              <a:pathLst>
                <a:path h="31" w="31">
                  <a:moveTo>
                    <a:pt x="15" y="31"/>
                  </a:moveTo>
                  <a:cubicBezTo>
                    <a:pt x="7" y="31"/>
                    <a:pt x="0" y="24"/>
                    <a:pt x="0" y="15"/>
                  </a:cubicBezTo>
                  <a:cubicBezTo>
                    <a:pt x="0" y="7"/>
                    <a:pt x="7" y="0"/>
                    <a:pt x="15" y="0"/>
                  </a:cubicBezTo>
                  <a:cubicBezTo>
                    <a:pt x="24" y="0"/>
                    <a:pt x="31" y="7"/>
                    <a:pt x="31" y="15"/>
                  </a:cubicBezTo>
                  <a:cubicBezTo>
                    <a:pt x="31" y="24"/>
                    <a:pt x="24" y="31"/>
                    <a:pt x="15" y="31"/>
                  </a:cubicBezTo>
                  <a:close/>
                  <a:moveTo>
                    <a:pt x="15" y="6"/>
                  </a:moveTo>
                  <a:cubicBezTo>
                    <a:pt x="10" y="6"/>
                    <a:pt x="6" y="10"/>
                    <a:pt x="6" y="15"/>
                  </a:cubicBezTo>
                  <a:cubicBezTo>
                    <a:pt x="6" y="20"/>
                    <a:pt x="10" y="25"/>
                    <a:pt x="15" y="25"/>
                  </a:cubicBezTo>
                  <a:cubicBezTo>
                    <a:pt x="20" y="25"/>
                    <a:pt x="24" y="20"/>
                    <a:pt x="24" y="15"/>
                  </a:cubicBezTo>
                  <a:cubicBezTo>
                    <a:pt x="24" y="10"/>
                    <a:pt x="20" y="6"/>
                    <a:pt x="15" y="6"/>
                  </a:cubicBezTo>
                  <a:close/>
                </a:path>
              </a:pathLst>
            </a:custGeom>
            <a:solidFill>
              <a:srgbClr val="FAD3D4"/>
            </a:solidFill>
            <a:ln>
              <a:noFill/>
            </a:ln>
          </p:spPr>
          <p:txBody>
            <a:bodyPr anchor="ctr"/>
            <a:lstStyle/>
            <a:p>
              <a:pPr algn="ctr"/>
              <a:endParaRPr/>
            </a:p>
          </p:txBody>
        </p:sp>
        <p:sp>
          <p:nvSpPr>
            <p:cNvPr id="115" name="ïsḷïďe">
              <a:extLst>
                <a:ext uri="{FF2B5EF4-FFF2-40B4-BE49-F238E27FC236}">
                  <a16:creationId xmlns:a16="http://schemas.microsoft.com/office/drawing/2014/main" id="{D876FF09-36DF-4B31-AB80-43A203EC6254}"/>
                </a:ext>
              </a:extLst>
            </p:cNvPr>
            <p:cNvSpPr/>
            <p:nvPr/>
          </p:nvSpPr>
          <p:spPr bwMode="auto">
            <a:xfrm>
              <a:off x="3894686" y="2492899"/>
              <a:ext cx="239164" cy="239163"/>
            </a:xfrm>
            <a:custGeom>
              <a:gdLst>
                <a:gd fmla="*/ 12 w 25" name="T0"/>
                <a:gd fmla="*/ 25 h 25" name="T1"/>
                <a:gd fmla="*/ 0 w 25" name="T2"/>
                <a:gd fmla="*/ 12 h 25" name="T3"/>
                <a:gd fmla="*/ 12 w 25" name="T4"/>
                <a:gd fmla="*/ 0 h 25" name="T5"/>
                <a:gd fmla="*/ 25 w 25" name="T6"/>
                <a:gd fmla="*/ 12 h 25" name="T7"/>
                <a:gd fmla="*/ 12 w 25" name="T8"/>
                <a:gd fmla="*/ 25 h 25" name="T9"/>
                <a:gd fmla="*/ 12 w 25" name="T10"/>
                <a:gd fmla="*/ 6 h 25" name="T11"/>
                <a:gd fmla="*/ 6 w 25" name="T12"/>
                <a:gd fmla="*/ 12 h 25" name="T13"/>
                <a:gd fmla="*/ 12 w 25" name="T14"/>
                <a:gd fmla="*/ 18 h 25" name="T15"/>
                <a:gd fmla="*/ 19 w 25" name="T16"/>
                <a:gd fmla="*/ 12 h 25" name="T17"/>
                <a:gd fmla="*/ 12 w 25" name="T18"/>
                <a:gd fmla="*/ 6 h 25" name="T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b="b" l="0" r="r" t="0"/>
              <a:pathLst>
                <a:path h="25" w="25">
                  <a:moveTo>
                    <a:pt x="12" y="25"/>
                  </a:moveTo>
                  <a:cubicBezTo>
                    <a:pt x="5" y="25"/>
                    <a:pt x="0" y="19"/>
                    <a:pt x="0" y="12"/>
                  </a:cubicBezTo>
                  <a:cubicBezTo>
                    <a:pt x="0" y="5"/>
                    <a:pt x="5" y="0"/>
                    <a:pt x="12" y="0"/>
                  </a:cubicBezTo>
                  <a:cubicBezTo>
                    <a:pt x="19" y="0"/>
                    <a:pt x="25" y="5"/>
                    <a:pt x="25" y="12"/>
                  </a:cubicBezTo>
                  <a:cubicBezTo>
                    <a:pt x="25" y="19"/>
                    <a:pt x="19" y="25"/>
                    <a:pt x="12" y="25"/>
                  </a:cubicBezTo>
                  <a:close/>
                  <a:moveTo>
                    <a:pt x="12" y="6"/>
                  </a:moveTo>
                  <a:cubicBezTo>
                    <a:pt x="9" y="6"/>
                    <a:pt x="6" y="9"/>
                    <a:pt x="6" y="12"/>
                  </a:cubicBezTo>
                  <a:cubicBezTo>
                    <a:pt x="6" y="15"/>
                    <a:pt x="9" y="18"/>
                    <a:pt x="12" y="18"/>
                  </a:cubicBezTo>
                  <a:cubicBezTo>
                    <a:pt x="16" y="18"/>
                    <a:pt x="19" y="15"/>
                    <a:pt x="19" y="12"/>
                  </a:cubicBezTo>
                  <a:cubicBezTo>
                    <a:pt x="19" y="9"/>
                    <a:pt x="16" y="6"/>
                    <a:pt x="12" y="6"/>
                  </a:cubicBezTo>
                  <a:close/>
                </a:path>
              </a:pathLst>
            </a:custGeom>
            <a:solidFill>
              <a:srgbClr val="FAD3D4"/>
            </a:solidFill>
            <a:ln>
              <a:noFill/>
            </a:ln>
          </p:spPr>
          <p:txBody>
            <a:bodyPr anchor="ctr"/>
            <a:lstStyle/>
            <a:p>
              <a:pPr algn="ctr"/>
              <a:endParaRPr/>
            </a:p>
          </p:txBody>
        </p:sp>
      </p:grpSp>
      <p:sp>
        <p:nvSpPr>
          <p:cNvPr id="116" name="Title 20">
            <a:extLst>
              <a:ext uri="{FF2B5EF4-FFF2-40B4-BE49-F238E27FC236}">
                <a16:creationId xmlns:a16="http://schemas.microsoft.com/office/drawing/2014/main" id="{34763A2B-4D76-4B04-8E3E-1D7D4885954E}"/>
              </a:ext>
            </a:extLst>
          </p:cNvPr>
          <p:cNvSpPr txBox="1"/>
          <p:nvPr/>
        </p:nvSpPr>
        <p:spPr>
          <a:xfrm>
            <a:off x="1941741" y="2265318"/>
            <a:ext cx="1321253" cy="304800"/>
          </a:xfrm>
          <a:prstGeom prst="rect">
            <a:avLst/>
          </a:prstGeom>
        </p:spPr>
        <p:txBody>
          <a:bodyPr anchor="ctr" bIns="0" lIns="121893" rIns="121893" rtlCol="0" tIns="0" vert="horz" wrap="square">
            <a:spAutoFit/>
          </a:bodyPr>
          <a:lstStyle>
            <a:lvl1pPr algn="ctr" defTabSz="457200" eaLnBrk="1" hangingPunct="1" latinLnBrk="0" rtl="0">
              <a:spcBef>
                <a:spcPct val="0"/>
              </a:spcBef>
              <a:buNone/>
              <a:defRPr kern="1200" sz="2900">
                <a:solidFill>
                  <a:schemeClr val="accent6"/>
                </a:solidFill>
                <a:latin typeface="Source Sans Pro ExtraLight"/>
                <a:ea typeface="+mj-ea"/>
                <a:cs typeface="Source Sans Pro ExtraLight"/>
              </a:defRPr>
            </a:lvl1pPr>
          </a:lstStyle>
          <a:p>
            <a:r>
              <a:rPr altLang="en-US" b="1" lang="zh-CN" sz="2000">
                <a:solidFill>
                  <a:srgbClr val="424B58"/>
                </a:solidFill>
                <a:latin typeface="+mn-ea"/>
                <a:ea typeface="+mn-ea"/>
                <a:cs typeface="Lato Regular"/>
              </a:rPr>
              <a:t>成果（一）</a:t>
            </a:r>
          </a:p>
        </p:txBody>
      </p:sp>
      <p:sp>
        <p:nvSpPr>
          <p:cNvPr id="117" name="Title 20">
            <a:extLst>
              <a:ext uri="{FF2B5EF4-FFF2-40B4-BE49-F238E27FC236}">
                <a16:creationId xmlns:a16="http://schemas.microsoft.com/office/drawing/2014/main" id="{705FE5D9-C6BA-4545-B31A-2ACDCFB4757B}"/>
              </a:ext>
            </a:extLst>
          </p:cNvPr>
          <p:cNvSpPr txBox="1"/>
          <p:nvPr/>
        </p:nvSpPr>
        <p:spPr>
          <a:xfrm>
            <a:off x="1879083" y="2832513"/>
            <a:ext cx="1614637" cy="1493494"/>
          </a:xfrm>
          <a:prstGeom prst="rect">
            <a:avLst/>
          </a:prstGeom>
        </p:spPr>
        <p:txBody>
          <a:bodyPr anchor="t" bIns="60947" lIns="121893" rIns="121893" rtlCol="0" tIns="60947" vert="horz" wrap="square">
            <a:spAutoFit/>
          </a:bodyPr>
          <a:lstStyle>
            <a:lvl1pPr algn="ctr" defTabSz="457200" eaLnBrk="1" hangingPunct="1" latinLnBrk="0" rtl="0">
              <a:spcBef>
                <a:spcPct val="0"/>
              </a:spcBef>
              <a:buNone/>
              <a:defRPr kern="1200" sz="2900">
                <a:solidFill>
                  <a:schemeClr val="accent6"/>
                </a:solidFill>
                <a:latin typeface="Source Sans Pro ExtraLight"/>
                <a:ea typeface="+mj-ea"/>
                <a:cs typeface="Source Sans Pro ExtraLight"/>
              </a:defRPr>
            </a:lvl1pPr>
          </a:lstStyle>
          <a:p>
            <a:pPr>
              <a:lnSpc>
                <a:spcPct val="150000"/>
              </a:lnSpc>
            </a:pPr>
            <a:r>
              <a:rPr altLang="en-US" lang="zh-CN" sz="1200">
                <a:solidFill>
                  <a:srgbClr val="616F83"/>
                </a:solidFill>
                <a:latin typeface="+mn-ea"/>
                <a:ea typeface="+mn-ea"/>
              </a:rPr>
              <a:t>这里可以添加主要内容这里可以添加主要内容这里可以添加主要内容</a:t>
            </a:r>
          </a:p>
          <a:p>
            <a:pPr>
              <a:lnSpc>
                <a:spcPct val="150000"/>
              </a:lnSpc>
            </a:pPr>
            <a:r>
              <a:rPr altLang="en-US" lang="zh-CN" sz="1200">
                <a:solidFill>
                  <a:srgbClr val="616F83"/>
                </a:solidFill>
                <a:latin typeface="+mn-ea"/>
                <a:ea typeface="+mn-ea"/>
              </a:rPr>
              <a:t>……</a:t>
            </a:r>
          </a:p>
        </p:txBody>
      </p:sp>
      <p:sp>
        <p:nvSpPr>
          <p:cNvPr id="118" name="Title 20">
            <a:extLst>
              <a:ext uri="{FF2B5EF4-FFF2-40B4-BE49-F238E27FC236}">
                <a16:creationId xmlns:a16="http://schemas.microsoft.com/office/drawing/2014/main" id="{2A2CA47A-1CD4-4F0B-A8A3-B90B7726FC65}"/>
              </a:ext>
            </a:extLst>
          </p:cNvPr>
          <p:cNvSpPr txBox="1"/>
          <p:nvPr/>
        </p:nvSpPr>
        <p:spPr>
          <a:xfrm>
            <a:off x="5337215" y="2265318"/>
            <a:ext cx="1321253" cy="304800"/>
          </a:xfrm>
          <a:prstGeom prst="rect">
            <a:avLst/>
          </a:prstGeom>
        </p:spPr>
        <p:txBody>
          <a:bodyPr anchor="ctr" bIns="0" lIns="121893" rIns="121893" rtlCol="0" tIns="0" vert="horz" wrap="square">
            <a:spAutoFit/>
          </a:bodyPr>
          <a:lstStyle>
            <a:lvl1pPr algn="ctr" defTabSz="457200" eaLnBrk="1" hangingPunct="1" latinLnBrk="0" rtl="0">
              <a:spcBef>
                <a:spcPct val="0"/>
              </a:spcBef>
              <a:buNone/>
              <a:defRPr kern="1200" sz="2900">
                <a:solidFill>
                  <a:schemeClr val="accent6"/>
                </a:solidFill>
                <a:latin typeface="Source Sans Pro ExtraLight"/>
                <a:ea typeface="+mj-ea"/>
                <a:cs typeface="Source Sans Pro ExtraLight"/>
              </a:defRPr>
            </a:lvl1pPr>
          </a:lstStyle>
          <a:p>
            <a:r>
              <a:rPr altLang="en-US" b="1" lang="zh-CN" sz="2000">
                <a:solidFill>
                  <a:srgbClr val="424B58"/>
                </a:solidFill>
                <a:latin typeface="+mn-ea"/>
                <a:cs typeface="Lato Regular"/>
              </a:rPr>
              <a:t>成果（二）</a:t>
            </a:r>
          </a:p>
        </p:txBody>
      </p:sp>
      <p:sp>
        <p:nvSpPr>
          <p:cNvPr id="119" name="Title 20">
            <a:extLst>
              <a:ext uri="{FF2B5EF4-FFF2-40B4-BE49-F238E27FC236}">
                <a16:creationId xmlns:a16="http://schemas.microsoft.com/office/drawing/2014/main" id="{E2A3A1F8-72B8-4E39-8DCA-072575AC97FE}"/>
              </a:ext>
            </a:extLst>
          </p:cNvPr>
          <p:cNvSpPr txBox="1"/>
          <p:nvPr/>
        </p:nvSpPr>
        <p:spPr>
          <a:xfrm>
            <a:off x="8799815" y="2265318"/>
            <a:ext cx="1321253" cy="304800"/>
          </a:xfrm>
          <a:prstGeom prst="rect">
            <a:avLst/>
          </a:prstGeom>
        </p:spPr>
        <p:txBody>
          <a:bodyPr anchor="ctr" bIns="0" lIns="121893" rIns="121893" rtlCol="0" tIns="0" vert="horz" wrap="square">
            <a:spAutoFit/>
          </a:bodyPr>
          <a:lstStyle>
            <a:lvl1pPr algn="ctr" defTabSz="457200" eaLnBrk="1" hangingPunct="1" latinLnBrk="0" rtl="0">
              <a:spcBef>
                <a:spcPct val="0"/>
              </a:spcBef>
              <a:buNone/>
              <a:defRPr kern="1200" sz="2900">
                <a:solidFill>
                  <a:schemeClr val="accent6"/>
                </a:solidFill>
                <a:latin typeface="Source Sans Pro ExtraLight"/>
                <a:ea typeface="+mj-ea"/>
                <a:cs typeface="Source Sans Pro ExtraLight"/>
              </a:defRPr>
            </a:lvl1pPr>
          </a:lstStyle>
          <a:p>
            <a:r>
              <a:rPr altLang="en-US" b="1" lang="zh-CN" sz="2000">
                <a:solidFill>
                  <a:srgbClr val="424B58"/>
                </a:solidFill>
                <a:latin typeface="+mn-ea"/>
                <a:cs typeface="Lato Regular"/>
              </a:rPr>
              <a:t>成果（三）</a:t>
            </a:r>
          </a:p>
        </p:txBody>
      </p:sp>
      <p:sp>
        <p:nvSpPr>
          <p:cNvPr id="120" name="Title 20">
            <a:extLst>
              <a:ext uri="{FF2B5EF4-FFF2-40B4-BE49-F238E27FC236}">
                <a16:creationId xmlns:a16="http://schemas.microsoft.com/office/drawing/2014/main" id="{882207D2-56DE-4A37-9A92-3885CFAFE377}"/>
              </a:ext>
            </a:extLst>
          </p:cNvPr>
          <p:cNvSpPr txBox="1"/>
          <p:nvPr/>
        </p:nvSpPr>
        <p:spPr>
          <a:xfrm>
            <a:off x="5288681" y="2832513"/>
            <a:ext cx="1614637" cy="1493494"/>
          </a:xfrm>
          <a:prstGeom prst="rect">
            <a:avLst/>
          </a:prstGeom>
        </p:spPr>
        <p:txBody>
          <a:bodyPr anchor="t" bIns="60947" lIns="121893" rIns="121893" rtlCol="0" tIns="60947" vert="horz" wrap="square">
            <a:spAutoFit/>
          </a:bodyPr>
          <a:lstStyle>
            <a:lvl1pPr algn="ctr" defTabSz="457200" eaLnBrk="1" hangingPunct="1" latinLnBrk="0" rtl="0">
              <a:spcBef>
                <a:spcPct val="0"/>
              </a:spcBef>
              <a:buNone/>
              <a:defRPr kern="1200" sz="2900">
                <a:solidFill>
                  <a:schemeClr val="accent6"/>
                </a:solidFill>
                <a:latin typeface="Source Sans Pro ExtraLight"/>
                <a:ea typeface="+mj-ea"/>
                <a:cs typeface="Source Sans Pro ExtraLight"/>
              </a:defRPr>
            </a:lvl1pPr>
          </a:lstStyle>
          <a:p>
            <a:pPr>
              <a:lnSpc>
                <a:spcPct val="150000"/>
              </a:lnSpc>
            </a:pPr>
            <a:r>
              <a:rPr altLang="en-US" lang="zh-CN" sz="1200">
                <a:solidFill>
                  <a:srgbClr val="616F83"/>
                </a:solidFill>
                <a:latin typeface="+mn-ea"/>
                <a:ea typeface="+mn-ea"/>
              </a:rPr>
              <a:t>这里可以添加主要内容这里可以添加主要内容这里可以添加主要内容</a:t>
            </a:r>
          </a:p>
          <a:p>
            <a:pPr>
              <a:lnSpc>
                <a:spcPct val="150000"/>
              </a:lnSpc>
            </a:pPr>
            <a:r>
              <a:rPr altLang="en-US" lang="zh-CN" sz="1200">
                <a:solidFill>
                  <a:srgbClr val="616F83"/>
                </a:solidFill>
                <a:latin typeface="+mn-ea"/>
                <a:ea typeface="+mn-ea"/>
              </a:rPr>
              <a:t>……</a:t>
            </a:r>
          </a:p>
        </p:txBody>
      </p:sp>
      <p:sp>
        <p:nvSpPr>
          <p:cNvPr id="121" name="Title 20">
            <a:extLst>
              <a:ext uri="{FF2B5EF4-FFF2-40B4-BE49-F238E27FC236}">
                <a16:creationId xmlns:a16="http://schemas.microsoft.com/office/drawing/2014/main" id="{78762E69-5A36-469D-8134-EC9793FA557B}"/>
              </a:ext>
            </a:extLst>
          </p:cNvPr>
          <p:cNvSpPr txBox="1"/>
          <p:nvPr/>
        </p:nvSpPr>
        <p:spPr>
          <a:xfrm>
            <a:off x="8778096" y="2832513"/>
            <a:ext cx="1614637" cy="1493494"/>
          </a:xfrm>
          <a:prstGeom prst="rect">
            <a:avLst/>
          </a:prstGeom>
        </p:spPr>
        <p:txBody>
          <a:bodyPr anchor="t" bIns="60947" lIns="121893" rIns="121893" rtlCol="0" tIns="60947" vert="horz" wrap="square">
            <a:spAutoFit/>
          </a:bodyPr>
          <a:lstStyle>
            <a:lvl1pPr algn="ctr" defTabSz="457200" eaLnBrk="1" hangingPunct="1" latinLnBrk="0" rtl="0">
              <a:spcBef>
                <a:spcPct val="0"/>
              </a:spcBef>
              <a:buNone/>
              <a:defRPr kern="1200" sz="2900">
                <a:solidFill>
                  <a:schemeClr val="accent6"/>
                </a:solidFill>
                <a:latin typeface="Source Sans Pro ExtraLight"/>
                <a:ea typeface="+mj-ea"/>
                <a:cs typeface="Source Sans Pro ExtraLight"/>
              </a:defRPr>
            </a:lvl1pPr>
          </a:lstStyle>
          <a:p>
            <a:pPr>
              <a:lnSpc>
                <a:spcPct val="150000"/>
              </a:lnSpc>
            </a:pPr>
            <a:r>
              <a:rPr altLang="en-US" lang="zh-CN" sz="1200">
                <a:solidFill>
                  <a:srgbClr val="616F83"/>
                </a:solidFill>
                <a:latin typeface="+mn-ea"/>
                <a:ea typeface="+mn-ea"/>
              </a:rPr>
              <a:t>这里可以添加主要内容这里可以添加主要内容这里可以添加主要内容</a:t>
            </a:r>
          </a:p>
          <a:p>
            <a:pPr>
              <a:lnSpc>
                <a:spcPct val="150000"/>
              </a:lnSpc>
            </a:pPr>
            <a:r>
              <a:rPr altLang="en-US" lang="zh-CN" sz="1200">
                <a:solidFill>
                  <a:srgbClr val="616F83"/>
                </a:solidFill>
                <a:latin typeface="+mn-ea"/>
                <a:ea typeface="+mn-ea"/>
              </a:rPr>
              <a:t>……</a:t>
            </a:r>
          </a:p>
        </p:txBody>
      </p:sp>
      <p:cxnSp>
        <p:nvCxnSpPr>
          <p:cNvPr id="122" name="直接连接符 121">
            <a:extLst>
              <a:ext uri="{FF2B5EF4-FFF2-40B4-BE49-F238E27FC236}">
                <a16:creationId xmlns:a16="http://schemas.microsoft.com/office/drawing/2014/main" id="{1199BE79-0C53-46C3-B83B-4686696E773D}"/>
              </a:ext>
            </a:extLst>
          </p:cNvPr>
          <p:cNvCxnSpPr/>
          <p:nvPr/>
        </p:nvCxnSpPr>
        <p:spPr>
          <a:xfrm>
            <a:off x="1535229" y="5311036"/>
            <a:ext cx="912154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23" name="椭圆 122">
            <a:extLst>
              <a:ext uri="{FF2B5EF4-FFF2-40B4-BE49-F238E27FC236}">
                <a16:creationId xmlns:a16="http://schemas.microsoft.com/office/drawing/2014/main" id="{11DF1D05-3BCD-4754-BC54-0F603C8C997E}"/>
              </a:ext>
            </a:extLst>
          </p:cNvPr>
          <p:cNvSpPr/>
          <p:nvPr/>
        </p:nvSpPr>
        <p:spPr>
          <a:xfrm>
            <a:off x="2602367" y="5198301"/>
            <a:ext cx="266093" cy="266093"/>
          </a:xfrm>
          <a:prstGeom prst="ellipse">
            <a:avLst/>
          </a:prstGeom>
          <a:solidFill>
            <a:schemeClr val="bg1"/>
          </a:solidFill>
          <a:ln w="57150">
            <a:solidFill>
              <a:srgbClr val="FFE9B3"/>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124" name="椭圆 123">
            <a:extLst>
              <a:ext uri="{FF2B5EF4-FFF2-40B4-BE49-F238E27FC236}">
                <a16:creationId xmlns:a16="http://schemas.microsoft.com/office/drawing/2014/main" id="{A9322EDE-F2D9-4D6C-9856-130026E26BC0}"/>
              </a:ext>
            </a:extLst>
          </p:cNvPr>
          <p:cNvSpPr/>
          <p:nvPr/>
        </p:nvSpPr>
        <p:spPr>
          <a:xfrm>
            <a:off x="5962954" y="5198301"/>
            <a:ext cx="266093" cy="266093"/>
          </a:xfrm>
          <a:prstGeom prst="ellipse">
            <a:avLst/>
          </a:prstGeom>
          <a:solidFill>
            <a:schemeClr val="bg1"/>
          </a:solidFill>
          <a:ln w="57150">
            <a:solidFill>
              <a:srgbClr val="A0CBD0"/>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125" name="椭圆 124">
            <a:extLst>
              <a:ext uri="{FF2B5EF4-FFF2-40B4-BE49-F238E27FC236}">
                <a16:creationId xmlns:a16="http://schemas.microsoft.com/office/drawing/2014/main" id="{0D7D128A-7B36-4F72-BB65-31AEF78B7EA0}"/>
              </a:ext>
            </a:extLst>
          </p:cNvPr>
          <p:cNvSpPr/>
          <p:nvPr/>
        </p:nvSpPr>
        <p:spPr>
          <a:xfrm>
            <a:off x="9466260" y="5198301"/>
            <a:ext cx="266093" cy="266093"/>
          </a:xfrm>
          <a:prstGeom prst="ellipse">
            <a:avLst/>
          </a:prstGeom>
          <a:solidFill>
            <a:schemeClr val="bg1"/>
          </a:solidFill>
          <a:ln w="57150">
            <a:solidFill>
              <a:srgbClr val="FAD3D4"/>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126" name="Title 20">
            <a:extLst>
              <a:ext uri="{FF2B5EF4-FFF2-40B4-BE49-F238E27FC236}">
                <a16:creationId xmlns:a16="http://schemas.microsoft.com/office/drawing/2014/main" id="{C0ACB9BC-3EEA-4156-A35A-F27B8288A762}"/>
              </a:ext>
            </a:extLst>
          </p:cNvPr>
          <p:cNvSpPr txBox="1"/>
          <p:nvPr/>
        </p:nvSpPr>
        <p:spPr>
          <a:xfrm>
            <a:off x="2051782" y="5641722"/>
            <a:ext cx="1321253" cy="274320"/>
          </a:xfrm>
          <a:prstGeom prst="rect">
            <a:avLst/>
          </a:prstGeom>
        </p:spPr>
        <p:txBody>
          <a:bodyPr anchor="ctr" bIns="0" lIns="121893" rIns="121893" rtlCol="0" tIns="0" vert="horz" wrap="square">
            <a:spAutoFit/>
          </a:bodyPr>
          <a:lstStyle>
            <a:lvl1pPr algn="ctr" defTabSz="457200" eaLnBrk="1" hangingPunct="1" latinLnBrk="0" rtl="0">
              <a:spcBef>
                <a:spcPct val="0"/>
              </a:spcBef>
              <a:buNone/>
              <a:defRPr kern="1200" sz="2900">
                <a:solidFill>
                  <a:schemeClr val="accent6"/>
                </a:solidFill>
                <a:latin typeface="Source Sans Pro ExtraLight"/>
                <a:ea typeface="+mj-ea"/>
                <a:cs typeface="Source Sans Pro ExtraLight"/>
              </a:defRPr>
            </a:lvl1pPr>
          </a:lstStyle>
          <a:p>
            <a:r>
              <a:rPr altLang="en-US" lang="zh-CN" sz="1800">
                <a:solidFill>
                  <a:srgbClr val="424B58"/>
                </a:solidFill>
                <a:latin typeface="+mn-ea"/>
                <a:ea typeface="+mn-ea"/>
                <a:cs typeface="Lato Regular"/>
              </a:rPr>
              <a:t>输入文本</a:t>
            </a:r>
          </a:p>
        </p:txBody>
      </p:sp>
      <p:sp>
        <p:nvSpPr>
          <p:cNvPr id="127" name="Title 20">
            <a:extLst>
              <a:ext uri="{FF2B5EF4-FFF2-40B4-BE49-F238E27FC236}">
                <a16:creationId xmlns:a16="http://schemas.microsoft.com/office/drawing/2014/main" id="{1E269D3A-F8FD-4E2E-B0E1-ED3AEF0C7C4B}"/>
              </a:ext>
            </a:extLst>
          </p:cNvPr>
          <p:cNvSpPr txBox="1"/>
          <p:nvPr/>
        </p:nvSpPr>
        <p:spPr>
          <a:xfrm>
            <a:off x="5435374" y="5641722"/>
            <a:ext cx="1321253" cy="274320"/>
          </a:xfrm>
          <a:prstGeom prst="rect">
            <a:avLst/>
          </a:prstGeom>
        </p:spPr>
        <p:txBody>
          <a:bodyPr anchor="ctr" bIns="0" lIns="121893" rIns="121893" rtlCol="0" tIns="0" vert="horz" wrap="square">
            <a:spAutoFit/>
          </a:bodyPr>
          <a:lstStyle>
            <a:lvl1pPr algn="ctr" defTabSz="457200" eaLnBrk="1" hangingPunct="1" latinLnBrk="0" rtl="0">
              <a:spcBef>
                <a:spcPct val="0"/>
              </a:spcBef>
              <a:buNone/>
              <a:defRPr kern="1200" sz="2900">
                <a:solidFill>
                  <a:schemeClr val="accent6"/>
                </a:solidFill>
                <a:latin typeface="Source Sans Pro ExtraLight"/>
                <a:ea typeface="+mj-ea"/>
                <a:cs typeface="Source Sans Pro ExtraLight"/>
              </a:defRPr>
            </a:lvl1pPr>
          </a:lstStyle>
          <a:p>
            <a:r>
              <a:rPr altLang="en-US" lang="zh-CN" sz="1800">
                <a:solidFill>
                  <a:srgbClr val="424B58"/>
                </a:solidFill>
                <a:latin typeface="+mn-ea"/>
                <a:ea typeface="+mn-ea"/>
                <a:cs typeface="Lato Regular"/>
              </a:rPr>
              <a:t>输入文本</a:t>
            </a:r>
          </a:p>
        </p:txBody>
      </p:sp>
      <p:sp>
        <p:nvSpPr>
          <p:cNvPr id="128" name="Title 20">
            <a:extLst>
              <a:ext uri="{FF2B5EF4-FFF2-40B4-BE49-F238E27FC236}">
                <a16:creationId xmlns:a16="http://schemas.microsoft.com/office/drawing/2014/main" id="{33569A11-A8A1-4D50-A100-D35C00E0A296}"/>
              </a:ext>
            </a:extLst>
          </p:cNvPr>
          <p:cNvSpPr txBox="1"/>
          <p:nvPr/>
        </p:nvSpPr>
        <p:spPr>
          <a:xfrm>
            <a:off x="8963731" y="5641722"/>
            <a:ext cx="1321253" cy="274320"/>
          </a:xfrm>
          <a:prstGeom prst="rect">
            <a:avLst/>
          </a:prstGeom>
        </p:spPr>
        <p:txBody>
          <a:bodyPr anchor="ctr" bIns="0" lIns="121893" rIns="121893" rtlCol="0" tIns="0" vert="horz" wrap="square">
            <a:spAutoFit/>
          </a:bodyPr>
          <a:lstStyle>
            <a:lvl1pPr algn="ctr" defTabSz="457200" eaLnBrk="1" hangingPunct="1" latinLnBrk="0" rtl="0">
              <a:spcBef>
                <a:spcPct val="0"/>
              </a:spcBef>
              <a:buNone/>
              <a:defRPr kern="1200" sz="2900">
                <a:solidFill>
                  <a:schemeClr val="accent6"/>
                </a:solidFill>
                <a:latin typeface="Source Sans Pro ExtraLight"/>
                <a:ea typeface="+mj-ea"/>
                <a:cs typeface="Source Sans Pro ExtraLight"/>
              </a:defRPr>
            </a:lvl1pPr>
          </a:lstStyle>
          <a:p>
            <a:r>
              <a:rPr altLang="en-US" lang="zh-CN" sz="1800">
                <a:solidFill>
                  <a:srgbClr val="424B58"/>
                </a:solidFill>
                <a:latin typeface="+mn-ea"/>
                <a:ea typeface="+mn-ea"/>
                <a:cs typeface="Lato Regular"/>
              </a:rPr>
              <a:t>输入文本</a:t>
            </a:r>
          </a:p>
        </p:txBody>
      </p:sp>
    </p:spTree>
    <p:extLst>
      <p:ext uri="{BB962C8B-B14F-4D97-AF65-F5344CB8AC3E}">
        <p14:creationId val="1275245461"/>
      </p:ext>
    </p:extLst>
  </p:cSld>
  <p:clrMapOvr>
    <a:masterClrMapping/>
  </p:clrMapOvr>
  <mc:AlternateContent>
    <mc:Choice Requires="p14">
      <p:transition p14:dur="1500" spd="slow">
        <p:random/>
      </p:transition>
    </mc:Choice>
    <mc:Fallback>
      <p:transition spd="slow">
        <p:random/>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decel="100000" fill="hold" grpId="0" id="5" nodeType="withEffect" presetClass="entr" presetID="50" presetSubtype="0">
                                  <p:stCondLst>
                                    <p:cond delay="0"/>
                                  </p:stCondLst>
                                  <p:childTnLst>
                                    <p:set>
                                      <p:cBhvr>
                                        <p:cTn dur="1" fill="hold" id="6">
                                          <p:stCondLst>
                                            <p:cond delay="0"/>
                                          </p:stCondLst>
                                        </p:cTn>
                                        <p:tgtEl>
                                          <p:spTgt spid="10"/>
                                        </p:tgtEl>
                                        <p:attrNameLst>
                                          <p:attrName>style.visibility</p:attrName>
                                        </p:attrNameLst>
                                      </p:cBhvr>
                                      <p:to>
                                        <p:strVal val="visible"/>
                                      </p:to>
                                    </p:set>
                                    <p:anim calcmode="lin" valueType="num">
                                      <p:cBhvr>
                                        <p:cTn dur="1000" fill="hold" id="7"/>
                                        <p:tgtEl>
                                          <p:spTgt spid="10"/>
                                        </p:tgtEl>
                                        <p:attrNameLst>
                                          <p:attrName>ppt_w</p:attrName>
                                        </p:attrNameLst>
                                      </p:cBhvr>
                                      <p:tavLst>
                                        <p:tav tm="0">
                                          <p:val>
                                            <p:strVal val="#ppt_w+.3"/>
                                          </p:val>
                                        </p:tav>
                                        <p:tav tm="100000">
                                          <p:val>
                                            <p:strVal val="#ppt_w"/>
                                          </p:val>
                                        </p:tav>
                                      </p:tavLst>
                                    </p:anim>
                                    <p:anim calcmode="lin" valueType="num">
                                      <p:cBhvr>
                                        <p:cTn dur="1000" fill="hold" id="8"/>
                                        <p:tgtEl>
                                          <p:spTgt spid="10"/>
                                        </p:tgtEl>
                                        <p:attrNameLst>
                                          <p:attrName>ppt_h</p:attrName>
                                        </p:attrNameLst>
                                      </p:cBhvr>
                                      <p:tavLst>
                                        <p:tav tm="0">
                                          <p:val>
                                            <p:strVal val="#ppt_h"/>
                                          </p:val>
                                        </p:tav>
                                        <p:tav tm="100000">
                                          <p:val>
                                            <p:strVal val="#ppt_h"/>
                                          </p:val>
                                        </p:tav>
                                      </p:tavLst>
                                    </p:anim>
                                    <p:animEffect filter="fade" transition="in">
                                      <p:cBhvr>
                                        <p:cTn dur="1000" id="9"/>
                                        <p:tgtEl>
                                          <p:spTgt spid="10"/>
                                        </p:tgtEl>
                                      </p:cBhvr>
                                    </p:animEffect>
                                  </p:childTnLst>
                                </p:cTn>
                              </p:par>
                              <p:par>
                                <p:cTn fill="hold" id="10" nodeType="withEffect" presetClass="entr" presetID="53" presetSubtype="0">
                                  <p:stCondLst>
                                    <p:cond delay="250"/>
                                  </p:stCondLst>
                                  <p:childTnLst>
                                    <p:set>
                                      <p:cBhvr>
                                        <p:cTn dur="1" fill="hold" id="11">
                                          <p:stCondLst>
                                            <p:cond delay="0"/>
                                          </p:stCondLst>
                                        </p:cTn>
                                        <p:tgtEl>
                                          <p:spTgt spid="15"/>
                                        </p:tgtEl>
                                        <p:attrNameLst>
                                          <p:attrName>style.visibility</p:attrName>
                                        </p:attrNameLst>
                                      </p:cBhvr>
                                      <p:to>
                                        <p:strVal val="visible"/>
                                      </p:to>
                                    </p:set>
                                    <p:anim calcmode="lin" valueType="num">
                                      <p:cBhvr>
                                        <p:cTn dur="500" fill="hold" id="12"/>
                                        <p:tgtEl>
                                          <p:spTgt spid="15"/>
                                        </p:tgtEl>
                                        <p:attrNameLst>
                                          <p:attrName>ppt_w</p:attrName>
                                        </p:attrNameLst>
                                      </p:cBhvr>
                                      <p:tavLst>
                                        <p:tav tm="0">
                                          <p:val>
                                            <p:fltVal val="0"/>
                                          </p:val>
                                        </p:tav>
                                        <p:tav tm="100000">
                                          <p:val>
                                            <p:strVal val="#ppt_w"/>
                                          </p:val>
                                        </p:tav>
                                      </p:tavLst>
                                    </p:anim>
                                    <p:anim calcmode="lin" valueType="num">
                                      <p:cBhvr>
                                        <p:cTn dur="500" fill="hold" id="13"/>
                                        <p:tgtEl>
                                          <p:spTgt spid="15"/>
                                        </p:tgtEl>
                                        <p:attrNameLst>
                                          <p:attrName>ppt_h</p:attrName>
                                        </p:attrNameLst>
                                      </p:cBhvr>
                                      <p:tavLst>
                                        <p:tav tm="0">
                                          <p:val>
                                            <p:fltVal val="0"/>
                                          </p:val>
                                        </p:tav>
                                        <p:tav tm="100000">
                                          <p:val>
                                            <p:strVal val="#ppt_h"/>
                                          </p:val>
                                        </p:tav>
                                      </p:tavLst>
                                    </p:anim>
                                    <p:animEffect filter="fade" transition="in">
                                      <p:cBhvr>
                                        <p:cTn dur="500" id="14"/>
                                        <p:tgtEl>
                                          <p:spTgt spid="15"/>
                                        </p:tgtEl>
                                      </p:cBhvr>
                                    </p:animEffect>
                                  </p:childTnLst>
                                </p:cTn>
                              </p:par>
                              <p:par>
                                <p:cTn fill="hold" id="15" nodeType="withEffect" presetClass="entr" presetID="53" presetSubtype="0">
                                  <p:stCondLst>
                                    <p:cond delay="250"/>
                                  </p:stCondLst>
                                  <p:childTnLst>
                                    <p:set>
                                      <p:cBhvr>
                                        <p:cTn dur="1" fill="hold" id="16">
                                          <p:stCondLst>
                                            <p:cond delay="0"/>
                                          </p:stCondLst>
                                        </p:cTn>
                                        <p:tgtEl>
                                          <p:spTgt spid="16"/>
                                        </p:tgtEl>
                                        <p:attrNameLst>
                                          <p:attrName>style.visibility</p:attrName>
                                        </p:attrNameLst>
                                      </p:cBhvr>
                                      <p:to>
                                        <p:strVal val="visible"/>
                                      </p:to>
                                    </p:set>
                                    <p:anim calcmode="lin" valueType="num">
                                      <p:cBhvr>
                                        <p:cTn dur="500" fill="hold" id="17"/>
                                        <p:tgtEl>
                                          <p:spTgt spid="16"/>
                                        </p:tgtEl>
                                        <p:attrNameLst>
                                          <p:attrName>ppt_w</p:attrName>
                                        </p:attrNameLst>
                                      </p:cBhvr>
                                      <p:tavLst>
                                        <p:tav tm="0">
                                          <p:val>
                                            <p:fltVal val="0"/>
                                          </p:val>
                                        </p:tav>
                                        <p:tav tm="100000">
                                          <p:val>
                                            <p:strVal val="#ppt_w"/>
                                          </p:val>
                                        </p:tav>
                                      </p:tavLst>
                                    </p:anim>
                                    <p:anim calcmode="lin" valueType="num">
                                      <p:cBhvr>
                                        <p:cTn dur="500" fill="hold" id="18"/>
                                        <p:tgtEl>
                                          <p:spTgt spid="16"/>
                                        </p:tgtEl>
                                        <p:attrNameLst>
                                          <p:attrName>ppt_h</p:attrName>
                                        </p:attrNameLst>
                                      </p:cBhvr>
                                      <p:tavLst>
                                        <p:tav tm="0">
                                          <p:val>
                                            <p:fltVal val="0"/>
                                          </p:val>
                                        </p:tav>
                                        <p:tav tm="100000">
                                          <p:val>
                                            <p:strVal val="#ppt_h"/>
                                          </p:val>
                                        </p:tav>
                                      </p:tavLst>
                                    </p:anim>
                                    <p:animEffect filter="fade" transition="in">
                                      <p:cBhvr>
                                        <p:cTn dur="500" id="19"/>
                                        <p:tgtEl>
                                          <p:spTgt spid="16"/>
                                        </p:tgtEl>
                                      </p:cBhvr>
                                    </p:animEffect>
                                  </p:childTnLst>
                                </p:cTn>
                              </p:par>
                              <p:par>
                                <p:cTn fill="hold" id="20" nodeType="withEffect" presetClass="entr" presetID="22" presetSubtype="8">
                                  <p:stCondLst>
                                    <p:cond delay="750"/>
                                  </p:stCondLst>
                                  <p:childTnLst>
                                    <p:set>
                                      <p:cBhvr>
                                        <p:cTn dur="1" fill="hold" id="21">
                                          <p:stCondLst>
                                            <p:cond delay="0"/>
                                          </p:stCondLst>
                                        </p:cTn>
                                        <p:tgtEl>
                                          <p:spTgt spid="13"/>
                                        </p:tgtEl>
                                        <p:attrNameLst>
                                          <p:attrName>style.visibility</p:attrName>
                                        </p:attrNameLst>
                                      </p:cBhvr>
                                      <p:to>
                                        <p:strVal val="visible"/>
                                      </p:to>
                                    </p:set>
                                    <p:animEffect filter="wipe(left)" transition="in">
                                      <p:cBhvr>
                                        <p:cTn dur="250" id="22"/>
                                        <p:tgtEl>
                                          <p:spTgt spid="13"/>
                                        </p:tgtEl>
                                      </p:cBhvr>
                                    </p:animEffect>
                                  </p:childTnLst>
                                </p:cTn>
                              </p:par>
                              <p:par>
                                <p:cTn fill="hold" id="23" nodeType="withEffect" presetClass="entr" presetID="22" presetSubtype="2">
                                  <p:stCondLst>
                                    <p:cond delay="750"/>
                                  </p:stCondLst>
                                  <p:childTnLst>
                                    <p:set>
                                      <p:cBhvr>
                                        <p:cTn dur="1" fill="hold" id="24">
                                          <p:stCondLst>
                                            <p:cond delay="0"/>
                                          </p:stCondLst>
                                        </p:cTn>
                                        <p:tgtEl>
                                          <p:spTgt spid="18"/>
                                        </p:tgtEl>
                                        <p:attrNameLst>
                                          <p:attrName>style.visibility</p:attrName>
                                        </p:attrNameLst>
                                      </p:cBhvr>
                                      <p:to>
                                        <p:strVal val="visible"/>
                                      </p:to>
                                    </p:set>
                                    <p:animEffect filter="wipe(right)" transition="in">
                                      <p:cBhvr>
                                        <p:cTn dur="250" id="25"/>
                                        <p:tgtEl>
                                          <p:spTgt spid="18"/>
                                        </p:tgtEl>
                                      </p:cBhvr>
                                    </p:animEffect>
                                  </p:childTnLst>
                                </p:cTn>
                              </p:par>
                            </p:childTnLst>
                          </p:cTn>
                        </p:par>
                        <p:par>
                          <p:cTn fill="hold" id="26" nodeType="afterGroup">
                            <p:stCondLst>
                              <p:cond delay="1000"/>
                            </p:stCondLst>
                            <p:childTnLst>
                              <p:par>
                                <p:cTn fill="hold" id="27" nodeType="afterEffect" presetClass="entr" presetID="16" presetSubtype="21">
                                  <p:stCondLst>
                                    <p:cond delay="0"/>
                                  </p:stCondLst>
                                  <p:childTnLst>
                                    <p:set>
                                      <p:cBhvr>
                                        <p:cTn dur="1" fill="hold" id="28">
                                          <p:stCondLst>
                                            <p:cond delay="0"/>
                                          </p:stCondLst>
                                        </p:cTn>
                                        <p:tgtEl>
                                          <p:spTgt spid="122"/>
                                        </p:tgtEl>
                                        <p:attrNameLst>
                                          <p:attrName>style.visibility</p:attrName>
                                        </p:attrNameLst>
                                      </p:cBhvr>
                                      <p:to>
                                        <p:strVal val="visible"/>
                                      </p:to>
                                    </p:set>
                                    <p:animEffect filter="barn(inVertical)" transition="in">
                                      <p:cBhvr>
                                        <p:cTn dur="500" id="29"/>
                                        <p:tgtEl>
                                          <p:spTgt spid="122"/>
                                        </p:tgtEl>
                                      </p:cBhvr>
                                    </p:animEffect>
                                  </p:childTnLst>
                                </p:cTn>
                              </p:par>
                            </p:childTnLst>
                          </p:cTn>
                        </p:par>
                        <p:par>
                          <p:cTn fill="hold" id="30" nodeType="afterGroup">
                            <p:stCondLst>
                              <p:cond delay="1500"/>
                            </p:stCondLst>
                            <p:childTnLst>
                              <p:par>
                                <p:cTn fill="hold" grpId="0" id="31" nodeType="afterEffect" presetClass="entr" presetID="53" presetSubtype="0">
                                  <p:stCondLst>
                                    <p:cond delay="0"/>
                                  </p:stCondLst>
                                  <p:childTnLst>
                                    <p:set>
                                      <p:cBhvr>
                                        <p:cTn dur="1" fill="hold" id="32">
                                          <p:stCondLst>
                                            <p:cond delay="0"/>
                                          </p:stCondLst>
                                        </p:cTn>
                                        <p:tgtEl>
                                          <p:spTgt spid="123"/>
                                        </p:tgtEl>
                                        <p:attrNameLst>
                                          <p:attrName>style.visibility</p:attrName>
                                        </p:attrNameLst>
                                      </p:cBhvr>
                                      <p:to>
                                        <p:strVal val="visible"/>
                                      </p:to>
                                    </p:set>
                                    <p:anim calcmode="lin" valueType="num">
                                      <p:cBhvr>
                                        <p:cTn dur="500" fill="hold" id="33"/>
                                        <p:tgtEl>
                                          <p:spTgt spid="123"/>
                                        </p:tgtEl>
                                        <p:attrNameLst>
                                          <p:attrName>ppt_w</p:attrName>
                                        </p:attrNameLst>
                                      </p:cBhvr>
                                      <p:tavLst>
                                        <p:tav tm="0">
                                          <p:val>
                                            <p:fltVal val="0"/>
                                          </p:val>
                                        </p:tav>
                                        <p:tav tm="100000">
                                          <p:val>
                                            <p:strVal val="#ppt_w"/>
                                          </p:val>
                                        </p:tav>
                                      </p:tavLst>
                                    </p:anim>
                                    <p:anim calcmode="lin" valueType="num">
                                      <p:cBhvr>
                                        <p:cTn dur="500" fill="hold" id="34"/>
                                        <p:tgtEl>
                                          <p:spTgt spid="123"/>
                                        </p:tgtEl>
                                        <p:attrNameLst>
                                          <p:attrName>ppt_h</p:attrName>
                                        </p:attrNameLst>
                                      </p:cBhvr>
                                      <p:tavLst>
                                        <p:tav tm="0">
                                          <p:val>
                                            <p:fltVal val="0"/>
                                          </p:val>
                                        </p:tav>
                                        <p:tav tm="100000">
                                          <p:val>
                                            <p:strVal val="#ppt_h"/>
                                          </p:val>
                                        </p:tav>
                                      </p:tavLst>
                                    </p:anim>
                                    <p:animEffect filter="fade" transition="in">
                                      <p:cBhvr>
                                        <p:cTn dur="500" id="35"/>
                                        <p:tgtEl>
                                          <p:spTgt spid="123"/>
                                        </p:tgtEl>
                                      </p:cBhvr>
                                    </p:animEffect>
                                  </p:childTnLst>
                                </p:cTn>
                              </p:par>
                            </p:childTnLst>
                          </p:cTn>
                        </p:par>
                        <p:par>
                          <p:cTn fill="hold" id="36" nodeType="afterGroup">
                            <p:stCondLst>
                              <p:cond delay="2000"/>
                            </p:stCondLst>
                            <p:childTnLst>
                              <p:par>
                                <p:cTn fill="hold" grpId="0" id="37" nodeType="afterEffect" presetClass="entr" presetID="53" presetSubtype="0">
                                  <p:stCondLst>
                                    <p:cond delay="0"/>
                                  </p:stCondLst>
                                  <p:childTnLst>
                                    <p:set>
                                      <p:cBhvr>
                                        <p:cTn dur="1" fill="hold" id="38">
                                          <p:stCondLst>
                                            <p:cond delay="0"/>
                                          </p:stCondLst>
                                        </p:cTn>
                                        <p:tgtEl>
                                          <p:spTgt spid="126"/>
                                        </p:tgtEl>
                                        <p:attrNameLst>
                                          <p:attrName>style.visibility</p:attrName>
                                        </p:attrNameLst>
                                      </p:cBhvr>
                                      <p:to>
                                        <p:strVal val="visible"/>
                                      </p:to>
                                    </p:set>
                                    <p:anim calcmode="lin" valueType="num">
                                      <p:cBhvr>
                                        <p:cTn dur="500" fill="hold" id="39"/>
                                        <p:tgtEl>
                                          <p:spTgt spid="126"/>
                                        </p:tgtEl>
                                        <p:attrNameLst>
                                          <p:attrName>ppt_w</p:attrName>
                                        </p:attrNameLst>
                                      </p:cBhvr>
                                      <p:tavLst>
                                        <p:tav tm="0">
                                          <p:val>
                                            <p:fltVal val="0"/>
                                          </p:val>
                                        </p:tav>
                                        <p:tav tm="100000">
                                          <p:val>
                                            <p:strVal val="#ppt_w"/>
                                          </p:val>
                                        </p:tav>
                                      </p:tavLst>
                                    </p:anim>
                                    <p:anim calcmode="lin" valueType="num">
                                      <p:cBhvr>
                                        <p:cTn dur="500" fill="hold" id="40"/>
                                        <p:tgtEl>
                                          <p:spTgt spid="126"/>
                                        </p:tgtEl>
                                        <p:attrNameLst>
                                          <p:attrName>ppt_h</p:attrName>
                                        </p:attrNameLst>
                                      </p:cBhvr>
                                      <p:tavLst>
                                        <p:tav tm="0">
                                          <p:val>
                                            <p:fltVal val="0"/>
                                          </p:val>
                                        </p:tav>
                                        <p:tav tm="100000">
                                          <p:val>
                                            <p:strVal val="#ppt_h"/>
                                          </p:val>
                                        </p:tav>
                                      </p:tavLst>
                                    </p:anim>
                                    <p:animEffect filter="fade" transition="in">
                                      <p:cBhvr>
                                        <p:cTn dur="500" id="41"/>
                                        <p:tgtEl>
                                          <p:spTgt spid="126"/>
                                        </p:tgtEl>
                                      </p:cBhvr>
                                    </p:animEffect>
                                  </p:childTnLst>
                                </p:cTn>
                              </p:par>
                              <p:par>
                                <p:cTn fill="hold" id="42" nodeType="withEffect" presetClass="entr" presetID="42" presetSubtype="0">
                                  <p:stCondLst>
                                    <p:cond delay="0"/>
                                  </p:stCondLst>
                                  <p:childTnLst>
                                    <p:set>
                                      <p:cBhvr>
                                        <p:cTn dur="1" fill="hold" id="43">
                                          <p:stCondLst>
                                            <p:cond delay="0"/>
                                          </p:stCondLst>
                                        </p:cTn>
                                        <p:tgtEl>
                                          <p:spTgt spid="80"/>
                                        </p:tgtEl>
                                        <p:attrNameLst>
                                          <p:attrName>style.visibility</p:attrName>
                                        </p:attrNameLst>
                                      </p:cBhvr>
                                      <p:to>
                                        <p:strVal val="visible"/>
                                      </p:to>
                                    </p:set>
                                    <p:animEffect filter="fade" transition="in">
                                      <p:cBhvr>
                                        <p:cTn dur="1000" id="44"/>
                                        <p:tgtEl>
                                          <p:spTgt spid="80"/>
                                        </p:tgtEl>
                                      </p:cBhvr>
                                    </p:animEffect>
                                    <p:anim calcmode="lin" valueType="num">
                                      <p:cBhvr>
                                        <p:cTn dur="1000" fill="hold" id="45"/>
                                        <p:tgtEl>
                                          <p:spTgt spid="80"/>
                                        </p:tgtEl>
                                        <p:attrNameLst>
                                          <p:attrName>ppt_x</p:attrName>
                                        </p:attrNameLst>
                                      </p:cBhvr>
                                      <p:tavLst>
                                        <p:tav tm="0">
                                          <p:val>
                                            <p:strVal val="#ppt_x"/>
                                          </p:val>
                                        </p:tav>
                                        <p:tav tm="100000">
                                          <p:val>
                                            <p:strVal val="#ppt_x"/>
                                          </p:val>
                                        </p:tav>
                                      </p:tavLst>
                                    </p:anim>
                                    <p:anim calcmode="lin" valueType="num">
                                      <p:cBhvr>
                                        <p:cTn dur="1000" fill="hold" id="46"/>
                                        <p:tgtEl>
                                          <p:spTgt spid="80"/>
                                        </p:tgtEl>
                                        <p:attrNameLst>
                                          <p:attrName>ppt_y</p:attrName>
                                        </p:attrNameLst>
                                      </p:cBhvr>
                                      <p:tavLst>
                                        <p:tav tm="0">
                                          <p:val>
                                            <p:strVal val="#ppt_y+.1"/>
                                          </p:val>
                                        </p:tav>
                                        <p:tav tm="100000">
                                          <p:val>
                                            <p:strVal val="#ppt_y"/>
                                          </p:val>
                                        </p:tav>
                                      </p:tavLst>
                                    </p:anim>
                                  </p:childTnLst>
                                </p:cTn>
                              </p:par>
                            </p:childTnLst>
                          </p:cTn>
                        </p:par>
                        <p:par>
                          <p:cTn fill="hold" id="47" nodeType="afterGroup">
                            <p:stCondLst>
                              <p:cond delay="3000"/>
                            </p:stCondLst>
                            <p:childTnLst>
                              <p:par>
                                <p:cTn fill="hold" grpId="0" id="48" nodeType="afterEffect" presetClass="entr" presetID="22" presetSubtype="8">
                                  <p:stCondLst>
                                    <p:cond delay="0"/>
                                  </p:stCondLst>
                                  <p:childTnLst>
                                    <p:set>
                                      <p:cBhvr>
                                        <p:cTn dur="1" fill="hold" id="49">
                                          <p:stCondLst>
                                            <p:cond delay="0"/>
                                          </p:stCondLst>
                                        </p:cTn>
                                        <p:tgtEl>
                                          <p:spTgt spid="116"/>
                                        </p:tgtEl>
                                        <p:attrNameLst>
                                          <p:attrName>style.visibility</p:attrName>
                                        </p:attrNameLst>
                                      </p:cBhvr>
                                      <p:to>
                                        <p:strVal val="visible"/>
                                      </p:to>
                                    </p:set>
                                    <p:animEffect filter="wipe(left)" transition="in">
                                      <p:cBhvr>
                                        <p:cTn dur="500" id="50"/>
                                        <p:tgtEl>
                                          <p:spTgt spid="116"/>
                                        </p:tgtEl>
                                      </p:cBhvr>
                                    </p:animEffect>
                                  </p:childTnLst>
                                </p:cTn>
                              </p:par>
                              <p:par>
                                <p:cTn fill="hold" grpId="0" id="51" nodeType="withEffect" presetClass="entr" presetID="14" presetSubtype="10">
                                  <p:stCondLst>
                                    <p:cond delay="0"/>
                                  </p:stCondLst>
                                  <p:childTnLst>
                                    <p:set>
                                      <p:cBhvr>
                                        <p:cTn dur="1" fill="hold" id="52">
                                          <p:stCondLst>
                                            <p:cond delay="0"/>
                                          </p:stCondLst>
                                        </p:cTn>
                                        <p:tgtEl>
                                          <p:spTgt spid="117"/>
                                        </p:tgtEl>
                                        <p:attrNameLst>
                                          <p:attrName>style.visibility</p:attrName>
                                        </p:attrNameLst>
                                      </p:cBhvr>
                                      <p:to>
                                        <p:strVal val="visible"/>
                                      </p:to>
                                    </p:set>
                                    <p:animEffect filter="randombar(horizontal)" transition="in">
                                      <p:cBhvr>
                                        <p:cTn dur="500" id="53"/>
                                        <p:tgtEl>
                                          <p:spTgt spid="117"/>
                                        </p:tgtEl>
                                      </p:cBhvr>
                                    </p:animEffect>
                                  </p:childTnLst>
                                </p:cTn>
                              </p:par>
                            </p:childTnLst>
                          </p:cTn>
                        </p:par>
                        <p:par>
                          <p:cTn fill="hold" id="54" nodeType="afterGroup">
                            <p:stCondLst>
                              <p:cond delay="3500"/>
                            </p:stCondLst>
                            <p:childTnLst>
                              <p:par>
                                <p:cTn fill="hold" grpId="0" id="55" nodeType="afterEffect" presetClass="entr" presetID="53" presetSubtype="0">
                                  <p:stCondLst>
                                    <p:cond delay="0"/>
                                  </p:stCondLst>
                                  <p:childTnLst>
                                    <p:set>
                                      <p:cBhvr>
                                        <p:cTn dur="1" fill="hold" id="56">
                                          <p:stCondLst>
                                            <p:cond delay="0"/>
                                          </p:stCondLst>
                                        </p:cTn>
                                        <p:tgtEl>
                                          <p:spTgt spid="124"/>
                                        </p:tgtEl>
                                        <p:attrNameLst>
                                          <p:attrName>style.visibility</p:attrName>
                                        </p:attrNameLst>
                                      </p:cBhvr>
                                      <p:to>
                                        <p:strVal val="visible"/>
                                      </p:to>
                                    </p:set>
                                    <p:anim calcmode="lin" valueType="num">
                                      <p:cBhvr>
                                        <p:cTn dur="500" fill="hold" id="57"/>
                                        <p:tgtEl>
                                          <p:spTgt spid="124"/>
                                        </p:tgtEl>
                                        <p:attrNameLst>
                                          <p:attrName>ppt_w</p:attrName>
                                        </p:attrNameLst>
                                      </p:cBhvr>
                                      <p:tavLst>
                                        <p:tav tm="0">
                                          <p:val>
                                            <p:fltVal val="0"/>
                                          </p:val>
                                        </p:tav>
                                        <p:tav tm="100000">
                                          <p:val>
                                            <p:strVal val="#ppt_w"/>
                                          </p:val>
                                        </p:tav>
                                      </p:tavLst>
                                    </p:anim>
                                    <p:anim calcmode="lin" valueType="num">
                                      <p:cBhvr>
                                        <p:cTn dur="500" fill="hold" id="58"/>
                                        <p:tgtEl>
                                          <p:spTgt spid="124"/>
                                        </p:tgtEl>
                                        <p:attrNameLst>
                                          <p:attrName>ppt_h</p:attrName>
                                        </p:attrNameLst>
                                      </p:cBhvr>
                                      <p:tavLst>
                                        <p:tav tm="0">
                                          <p:val>
                                            <p:fltVal val="0"/>
                                          </p:val>
                                        </p:tav>
                                        <p:tav tm="100000">
                                          <p:val>
                                            <p:strVal val="#ppt_h"/>
                                          </p:val>
                                        </p:tav>
                                      </p:tavLst>
                                    </p:anim>
                                    <p:animEffect filter="fade" transition="in">
                                      <p:cBhvr>
                                        <p:cTn dur="500" id="59"/>
                                        <p:tgtEl>
                                          <p:spTgt spid="124"/>
                                        </p:tgtEl>
                                      </p:cBhvr>
                                    </p:animEffect>
                                  </p:childTnLst>
                                </p:cTn>
                              </p:par>
                            </p:childTnLst>
                          </p:cTn>
                        </p:par>
                        <p:par>
                          <p:cTn fill="hold" id="60" nodeType="afterGroup">
                            <p:stCondLst>
                              <p:cond delay="4000"/>
                            </p:stCondLst>
                            <p:childTnLst>
                              <p:par>
                                <p:cTn fill="hold" grpId="0" id="61" nodeType="afterEffect" presetClass="entr" presetID="53" presetSubtype="0">
                                  <p:stCondLst>
                                    <p:cond delay="0"/>
                                  </p:stCondLst>
                                  <p:childTnLst>
                                    <p:set>
                                      <p:cBhvr>
                                        <p:cTn dur="1" fill="hold" id="62">
                                          <p:stCondLst>
                                            <p:cond delay="0"/>
                                          </p:stCondLst>
                                        </p:cTn>
                                        <p:tgtEl>
                                          <p:spTgt spid="127"/>
                                        </p:tgtEl>
                                        <p:attrNameLst>
                                          <p:attrName>style.visibility</p:attrName>
                                        </p:attrNameLst>
                                      </p:cBhvr>
                                      <p:to>
                                        <p:strVal val="visible"/>
                                      </p:to>
                                    </p:set>
                                    <p:anim calcmode="lin" valueType="num">
                                      <p:cBhvr>
                                        <p:cTn dur="500" fill="hold" id="63"/>
                                        <p:tgtEl>
                                          <p:spTgt spid="127"/>
                                        </p:tgtEl>
                                        <p:attrNameLst>
                                          <p:attrName>ppt_w</p:attrName>
                                        </p:attrNameLst>
                                      </p:cBhvr>
                                      <p:tavLst>
                                        <p:tav tm="0">
                                          <p:val>
                                            <p:fltVal val="0"/>
                                          </p:val>
                                        </p:tav>
                                        <p:tav tm="100000">
                                          <p:val>
                                            <p:strVal val="#ppt_w"/>
                                          </p:val>
                                        </p:tav>
                                      </p:tavLst>
                                    </p:anim>
                                    <p:anim calcmode="lin" valueType="num">
                                      <p:cBhvr>
                                        <p:cTn dur="500" fill="hold" id="64"/>
                                        <p:tgtEl>
                                          <p:spTgt spid="127"/>
                                        </p:tgtEl>
                                        <p:attrNameLst>
                                          <p:attrName>ppt_h</p:attrName>
                                        </p:attrNameLst>
                                      </p:cBhvr>
                                      <p:tavLst>
                                        <p:tav tm="0">
                                          <p:val>
                                            <p:fltVal val="0"/>
                                          </p:val>
                                        </p:tav>
                                        <p:tav tm="100000">
                                          <p:val>
                                            <p:strVal val="#ppt_h"/>
                                          </p:val>
                                        </p:tav>
                                      </p:tavLst>
                                    </p:anim>
                                    <p:animEffect filter="fade" transition="in">
                                      <p:cBhvr>
                                        <p:cTn dur="500" id="65"/>
                                        <p:tgtEl>
                                          <p:spTgt spid="127"/>
                                        </p:tgtEl>
                                      </p:cBhvr>
                                    </p:animEffect>
                                  </p:childTnLst>
                                </p:cTn>
                              </p:par>
                              <p:par>
                                <p:cTn fill="hold" id="66" nodeType="withEffect" presetClass="entr" presetID="42" presetSubtype="0">
                                  <p:stCondLst>
                                    <p:cond delay="0"/>
                                  </p:stCondLst>
                                  <p:childTnLst>
                                    <p:set>
                                      <p:cBhvr>
                                        <p:cTn dur="1" fill="hold" id="67">
                                          <p:stCondLst>
                                            <p:cond delay="0"/>
                                          </p:stCondLst>
                                        </p:cTn>
                                        <p:tgtEl>
                                          <p:spTgt spid="92"/>
                                        </p:tgtEl>
                                        <p:attrNameLst>
                                          <p:attrName>style.visibility</p:attrName>
                                        </p:attrNameLst>
                                      </p:cBhvr>
                                      <p:to>
                                        <p:strVal val="visible"/>
                                      </p:to>
                                    </p:set>
                                    <p:animEffect filter="fade" transition="in">
                                      <p:cBhvr>
                                        <p:cTn dur="1000" id="68"/>
                                        <p:tgtEl>
                                          <p:spTgt spid="92"/>
                                        </p:tgtEl>
                                      </p:cBhvr>
                                    </p:animEffect>
                                    <p:anim calcmode="lin" valueType="num">
                                      <p:cBhvr>
                                        <p:cTn dur="1000" fill="hold" id="69"/>
                                        <p:tgtEl>
                                          <p:spTgt spid="92"/>
                                        </p:tgtEl>
                                        <p:attrNameLst>
                                          <p:attrName>ppt_x</p:attrName>
                                        </p:attrNameLst>
                                      </p:cBhvr>
                                      <p:tavLst>
                                        <p:tav tm="0">
                                          <p:val>
                                            <p:strVal val="#ppt_x"/>
                                          </p:val>
                                        </p:tav>
                                        <p:tav tm="100000">
                                          <p:val>
                                            <p:strVal val="#ppt_x"/>
                                          </p:val>
                                        </p:tav>
                                      </p:tavLst>
                                    </p:anim>
                                    <p:anim calcmode="lin" valueType="num">
                                      <p:cBhvr>
                                        <p:cTn dur="1000" fill="hold" id="70"/>
                                        <p:tgtEl>
                                          <p:spTgt spid="92"/>
                                        </p:tgtEl>
                                        <p:attrNameLst>
                                          <p:attrName>ppt_y</p:attrName>
                                        </p:attrNameLst>
                                      </p:cBhvr>
                                      <p:tavLst>
                                        <p:tav tm="0">
                                          <p:val>
                                            <p:strVal val="#ppt_y+.1"/>
                                          </p:val>
                                        </p:tav>
                                        <p:tav tm="100000">
                                          <p:val>
                                            <p:strVal val="#ppt_y"/>
                                          </p:val>
                                        </p:tav>
                                      </p:tavLst>
                                    </p:anim>
                                  </p:childTnLst>
                                </p:cTn>
                              </p:par>
                            </p:childTnLst>
                          </p:cTn>
                        </p:par>
                        <p:par>
                          <p:cTn fill="hold" id="71" nodeType="afterGroup">
                            <p:stCondLst>
                              <p:cond delay="5000"/>
                            </p:stCondLst>
                            <p:childTnLst>
                              <p:par>
                                <p:cTn fill="hold" grpId="0" id="72" nodeType="afterEffect" presetClass="entr" presetID="22" presetSubtype="8">
                                  <p:stCondLst>
                                    <p:cond delay="0"/>
                                  </p:stCondLst>
                                  <p:childTnLst>
                                    <p:set>
                                      <p:cBhvr>
                                        <p:cTn dur="1" fill="hold" id="73">
                                          <p:stCondLst>
                                            <p:cond delay="0"/>
                                          </p:stCondLst>
                                        </p:cTn>
                                        <p:tgtEl>
                                          <p:spTgt spid="118"/>
                                        </p:tgtEl>
                                        <p:attrNameLst>
                                          <p:attrName>style.visibility</p:attrName>
                                        </p:attrNameLst>
                                      </p:cBhvr>
                                      <p:to>
                                        <p:strVal val="visible"/>
                                      </p:to>
                                    </p:set>
                                    <p:animEffect filter="wipe(left)" transition="in">
                                      <p:cBhvr>
                                        <p:cTn dur="500" id="74"/>
                                        <p:tgtEl>
                                          <p:spTgt spid="118"/>
                                        </p:tgtEl>
                                      </p:cBhvr>
                                    </p:animEffect>
                                  </p:childTnLst>
                                </p:cTn>
                              </p:par>
                              <p:par>
                                <p:cTn fill="hold" grpId="0" id="75" nodeType="withEffect" presetClass="entr" presetID="14" presetSubtype="10">
                                  <p:stCondLst>
                                    <p:cond delay="0"/>
                                  </p:stCondLst>
                                  <p:childTnLst>
                                    <p:set>
                                      <p:cBhvr>
                                        <p:cTn dur="1" fill="hold" id="76">
                                          <p:stCondLst>
                                            <p:cond delay="0"/>
                                          </p:stCondLst>
                                        </p:cTn>
                                        <p:tgtEl>
                                          <p:spTgt spid="120"/>
                                        </p:tgtEl>
                                        <p:attrNameLst>
                                          <p:attrName>style.visibility</p:attrName>
                                        </p:attrNameLst>
                                      </p:cBhvr>
                                      <p:to>
                                        <p:strVal val="visible"/>
                                      </p:to>
                                    </p:set>
                                    <p:animEffect filter="randombar(horizontal)" transition="in">
                                      <p:cBhvr>
                                        <p:cTn dur="500" id="77"/>
                                        <p:tgtEl>
                                          <p:spTgt spid="120"/>
                                        </p:tgtEl>
                                      </p:cBhvr>
                                    </p:animEffect>
                                  </p:childTnLst>
                                </p:cTn>
                              </p:par>
                            </p:childTnLst>
                          </p:cTn>
                        </p:par>
                        <p:par>
                          <p:cTn fill="hold" id="78" nodeType="afterGroup">
                            <p:stCondLst>
                              <p:cond delay="5500"/>
                            </p:stCondLst>
                            <p:childTnLst>
                              <p:par>
                                <p:cTn fill="hold" grpId="0" id="79" nodeType="afterEffect" presetClass="entr" presetID="53" presetSubtype="0">
                                  <p:stCondLst>
                                    <p:cond delay="0"/>
                                  </p:stCondLst>
                                  <p:childTnLst>
                                    <p:set>
                                      <p:cBhvr>
                                        <p:cTn dur="1" fill="hold" id="80">
                                          <p:stCondLst>
                                            <p:cond delay="0"/>
                                          </p:stCondLst>
                                        </p:cTn>
                                        <p:tgtEl>
                                          <p:spTgt spid="125"/>
                                        </p:tgtEl>
                                        <p:attrNameLst>
                                          <p:attrName>style.visibility</p:attrName>
                                        </p:attrNameLst>
                                      </p:cBhvr>
                                      <p:to>
                                        <p:strVal val="visible"/>
                                      </p:to>
                                    </p:set>
                                    <p:anim calcmode="lin" valueType="num">
                                      <p:cBhvr>
                                        <p:cTn dur="500" fill="hold" id="81"/>
                                        <p:tgtEl>
                                          <p:spTgt spid="125"/>
                                        </p:tgtEl>
                                        <p:attrNameLst>
                                          <p:attrName>ppt_w</p:attrName>
                                        </p:attrNameLst>
                                      </p:cBhvr>
                                      <p:tavLst>
                                        <p:tav tm="0">
                                          <p:val>
                                            <p:fltVal val="0"/>
                                          </p:val>
                                        </p:tav>
                                        <p:tav tm="100000">
                                          <p:val>
                                            <p:strVal val="#ppt_w"/>
                                          </p:val>
                                        </p:tav>
                                      </p:tavLst>
                                    </p:anim>
                                    <p:anim calcmode="lin" valueType="num">
                                      <p:cBhvr>
                                        <p:cTn dur="500" fill="hold" id="82"/>
                                        <p:tgtEl>
                                          <p:spTgt spid="125"/>
                                        </p:tgtEl>
                                        <p:attrNameLst>
                                          <p:attrName>ppt_h</p:attrName>
                                        </p:attrNameLst>
                                      </p:cBhvr>
                                      <p:tavLst>
                                        <p:tav tm="0">
                                          <p:val>
                                            <p:fltVal val="0"/>
                                          </p:val>
                                        </p:tav>
                                        <p:tav tm="100000">
                                          <p:val>
                                            <p:strVal val="#ppt_h"/>
                                          </p:val>
                                        </p:tav>
                                      </p:tavLst>
                                    </p:anim>
                                    <p:animEffect filter="fade" transition="in">
                                      <p:cBhvr>
                                        <p:cTn dur="500" id="83"/>
                                        <p:tgtEl>
                                          <p:spTgt spid="125"/>
                                        </p:tgtEl>
                                      </p:cBhvr>
                                    </p:animEffect>
                                  </p:childTnLst>
                                </p:cTn>
                              </p:par>
                            </p:childTnLst>
                          </p:cTn>
                        </p:par>
                        <p:par>
                          <p:cTn fill="hold" id="84" nodeType="afterGroup">
                            <p:stCondLst>
                              <p:cond delay="6000"/>
                            </p:stCondLst>
                            <p:childTnLst>
                              <p:par>
                                <p:cTn fill="hold" grpId="0" id="85" nodeType="afterEffect" presetClass="entr" presetID="53" presetSubtype="0">
                                  <p:stCondLst>
                                    <p:cond delay="0"/>
                                  </p:stCondLst>
                                  <p:childTnLst>
                                    <p:set>
                                      <p:cBhvr>
                                        <p:cTn dur="1" fill="hold" id="86">
                                          <p:stCondLst>
                                            <p:cond delay="0"/>
                                          </p:stCondLst>
                                        </p:cTn>
                                        <p:tgtEl>
                                          <p:spTgt spid="128"/>
                                        </p:tgtEl>
                                        <p:attrNameLst>
                                          <p:attrName>style.visibility</p:attrName>
                                        </p:attrNameLst>
                                      </p:cBhvr>
                                      <p:to>
                                        <p:strVal val="visible"/>
                                      </p:to>
                                    </p:set>
                                    <p:anim calcmode="lin" valueType="num">
                                      <p:cBhvr>
                                        <p:cTn dur="500" fill="hold" id="87"/>
                                        <p:tgtEl>
                                          <p:spTgt spid="128"/>
                                        </p:tgtEl>
                                        <p:attrNameLst>
                                          <p:attrName>ppt_w</p:attrName>
                                        </p:attrNameLst>
                                      </p:cBhvr>
                                      <p:tavLst>
                                        <p:tav tm="0">
                                          <p:val>
                                            <p:fltVal val="0"/>
                                          </p:val>
                                        </p:tav>
                                        <p:tav tm="100000">
                                          <p:val>
                                            <p:strVal val="#ppt_w"/>
                                          </p:val>
                                        </p:tav>
                                      </p:tavLst>
                                    </p:anim>
                                    <p:anim calcmode="lin" valueType="num">
                                      <p:cBhvr>
                                        <p:cTn dur="500" fill="hold" id="88"/>
                                        <p:tgtEl>
                                          <p:spTgt spid="128"/>
                                        </p:tgtEl>
                                        <p:attrNameLst>
                                          <p:attrName>ppt_h</p:attrName>
                                        </p:attrNameLst>
                                      </p:cBhvr>
                                      <p:tavLst>
                                        <p:tav tm="0">
                                          <p:val>
                                            <p:fltVal val="0"/>
                                          </p:val>
                                        </p:tav>
                                        <p:tav tm="100000">
                                          <p:val>
                                            <p:strVal val="#ppt_h"/>
                                          </p:val>
                                        </p:tav>
                                      </p:tavLst>
                                    </p:anim>
                                    <p:animEffect filter="fade" transition="in">
                                      <p:cBhvr>
                                        <p:cTn dur="500" id="89"/>
                                        <p:tgtEl>
                                          <p:spTgt spid="128"/>
                                        </p:tgtEl>
                                      </p:cBhvr>
                                    </p:animEffect>
                                  </p:childTnLst>
                                </p:cTn>
                              </p:par>
                              <p:par>
                                <p:cTn fill="hold" id="90" nodeType="withEffect" presetClass="entr" presetID="42" presetSubtype="0">
                                  <p:stCondLst>
                                    <p:cond delay="0"/>
                                  </p:stCondLst>
                                  <p:childTnLst>
                                    <p:set>
                                      <p:cBhvr>
                                        <p:cTn dur="1" fill="hold" id="91">
                                          <p:stCondLst>
                                            <p:cond delay="0"/>
                                          </p:stCondLst>
                                        </p:cTn>
                                        <p:tgtEl>
                                          <p:spTgt spid="104"/>
                                        </p:tgtEl>
                                        <p:attrNameLst>
                                          <p:attrName>style.visibility</p:attrName>
                                        </p:attrNameLst>
                                      </p:cBhvr>
                                      <p:to>
                                        <p:strVal val="visible"/>
                                      </p:to>
                                    </p:set>
                                    <p:animEffect filter="fade" transition="in">
                                      <p:cBhvr>
                                        <p:cTn dur="1000" id="92"/>
                                        <p:tgtEl>
                                          <p:spTgt spid="104"/>
                                        </p:tgtEl>
                                      </p:cBhvr>
                                    </p:animEffect>
                                    <p:anim calcmode="lin" valueType="num">
                                      <p:cBhvr>
                                        <p:cTn dur="1000" fill="hold" id="93"/>
                                        <p:tgtEl>
                                          <p:spTgt spid="104"/>
                                        </p:tgtEl>
                                        <p:attrNameLst>
                                          <p:attrName>ppt_x</p:attrName>
                                        </p:attrNameLst>
                                      </p:cBhvr>
                                      <p:tavLst>
                                        <p:tav tm="0">
                                          <p:val>
                                            <p:strVal val="#ppt_x"/>
                                          </p:val>
                                        </p:tav>
                                        <p:tav tm="100000">
                                          <p:val>
                                            <p:strVal val="#ppt_x"/>
                                          </p:val>
                                        </p:tav>
                                      </p:tavLst>
                                    </p:anim>
                                    <p:anim calcmode="lin" valueType="num">
                                      <p:cBhvr>
                                        <p:cTn dur="1000" fill="hold" id="94"/>
                                        <p:tgtEl>
                                          <p:spTgt spid="104"/>
                                        </p:tgtEl>
                                        <p:attrNameLst>
                                          <p:attrName>ppt_y</p:attrName>
                                        </p:attrNameLst>
                                      </p:cBhvr>
                                      <p:tavLst>
                                        <p:tav tm="0">
                                          <p:val>
                                            <p:strVal val="#ppt_y+.1"/>
                                          </p:val>
                                        </p:tav>
                                        <p:tav tm="100000">
                                          <p:val>
                                            <p:strVal val="#ppt_y"/>
                                          </p:val>
                                        </p:tav>
                                      </p:tavLst>
                                    </p:anim>
                                  </p:childTnLst>
                                </p:cTn>
                              </p:par>
                            </p:childTnLst>
                          </p:cTn>
                        </p:par>
                        <p:par>
                          <p:cTn fill="hold" id="95" nodeType="afterGroup">
                            <p:stCondLst>
                              <p:cond delay="7000"/>
                            </p:stCondLst>
                            <p:childTnLst>
                              <p:par>
                                <p:cTn fill="hold" grpId="0" id="96" nodeType="afterEffect" presetClass="entr" presetID="22" presetSubtype="8">
                                  <p:stCondLst>
                                    <p:cond delay="0"/>
                                  </p:stCondLst>
                                  <p:childTnLst>
                                    <p:set>
                                      <p:cBhvr>
                                        <p:cTn dur="1" fill="hold" id="97">
                                          <p:stCondLst>
                                            <p:cond delay="0"/>
                                          </p:stCondLst>
                                        </p:cTn>
                                        <p:tgtEl>
                                          <p:spTgt spid="119"/>
                                        </p:tgtEl>
                                        <p:attrNameLst>
                                          <p:attrName>style.visibility</p:attrName>
                                        </p:attrNameLst>
                                      </p:cBhvr>
                                      <p:to>
                                        <p:strVal val="visible"/>
                                      </p:to>
                                    </p:set>
                                    <p:animEffect filter="wipe(left)" transition="in">
                                      <p:cBhvr>
                                        <p:cTn dur="500" id="98"/>
                                        <p:tgtEl>
                                          <p:spTgt spid="119"/>
                                        </p:tgtEl>
                                      </p:cBhvr>
                                    </p:animEffect>
                                  </p:childTnLst>
                                </p:cTn>
                              </p:par>
                              <p:par>
                                <p:cTn fill="hold" grpId="0" id="99" nodeType="withEffect" presetClass="entr" presetID="14" presetSubtype="10">
                                  <p:stCondLst>
                                    <p:cond delay="0"/>
                                  </p:stCondLst>
                                  <p:childTnLst>
                                    <p:set>
                                      <p:cBhvr>
                                        <p:cTn dur="1" fill="hold" id="100">
                                          <p:stCondLst>
                                            <p:cond delay="0"/>
                                          </p:stCondLst>
                                        </p:cTn>
                                        <p:tgtEl>
                                          <p:spTgt spid="121"/>
                                        </p:tgtEl>
                                        <p:attrNameLst>
                                          <p:attrName>style.visibility</p:attrName>
                                        </p:attrNameLst>
                                      </p:cBhvr>
                                      <p:to>
                                        <p:strVal val="visible"/>
                                      </p:to>
                                    </p:set>
                                    <p:animEffect filter="randombar(horizontal)" transition="in">
                                      <p:cBhvr>
                                        <p:cTn dur="500" id="101"/>
                                        <p:tgtEl>
                                          <p:spTgt spid="121"/>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10"/>
      <p:bldP grpId="0" spid="116"/>
      <p:bldP grpId="0" spid="117"/>
      <p:bldP grpId="0" spid="118"/>
      <p:bldP grpId="0" spid="119"/>
      <p:bldP grpId="0" spid="120"/>
      <p:bldP grpId="0" spid="121"/>
      <p:bldP grpId="0" spid="123"/>
      <p:bldP grpId="0" spid="124"/>
      <p:bldP grpId="0" spid="125"/>
      <p:bldP grpId="0" spid="126"/>
      <p:bldP grpId="0" spid="127"/>
      <p:bldP grpId="0" spid="128"/>
    </p:bldLst>
  </p:timing>
</p:sld>
</file>

<file path=ppt/slides/slide11.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grpSp>
        <p:nvGrpSpPr>
          <p:cNvPr id="139" name="Group 11">
            <a:extLst>
              <a:ext uri="{FF2B5EF4-FFF2-40B4-BE49-F238E27FC236}">
                <a16:creationId xmlns:a16="http://schemas.microsoft.com/office/drawing/2014/main" id="{41370D99-C651-4CFB-B2C0-D3727CCE0F49}"/>
              </a:ext>
            </a:extLst>
          </p:cNvPr>
          <p:cNvGrpSpPr/>
          <p:nvPr/>
        </p:nvGrpSpPr>
        <p:grpSpPr>
          <a:xfrm>
            <a:off x="7011520" y="2045791"/>
            <a:ext cx="4132135" cy="628944"/>
            <a:chOff x="9050776" y="2423496"/>
            <a:chExt cx="4132134" cy="628946"/>
          </a:xfrm>
        </p:grpSpPr>
        <p:sp>
          <p:nvSpPr>
            <p:cNvPr id="140" name="TextBox 54">
              <a:extLst>
                <a:ext uri="{FF2B5EF4-FFF2-40B4-BE49-F238E27FC236}">
                  <a16:creationId xmlns:a16="http://schemas.microsoft.com/office/drawing/2014/main" id="{99BAD431-20CB-4C3C-A323-3D677F48E0DA}"/>
                </a:ext>
              </a:extLst>
            </p:cNvPr>
            <p:cNvSpPr txBox="1"/>
            <p:nvPr/>
          </p:nvSpPr>
          <p:spPr>
            <a:xfrm>
              <a:off x="9087145" y="2423496"/>
              <a:ext cx="925830" cy="315011"/>
            </a:xfrm>
            <a:prstGeom prst="rect">
              <a:avLst/>
            </a:prstGeom>
            <a:noFill/>
          </p:spPr>
          <p:txBody>
            <a:bodyPr rtlCol="0" wrap="none">
              <a:spAutoFit/>
            </a:bodyPr>
            <a:lstStyle/>
            <a:p>
              <a:pPr algn="ctr" defTabSz="1219110"/>
              <a:r>
                <a:rPr altLang="en-US" b="1" lang="zh-CN" sz="1467">
                  <a:solidFill>
                    <a:schemeClr val="tx1">
                      <a:lumMod val="85000"/>
                      <a:lumOff val="15000"/>
                    </a:schemeClr>
                  </a:solidFill>
                  <a:latin panose="020f0502020204030204" typeface="等线"/>
                </a:rPr>
                <a:t>标题文本</a:t>
              </a:r>
            </a:p>
          </p:txBody>
        </p:sp>
        <p:sp>
          <p:nvSpPr>
            <p:cNvPr id="141" name="Rectangle 60">
              <a:extLst>
                <a:ext uri="{FF2B5EF4-FFF2-40B4-BE49-F238E27FC236}">
                  <a16:creationId xmlns:a16="http://schemas.microsoft.com/office/drawing/2014/main" id="{260F7385-FC9A-4052-9879-F1AD172E9559}"/>
                </a:ext>
              </a:extLst>
            </p:cNvPr>
            <p:cNvSpPr/>
            <p:nvPr/>
          </p:nvSpPr>
          <p:spPr>
            <a:xfrm>
              <a:off x="9050775" y="2626619"/>
              <a:ext cx="4132134" cy="432694"/>
            </a:xfrm>
            <a:prstGeom prst="rect">
              <a:avLst/>
            </a:prstGeom>
          </p:spPr>
          <p:txBody>
            <a:bodyPr wrap="square">
              <a:spAutoFit/>
            </a:bodyPr>
            <a:lstStyle/>
            <a:p>
              <a:pPr>
                <a:lnSpc>
                  <a:spcPct val="120000"/>
                </a:lnSpc>
              </a:pPr>
              <a:r>
                <a:rPr altLang="en-US" lang="zh-CN" sz="933">
                  <a:solidFill>
                    <a:schemeClr val="tx1">
                      <a:lumMod val="75000"/>
                      <a:lumOff val="25000"/>
                    </a:schemeClr>
                  </a:solidFill>
                  <a:latin typeface="+mn-ea"/>
                </a:rPr>
                <a:t>这里可以添加主要内容这里可以添加主要内容这里可以添加主要内容这里可以添加主要内容</a:t>
              </a:r>
            </a:p>
          </p:txBody>
        </p:sp>
      </p:grpSp>
      <p:grpSp>
        <p:nvGrpSpPr>
          <p:cNvPr id="142" name="Group 11">
            <a:extLst>
              <a:ext uri="{FF2B5EF4-FFF2-40B4-BE49-F238E27FC236}">
                <a16:creationId xmlns:a16="http://schemas.microsoft.com/office/drawing/2014/main" id="{CE878442-A5BC-40BA-95AC-A26E8D590770}"/>
              </a:ext>
            </a:extLst>
          </p:cNvPr>
          <p:cNvGrpSpPr/>
          <p:nvPr/>
        </p:nvGrpSpPr>
        <p:grpSpPr>
          <a:xfrm>
            <a:off x="7011520" y="2789655"/>
            <a:ext cx="4132135" cy="628944"/>
            <a:chOff x="9050776" y="2423496"/>
            <a:chExt cx="4132134" cy="628946"/>
          </a:xfrm>
        </p:grpSpPr>
        <p:sp>
          <p:nvSpPr>
            <p:cNvPr id="143" name="TextBox 54">
              <a:extLst>
                <a:ext uri="{FF2B5EF4-FFF2-40B4-BE49-F238E27FC236}">
                  <a16:creationId xmlns:a16="http://schemas.microsoft.com/office/drawing/2014/main" id="{16E37245-85B2-4178-B02D-1F6056306CBE}"/>
                </a:ext>
              </a:extLst>
            </p:cNvPr>
            <p:cNvSpPr txBox="1"/>
            <p:nvPr/>
          </p:nvSpPr>
          <p:spPr>
            <a:xfrm>
              <a:off x="9087145" y="2423496"/>
              <a:ext cx="925830" cy="315011"/>
            </a:xfrm>
            <a:prstGeom prst="rect">
              <a:avLst/>
            </a:prstGeom>
            <a:noFill/>
          </p:spPr>
          <p:txBody>
            <a:bodyPr rtlCol="0" wrap="none">
              <a:spAutoFit/>
            </a:bodyPr>
            <a:lstStyle/>
            <a:p>
              <a:pPr algn="ctr" defTabSz="1219110"/>
              <a:r>
                <a:rPr altLang="en-US" b="1" lang="zh-CN" sz="1467">
                  <a:solidFill>
                    <a:schemeClr val="tx1">
                      <a:lumMod val="85000"/>
                      <a:lumOff val="15000"/>
                    </a:schemeClr>
                  </a:solidFill>
                  <a:latin panose="020f0502020204030204" typeface="等线"/>
                </a:rPr>
                <a:t>标题文本</a:t>
              </a:r>
            </a:p>
          </p:txBody>
        </p:sp>
        <p:sp>
          <p:nvSpPr>
            <p:cNvPr id="144" name="Rectangle 60">
              <a:extLst>
                <a:ext uri="{FF2B5EF4-FFF2-40B4-BE49-F238E27FC236}">
                  <a16:creationId xmlns:a16="http://schemas.microsoft.com/office/drawing/2014/main" id="{B6CAA2F5-292A-48E6-B195-892606F1F5FE}"/>
                </a:ext>
              </a:extLst>
            </p:cNvPr>
            <p:cNvSpPr/>
            <p:nvPr/>
          </p:nvSpPr>
          <p:spPr>
            <a:xfrm>
              <a:off x="9050775" y="2626619"/>
              <a:ext cx="4132134" cy="432694"/>
            </a:xfrm>
            <a:prstGeom prst="rect">
              <a:avLst/>
            </a:prstGeom>
          </p:spPr>
          <p:txBody>
            <a:bodyPr wrap="square">
              <a:spAutoFit/>
            </a:bodyPr>
            <a:lstStyle/>
            <a:p>
              <a:pPr>
                <a:lnSpc>
                  <a:spcPct val="120000"/>
                </a:lnSpc>
              </a:pPr>
              <a:r>
                <a:rPr altLang="en-US" lang="zh-CN" sz="933">
                  <a:solidFill>
                    <a:schemeClr val="tx1">
                      <a:lumMod val="75000"/>
                      <a:lumOff val="25000"/>
                    </a:schemeClr>
                  </a:solidFill>
                  <a:latin typeface="+mn-ea"/>
                </a:rPr>
                <a:t>这里可以添加主要内容这里可以添加主要内容这里可以添加主要内容这里可以添加主要内容</a:t>
              </a:r>
            </a:p>
          </p:txBody>
        </p:sp>
      </p:grpSp>
      <p:grpSp>
        <p:nvGrpSpPr>
          <p:cNvPr id="145" name="Group 11">
            <a:extLst>
              <a:ext uri="{FF2B5EF4-FFF2-40B4-BE49-F238E27FC236}">
                <a16:creationId xmlns:a16="http://schemas.microsoft.com/office/drawing/2014/main" id="{0225B70E-D5B2-45AE-A763-8678D2B2E590}"/>
              </a:ext>
            </a:extLst>
          </p:cNvPr>
          <p:cNvGrpSpPr/>
          <p:nvPr/>
        </p:nvGrpSpPr>
        <p:grpSpPr>
          <a:xfrm>
            <a:off x="7011520" y="3472239"/>
            <a:ext cx="4132135" cy="628944"/>
            <a:chOff x="9050776" y="2423496"/>
            <a:chExt cx="4132134" cy="628946"/>
          </a:xfrm>
        </p:grpSpPr>
        <p:sp>
          <p:nvSpPr>
            <p:cNvPr id="146" name="TextBox 54">
              <a:extLst>
                <a:ext uri="{FF2B5EF4-FFF2-40B4-BE49-F238E27FC236}">
                  <a16:creationId xmlns:a16="http://schemas.microsoft.com/office/drawing/2014/main" id="{83E7CF83-D65B-4A45-BC05-6AD3B07305E2}"/>
                </a:ext>
              </a:extLst>
            </p:cNvPr>
            <p:cNvSpPr txBox="1"/>
            <p:nvPr/>
          </p:nvSpPr>
          <p:spPr>
            <a:xfrm>
              <a:off x="9087145" y="2423497"/>
              <a:ext cx="925830" cy="315011"/>
            </a:xfrm>
            <a:prstGeom prst="rect">
              <a:avLst/>
            </a:prstGeom>
            <a:noFill/>
          </p:spPr>
          <p:txBody>
            <a:bodyPr rtlCol="0" wrap="none">
              <a:spAutoFit/>
            </a:bodyPr>
            <a:lstStyle/>
            <a:p>
              <a:pPr algn="ctr" defTabSz="1219110"/>
              <a:r>
                <a:rPr altLang="en-US" b="1" lang="zh-CN" sz="1467">
                  <a:solidFill>
                    <a:schemeClr val="tx1">
                      <a:lumMod val="85000"/>
                      <a:lumOff val="15000"/>
                    </a:schemeClr>
                  </a:solidFill>
                  <a:latin panose="020f0502020204030204" typeface="等线"/>
                </a:rPr>
                <a:t>标题文本</a:t>
              </a:r>
            </a:p>
          </p:txBody>
        </p:sp>
        <p:sp>
          <p:nvSpPr>
            <p:cNvPr id="147" name="Rectangle 60">
              <a:extLst>
                <a:ext uri="{FF2B5EF4-FFF2-40B4-BE49-F238E27FC236}">
                  <a16:creationId xmlns:a16="http://schemas.microsoft.com/office/drawing/2014/main" id="{DA0712C2-91A9-4081-8167-329577561F58}"/>
                </a:ext>
              </a:extLst>
            </p:cNvPr>
            <p:cNvSpPr/>
            <p:nvPr/>
          </p:nvSpPr>
          <p:spPr>
            <a:xfrm>
              <a:off x="9050775" y="2626619"/>
              <a:ext cx="4132134" cy="432694"/>
            </a:xfrm>
            <a:prstGeom prst="rect">
              <a:avLst/>
            </a:prstGeom>
          </p:spPr>
          <p:txBody>
            <a:bodyPr wrap="square">
              <a:spAutoFit/>
            </a:bodyPr>
            <a:lstStyle/>
            <a:p>
              <a:pPr>
                <a:lnSpc>
                  <a:spcPct val="120000"/>
                </a:lnSpc>
              </a:pPr>
              <a:r>
                <a:rPr altLang="en-US" lang="zh-CN" sz="933">
                  <a:solidFill>
                    <a:schemeClr val="tx1">
                      <a:lumMod val="75000"/>
                      <a:lumOff val="25000"/>
                    </a:schemeClr>
                  </a:solidFill>
                  <a:latin typeface="+mn-ea"/>
                </a:rPr>
                <a:t>这里可以添加主要内容这里可以添加主要内容这里可以添加主要内容这里可以添加主要内容</a:t>
              </a:r>
            </a:p>
          </p:txBody>
        </p:sp>
      </p:grpSp>
      <p:grpSp>
        <p:nvGrpSpPr>
          <p:cNvPr id="148" name="Group 11">
            <a:extLst>
              <a:ext uri="{FF2B5EF4-FFF2-40B4-BE49-F238E27FC236}">
                <a16:creationId xmlns:a16="http://schemas.microsoft.com/office/drawing/2014/main" id="{612420FE-6D5D-4D68-B8A9-100D0388166A}"/>
              </a:ext>
            </a:extLst>
          </p:cNvPr>
          <p:cNvGrpSpPr/>
          <p:nvPr/>
        </p:nvGrpSpPr>
        <p:grpSpPr>
          <a:xfrm>
            <a:off x="7011520" y="4202651"/>
            <a:ext cx="4132135" cy="628944"/>
            <a:chOff x="9050776" y="2423496"/>
            <a:chExt cx="4132134" cy="628946"/>
          </a:xfrm>
        </p:grpSpPr>
        <p:sp>
          <p:nvSpPr>
            <p:cNvPr id="149" name="TextBox 54">
              <a:extLst>
                <a:ext uri="{FF2B5EF4-FFF2-40B4-BE49-F238E27FC236}">
                  <a16:creationId xmlns:a16="http://schemas.microsoft.com/office/drawing/2014/main" id="{D7EDF153-C337-45AF-85D6-D54A6F45AD0C}"/>
                </a:ext>
              </a:extLst>
            </p:cNvPr>
            <p:cNvSpPr txBox="1"/>
            <p:nvPr/>
          </p:nvSpPr>
          <p:spPr>
            <a:xfrm>
              <a:off x="9087145" y="2423497"/>
              <a:ext cx="925830" cy="315011"/>
            </a:xfrm>
            <a:prstGeom prst="rect">
              <a:avLst/>
            </a:prstGeom>
            <a:noFill/>
          </p:spPr>
          <p:txBody>
            <a:bodyPr rtlCol="0" wrap="none">
              <a:spAutoFit/>
            </a:bodyPr>
            <a:lstStyle/>
            <a:p>
              <a:pPr algn="ctr" defTabSz="1219110"/>
              <a:r>
                <a:rPr altLang="en-US" b="1" lang="zh-CN" sz="1467">
                  <a:solidFill>
                    <a:schemeClr val="tx1">
                      <a:lumMod val="85000"/>
                      <a:lumOff val="15000"/>
                    </a:schemeClr>
                  </a:solidFill>
                  <a:latin panose="020f0502020204030204" typeface="等线"/>
                </a:rPr>
                <a:t>标题文本</a:t>
              </a:r>
            </a:p>
          </p:txBody>
        </p:sp>
        <p:sp>
          <p:nvSpPr>
            <p:cNvPr id="150" name="Rectangle 60">
              <a:extLst>
                <a:ext uri="{FF2B5EF4-FFF2-40B4-BE49-F238E27FC236}">
                  <a16:creationId xmlns:a16="http://schemas.microsoft.com/office/drawing/2014/main" id="{8814398E-F3F9-4649-B941-6583DD7124F9}"/>
                </a:ext>
              </a:extLst>
            </p:cNvPr>
            <p:cNvSpPr/>
            <p:nvPr/>
          </p:nvSpPr>
          <p:spPr>
            <a:xfrm>
              <a:off x="9050775" y="2626619"/>
              <a:ext cx="4132134" cy="432694"/>
            </a:xfrm>
            <a:prstGeom prst="rect">
              <a:avLst/>
            </a:prstGeom>
          </p:spPr>
          <p:txBody>
            <a:bodyPr wrap="square">
              <a:spAutoFit/>
            </a:bodyPr>
            <a:lstStyle/>
            <a:p>
              <a:pPr>
                <a:lnSpc>
                  <a:spcPct val="120000"/>
                </a:lnSpc>
              </a:pPr>
              <a:r>
                <a:rPr altLang="en-US" lang="zh-CN" sz="933">
                  <a:solidFill>
                    <a:schemeClr val="tx1">
                      <a:lumMod val="75000"/>
                      <a:lumOff val="25000"/>
                    </a:schemeClr>
                  </a:solidFill>
                  <a:latin typeface="+mn-ea"/>
                </a:rPr>
                <a:t>这里可以添加主要内容这里可以添加主要内容这里可以添加主要内容这里可以添加主要内容</a:t>
              </a:r>
            </a:p>
          </p:txBody>
        </p:sp>
      </p:grpSp>
      <p:grpSp>
        <p:nvGrpSpPr>
          <p:cNvPr id="151" name="Group 11">
            <a:extLst>
              <a:ext uri="{FF2B5EF4-FFF2-40B4-BE49-F238E27FC236}">
                <a16:creationId xmlns:a16="http://schemas.microsoft.com/office/drawing/2014/main" id="{BA2D344E-F3DE-4553-8F23-6F770D07A236}"/>
              </a:ext>
            </a:extLst>
          </p:cNvPr>
          <p:cNvGrpSpPr/>
          <p:nvPr/>
        </p:nvGrpSpPr>
        <p:grpSpPr>
          <a:xfrm>
            <a:off x="7011520" y="4860519"/>
            <a:ext cx="4132135" cy="628944"/>
            <a:chOff x="9050776" y="2423496"/>
            <a:chExt cx="4132134" cy="628946"/>
          </a:xfrm>
        </p:grpSpPr>
        <p:sp>
          <p:nvSpPr>
            <p:cNvPr id="152" name="TextBox 54">
              <a:extLst>
                <a:ext uri="{FF2B5EF4-FFF2-40B4-BE49-F238E27FC236}">
                  <a16:creationId xmlns:a16="http://schemas.microsoft.com/office/drawing/2014/main" id="{DBD019EB-0D58-41A1-9C6F-A1CBD073C556}"/>
                </a:ext>
              </a:extLst>
            </p:cNvPr>
            <p:cNvSpPr txBox="1"/>
            <p:nvPr/>
          </p:nvSpPr>
          <p:spPr>
            <a:xfrm>
              <a:off x="9087145" y="2423497"/>
              <a:ext cx="925830" cy="315011"/>
            </a:xfrm>
            <a:prstGeom prst="rect">
              <a:avLst/>
            </a:prstGeom>
            <a:noFill/>
          </p:spPr>
          <p:txBody>
            <a:bodyPr rtlCol="0" wrap="none">
              <a:spAutoFit/>
            </a:bodyPr>
            <a:lstStyle/>
            <a:p>
              <a:pPr algn="ctr" defTabSz="1219110"/>
              <a:r>
                <a:rPr altLang="en-US" b="1" lang="zh-CN" sz="1467">
                  <a:solidFill>
                    <a:schemeClr val="tx1">
                      <a:lumMod val="85000"/>
                      <a:lumOff val="15000"/>
                    </a:schemeClr>
                  </a:solidFill>
                  <a:latin panose="020f0502020204030204" typeface="等线"/>
                </a:rPr>
                <a:t>标题文本</a:t>
              </a:r>
            </a:p>
          </p:txBody>
        </p:sp>
        <p:sp>
          <p:nvSpPr>
            <p:cNvPr id="153" name="Rectangle 60">
              <a:extLst>
                <a:ext uri="{FF2B5EF4-FFF2-40B4-BE49-F238E27FC236}">
                  <a16:creationId xmlns:a16="http://schemas.microsoft.com/office/drawing/2014/main" id="{BF69D2E9-72A6-4BAA-9E44-C7BBDEC9FF9C}"/>
                </a:ext>
              </a:extLst>
            </p:cNvPr>
            <p:cNvSpPr/>
            <p:nvPr/>
          </p:nvSpPr>
          <p:spPr>
            <a:xfrm>
              <a:off x="9050775" y="2626619"/>
              <a:ext cx="4132134" cy="432694"/>
            </a:xfrm>
            <a:prstGeom prst="rect">
              <a:avLst/>
            </a:prstGeom>
          </p:spPr>
          <p:txBody>
            <a:bodyPr wrap="square">
              <a:spAutoFit/>
            </a:bodyPr>
            <a:lstStyle/>
            <a:p>
              <a:pPr>
                <a:lnSpc>
                  <a:spcPct val="120000"/>
                </a:lnSpc>
              </a:pPr>
              <a:r>
                <a:rPr altLang="en-US" lang="zh-CN" sz="933">
                  <a:solidFill>
                    <a:schemeClr val="tx1">
                      <a:lumMod val="75000"/>
                      <a:lumOff val="25000"/>
                    </a:schemeClr>
                  </a:solidFill>
                  <a:latin typeface="+mn-ea"/>
                </a:rPr>
                <a:t>这里可以添加主要内容这里可以添加主要内容这里可以添加主要内容这里可以添加主要内容</a:t>
              </a:r>
            </a:p>
          </p:txBody>
        </p:sp>
      </p:grpSp>
      <p:grpSp>
        <p:nvGrpSpPr>
          <p:cNvPr id="3" name="iŝļíḍe">
            <a:extLst>
              <a:ext uri="{FF2B5EF4-FFF2-40B4-BE49-F238E27FC236}">
                <a16:creationId xmlns:a16="http://schemas.microsoft.com/office/drawing/2014/main" id="{DA99EC47-6FD8-4381-A648-322F1AD13BB7}"/>
              </a:ext>
            </a:extLst>
          </p:cNvPr>
          <p:cNvGrpSpPr/>
          <p:nvPr/>
        </p:nvGrpSpPr>
        <p:grpSpPr>
          <a:xfrm>
            <a:off x="845964" y="1971922"/>
            <a:ext cx="5471703" cy="2482493"/>
            <a:chOff x="-6921494" y="6495236"/>
            <a:chExt cx="6143627" cy="2908011"/>
          </a:xfrm>
        </p:grpSpPr>
        <p:sp>
          <p:nvSpPr>
            <p:cNvPr id="18" name="îS1îdè">
              <a:extLst>
                <a:ext uri="{FF2B5EF4-FFF2-40B4-BE49-F238E27FC236}">
                  <a16:creationId xmlns:a16="http://schemas.microsoft.com/office/drawing/2014/main" id="{CE8EBCF6-BC2E-4EC2-98B7-E58F4A090EF9}"/>
                </a:ext>
              </a:extLst>
            </p:cNvPr>
            <p:cNvSpPr/>
            <p:nvPr/>
          </p:nvSpPr>
          <p:spPr bwMode="auto">
            <a:xfrm>
              <a:off x="-6905619" y="6512699"/>
              <a:ext cx="6110289" cy="2876553"/>
            </a:xfrm>
            <a:custGeom>
              <a:gdLst>
                <a:gd fmla="*/ 3339 w 3849" name="T0"/>
                <a:gd fmla="*/ 292 h 1812" name="T1"/>
                <a:gd fmla="*/ 3849 w 3849" name="T2"/>
                <a:gd fmla="*/ 1747 h 1812" name="T3"/>
                <a:gd fmla="*/ 2557 w 3849" name="T4"/>
                <a:gd fmla="*/ 1455 h 1812" name="T5"/>
                <a:gd fmla="*/ 1428 w 3849" name="T6"/>
                <a:gd fmla="*/ 1812 h 1812" name="T7"/>
                <a:gd fmla="*/ 0 w 3849" name="T8"/>
                <a:gd fmla="*/ 1610 h 1812" name="T9"/>
                <a:gd fmla="*/ 469 w 3849" name="T10"/>
                <a:gd fmla="*/ 182 h 1812" name="T11"/>
                <a:gd fmla="*/ 1557 w 3849" name="T12"/>
                <a:gd fmla="*/ 319 h 1812" name="T13"/>
                <a:gd fmla="*/ 2401 w 3849" name="T14"/>
                <a:gd fmla="*/ 0 h 1812" name="T15"/>
                <a:gd fmla="*/ 3339 w 3849" name="T16"/>
                <a:gd fmla="*/ 292 h 1812" name="T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b="b" l="0" r="r" t="0"/>
              <a:pathLst>
                <a:path h="1811" w="3849">
                  <a:moveTo>
                    <a:pt x="3339" y="292"/>
                  </a:moveTo>
                  <a:lnTo>
                    <a:pt x="3849" y="1747"/>
                  </a:lnTo>
                  <a:lnTo>
                    <a:pt x="2557" y="1455"/>
                  </a:lnTo>
                  <a:lnTo>
                    <a:pt x="1428" y="1812"/>
                  </a:lnTo>
                  <a:lnTo>
                    <a:pt x="0" y="1610"/>
                  </a:lnTo>
                  <a:lnTo>
                    <a:pt x="469" y="182"/>
                  </a:lnTo>
                  <a:lnTo>
                    <a:pt x="1557" y="319"/>
                  </a:lnTo>
                  <a:lnTo>
                    <a:pt x="2401" y="0"/>
                  </a:lnTo>
                  <a:lnTo>
                    <a:pt x="3339" y="292"/>
                  </a:lnTo>
                  <a:close/>
                </a:path>
              </a:pathLst>
            </a:custGeom>
            <a:solidFill>
              <a:srgbClr val="FFFFFF"/>
            </a:solidFill>
            <a:ln>
              <a:noFill/>
            </a:ln>
            <a:extLst>
              <a:ext uri="{91240B29-F687-4F45-9708-019B960494DF}">
                <a14:hiddenLine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19" name="í$ḷïḓè">
              <a:extLst>
                <a:ext uri="{FF2B5EF4-FFF2-40B4-BE49-F238E27FC236}">
                  <a16:creationId xmlns:a16="http://schemas.microsoft.com/office/drawing/2014/main" id="{4916109B-8F49-4ECB-B248-7387C8A91614}"/>
                </a:ext>
              </a:extLst>
            </p:cNvPr>
            <p:cNvSpPr/>
            <p:nvPr/>
          </p:nvSpPr>
          <p:spPr bwMode="auto">
            <a:xfrm>
              <a:off x="-6921494" y="6495236"/>
              <a:ext cx="6143627" cy="2906714"/>
            </a:xfrm>
            <a:custGeom>
              <a:gdLst>
                <a:gd fmla="*/ 1567 w 3870" name="T0"/>
                <a:gd fmla="*/ 321 h 1831" name="T1"/>
                <a:gd fmla="*/ 475 w 3870" name="T2"/>
                <a:gd fmla="*/ 183 h 1831" name="T3"/>
                <a:gd fmla="*/ 0 w 3870" name="T4"/>
                <a:gd fmla="*/ 1628 h 1831" name="T5"/>
                <a:gd fmla="*/ 1439 w 3870" name="T6"/>
                <a:gd fmla="*/ 1831 h 1831" name="T7"/>
                <a:gd fmla="*/ 2567 w 3870" name="T8"/>
                <a:gd fmla="*/ 1474 h 1831" name="T9"/>
                <a:gd fmla="*/ 3870 w 3870" name="T10"/>
                <a:gd fmla="*/ 1770 h 1831" name="T11"/>
                <a:gd fmla="*/ 3354 w 3870" name="T12"/>
                <a:gd fmla="*/ 296 h 1831" name="T13"/>
                <a:gd fmla="*/ 2411 w 3870" name="T14"/>
                <a:gd fmla="*/ 0 h 1831" name="T15"/>
                <a:gd fmla="*/ 1567 w 3870" name="T16"/>
                <a:gd fmla="*/ 321 h 1831" name="T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b="b" l="0" r="r" t="0"/>
              <a:pathLst>
                <a:path h="1830" w="3870">
                  <a:moveTo>
                    <a:pt x="1567" y="321"/>
                  </a:moveTo>
                  <a:lnTo>
                    <a:pt x="475" y="183"/>
                  </a:lnTo>
                  <a:lnTo>
                    <a:pt x="0" y="1628"/>
                  </a:lnTo>
                  <a:lnTo>
                    <a:pt x="1439" y="1831"/>
                  </a:lnTo>
                  <a:lnTo>
                    <a:pt x="2567" y="1474"/>
                  </a:lnTo>
                  <a:lnTo>
                    <a:pt x="3870" y="1770"/>
                  </a:lnTo>
                  <a:lnTo>
                    <a:pt x="3354" y="296"/>
                  </a:lnTo>
                  <a:lnTo>
                    <a:pt x="2411" y="0"/>
                  </a:lnTo>
                  <a:lnTo>
                    <a:pt x="1567" y="321"/>
                  </a:lnTo>
                  <a:close/>
                </a:path>
              </a:pathLst>
            </a:custGeom>
            <a:solidFill>
              <a:srgbClr val="C8C8C8"/>
            </a:solidFill>
            <a:ln>
              <a:noFill/>
            </a:ln>
            <a:extLst>
              <a:ext uri="{91240B29-F687-4F45-9708-019B960494DF}">
                <a14:hiddenLine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20" name="iṩ1îḑe">
              <a:extLst>
                <a:ext uri="{FF2B5EF4-FFF2-40B4-BE49-F238E27FC236}">
                  <a16:creationId xmlns:a16="http://schemas.microsoft.com/office/drawing/2014/main" id="{78F9AA78-86F6-44C2-A7B1-C93D540D4B19}"/>
                </a:ext>
              </a:extLst>
            </p:cNvPr>
            <p:cNvSpPr/>
            <p:nvPr/>
          </p:nvSpPr>
          <p:spPr bwMode="auto">
            <a:xfrm>
              <a:off x="-3094031" y="6512699"/>
              <a:ext cx="2298701" cy="2773365"/>
            </a:xfrm>
            <a:custGeom>
              <a:gdLst>
                <a:gd fmla="*/ 109 w 1008" name="T0"/>
                <a:gd fmla="*/ 1011 h 1214" name="T1"/>
                <a:gd fmla="*/ 558 w 1008" name="T2"/>
                <a:gd fmla="*/ 1112 h 1214" name="T3"/>
                <a:gd fmla="*/ 1008 w 1008" name="T4"/>
                <a:gd fmla="*/ 1214 h 1214" name="T5"/>
                <a:gd fmla="*/ 830 w 1008" name="T6"/>
                <a:gd fmla="*/ 709 h 1214" name="T7"/>
                <a:gd fmla="*/ 653 w 1008" name="T8"/>
                <a:gd fmla="*/ 203 h 1214" name="T9"/>
                <a:gd fmla="*/ 327 w 1008" name="T10"/>
                <a:gd fmla="*/ 101 h 1214" name="T11"/>
                <a:gd fmla="*/ 0 w 1008" name="T12"/>
                <a:gd fmla="*/ 0 h 1214" name="T13"/>
                <a:gd fmla="*/ 54 w 1008" name="T14"/>
                <a:gd fmla="*/ 505 h 1214" name="T15"/>
                <a:gd fmla="*/ 109 w 1008" name="T16"/>
                <a:gd fmla="*/ 1011 h 1214" name="T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b="b" l="0" r="r" t="0"/>
              <a:pathLst>
                <a:path h="1214" w="1007">
                  <a:moveTo>
                    <a:pt x="109" y="1011"/>
                  </a:moveTo>
                  <a:cubicBezTo>
                    <a:pt x="259" y="1045"/>
                    <a:pt x="409" y="1079"/>
                    <a:pt x="558" y="1112"/>
                  </a:cubicBezTo>
                  <a:cubicBezTo>
                    <a:pt x="708" y="1146"/>
                    <a:pt x="858" y="1180"/>
                    <a:pt x="1008" y="1214"/>
                  </a:cubicBezTo>
                  <a:cubicBezTo>
                    <a:pt x="949" y="1046"/>
                    <a:pt x="889" y="877"/>
                    <a:pt x="830" y="709"/>
                  </a:cubicBezTo>
                  <a:cubicBezTo>
                    <a:pt x="771" y="540"/>
                    <a:pt x="712" y="372"/>
                    <a:pt x="653" y="203"/>
                  </a:cubicBezTo>
                  <a:cubicBezTo>
                    <a:pt x="544" y="169"/>
                    <a:pt x="435" y="135"/>
                    <a:pt x="327" y="101"/>
                  </a:cubicBezTo>
                  <a:cubicBezTo>
                    <a:pt x="218" y="67"/>
                    <a:pt x="109" y="33"/>
                    <a:pt x="0" y="0"/>
                  </a:cubicBezTo>
                  <a:cubicBezTo>
                    <a:pt x="18" y="168"/>
                    <a:pt x="36" y="337"/>
                    <a:pt x="54" y="505"/>
                  </a:cubicBezTo>
                  <a:cubicBezTo>
                    <a:pt x="73" y="674"/>
                    <a:pt x="91" y="842"/>
                    <a:pt x="109" y="1011"/>
                  </a:cubicBezTo>
                  <a:close/>
                </a:path>
              </a:pathLst>
            </a:custGeom>
            <a:solidFill>
              <a:srgbClr val="FFFFFF"/>
            </a:solidFill>
            <a:ln>
              <a:noFill/>
            </a:ln>
            <a:extLst>
              <a:ext uri="{91240B29-F687-4F45-9708-019B960494DF}">
                <a14:hiddenLine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21" name="ïṣľïḍé">
              <a:extLst>
                <a:ext uri="{FF2B5EF4-FFF2-40B4-BE49-F238E27FC236}">
                  <a16:creationId xmlns:a16="http://schemas.microsoft.com/office/drawing/2014/main" id="{09F71B3D-AE25-4592-BAFF-4A9B238523D8}"/>
                </a:ext>
              </a:extLst>
            </p:cNvPr>
            <p:cNvSpPr/>
            <p:nvPr/>
          </p:nvSpPr>
          <p:spPr bwMode="auto">
            <a:xfrm>
              <a:off x="-3087681" y="6573025"/>
              <a:ext cx="2155826" cy="2624141"/>
            </a:xfrm>
            <a:custGeom>
              <a:gdLst>
                <a:gd fmla="*/ 103 w 945" name="T0"/>
                <a:gd fmla="*/ 956 h 1148" name="T1"/>
                <a:gd fmla="*/ 524 w 945" name="T2"/>
                <a:gd fmla="*/ 1052 h 1148" name="T3"/>
                <a:gd fmla="*/ 945 w 945" name="T4"/>
                <a:gd fmla="*/ 1148 h 1148" name="T5"/>
                <a:gd fmla="*/ 784 w 945" name="T6"/>
                <a:gd fmla="*/ 670 h 1148" name="T7"/>
                <a:gd fmla="*/ 623 w 945" name="T8"/>
                <a:gd fmla="*/ 193 h 1148" name="T9"/>
                <a:gd fmla="*/ 311 w 945" name="T10"/>
                <a:gd fmla="*/ 96 h 1148" name="T11"/>
                <a:gd fmla="*/ 0 w 945" name="T12"/>
                <a:gd fmla="*/ 0 h 1148" name="T13"/>
                <a:gd fmla="*/ 51 w 945" name="T14"/>
                <a:gd fmla="*/ 478 h 1148" name="T15"/>
                <a:gd fmla="*/ 103 w 945" name="T16"/>
                <a:gd fmla="*/ 956 h 1148" name="T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b="b" l="0" r="r" t="0"/>
              <a:pathLst>
                <a:path h="1148" w="944">
                  <a:moveTo>
                    <a:pt x="103" y="956"/>
                  </a:moveTo>
                  <a:cubicBezTo>
                    <a:pt x="243" y="988"/>
                    <a:pt x="384" y="1020"/>
                    <a:pt x="524" y="1052"/>
                  </a:cubicBezTo>
                  <a:cubicBezTo>
                    <a:pt x="664" y="1084"/>
                    <a:pt x="805" y="1116"/>
                    <a:pt x="945" y="1148"/>
                  </a:cubicBezTo>
                  <a:cubicBezTo>
                    <a:pt x="891" y="989"/>
                    <a:pt x="838" y="830"/>
                    <a:pt x="784" y="670"/>
                  </a:cubicBezTo>
                  <a:cubicBezTo>
                    <a:pt x="730" y="511"/>
                    <a:pt x="677" y="352"/>
                    <a:pt x="623" y="193"/>
                  </a:cubicBezTo>
                  <a:cubicBezTo>
                    <a:pt x="519" y="160"/>
                    <a:pt x="415" y="128"/>
                    <a:pt x="311" y="96"/>
                  </a:cubicBezTo>
                  <a:cubicBezTo>
                    <a:pt x="208" y="64"/>
                    <a:pt x="104" y="32"/>
                    <a:pt x="0" y="0"/>
                  </a:cubicBezTo>
                  <a:cubicBezTo>
                    <a:pt x="17" y="160"/>
                    <a:pt x="34" y="319"/>
                    <a:pt x="51" y="478"/>
                  </a:cubicBezTo>
                  <a:cubicBezTo>
                    <a:pt x="69" y="638"/>
                    <a:pt x="86" y="797"/>
                    <a:pt x="103" y="956"/>
                  </a:cubicBezTo>
                  <a:close/>
                </a:path>
              </a:pathLst>
            </a:custGeom>
            <a:solidFill>
              <a:srgbClr val="E4DDD7"/>
            </a:solidFill>
            <a:ln>
              <a:noFill/>
            </a:ln>
            <a:extLst>
              <a:ext uri="{91240B29-F687-4F45-9708-019B960494DF}">
                <a14:hiddenLine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22" name="îśļîdè">
              <a:extLst>
                <a:ext uri="{FF2B5EF4-FFF2-40B4-BE49-F238E27FC236}">
                  <a16:creationId xmlns:a16="http://schemas.microsoft.com/office/drawing/2014/main" id="{0F268975-1967-4F14-B2FB-D639C3A39CAF}"/>
                </a:ext>
              </a:extLst>
            </p:cNvPr>
            <p:cNvSpPr/>
            <p:nvPr/>
          </p:nvSpPr>
          <p:spPr bwMode="auto">
            <a:xfrm>
              <a:off x="-2887656" y="8439927"/>
              <a:ext cx="774701" cy="487363"/>
            </a:xfrm>
            <a:custGeom>
              <a:gdLst>
                <a:gd fmla="*/ 0 w 339" name="T0"/>
                <a:gd fmla="*/ 0 h 213" name="T1"/>
                <a:gd fmla="*/ 166 w 339" name="T2"/>
                <a:gd fmla="*/ 107 h 213" name="T3"/>
                <a:gd fmla="*/ 339 w 339" name="T4"/>
                <a:gd fmla="*/ 213 h 213" name="T5"/>
                <a:gd fmla="*/ 239 w 339" name="T6"/>
                <a:gd fmla="*/ 190 h 213" name="T7"/>
                <a:gd fmla="*/ 120 w 339" name="T8"/>
                <a:gd fmla="*/ 117 h 213" name="T9"/>
                <a:gd fmla="*/ 4 w 339" name="T10"/>
                <a:gd fmla="*/ 43 h 213" name="T11"/>
                <a:gd fmla="*/ 0 w 339" name="T12"/>
                <a:gd fmla="*/ 0 h 213" name="T13"/>
              </a:gdLst>
              <a:cxnLst>
                <a:cxn ang="0">
                  <a:pos x="T0" y="T1"/>
                </a:cxn>
                <a:cxn ang="0">
                  <a:pos x="T2" y="T3"/>
                </a:cxn>
                <a:cxn ang="0">
                  <a:pos x="T4" y="T5"/>
                </a:cxn>
                <a:cxn ang="0">
                  <a:pos x="T6" y="T7"/>
                </a:cxn>
                <a:cxn ang="0">
                  <a:pos x="T8" y="T9"/>
                </a:cxn>
                <a:cxn ang="0">
                  <a:pos x="T10" y="T11"/>
                </a:cxn>
                <a:cxn ang="0">
                  <a:pos x="T12" y="T13"/>
                </a:cxn>
              </a:cxnLst>
              <a:rect b="b" l="0" r="r" t="0"/>
              <a:pathLst>
                <a:path h="213" w="339">
                  <a:moveTo>
                    <a:pt x="0" y="0"/>
                  </a:moveTo>
                  <a:cubicBezTo>
                    <a:pt x="55" y="36"/>
                    <a:pt x="110" y="71"/>
                    <a:pt x="166" y="107"/>
                  </a:cubicBezTo>
                  <a:cubicBezTo>
                    <a:pt x="223" y="142"/>
                    <a:pt x="280" y="178"/>
                    <a:pt x="339" y="213"/>
                  </a:cubicBezTo>
                  <a:cubicBezTo>
                    <a:pt x="305" y="205"/>
                    <a:pt x="272" y="198"/>
                    <a:pt x="239" y="190"/>
                  </a:cubicBezTo>
                  <a:cubicBezTo>
                    <a:pt x="199" y="166"/>
                    <a:pt x="159" y="141"/>
                    <a:pt x="120" y="117"/>
                  </a:cubicBezTo>
                  <a:cubicBezTo>
                    <a:pt x="81" y="92"/>
                    <a:pt x="43" y="68"/>
                    <a:pt x="4" y="43"/>
                  </a:cubicBezTo>
                  <a:cubicBezTo>
                    <a:pt x="3" y="29"/>
                    <a:pt x="1" y="14"/>
                    <a:pt x="0" y="0"/>
                  </a:cubicBezTo>
                  <a:close/>
                </a:path>
              </a:pathLst>
            </a:custGeom>
            <a:solidFill>
              <a:srgbClr val="FFFFFF"/>
            </a:solidFill>
            <a:ln>
              <a:noFill/>
            </a:ln>
            <a:extLst>
              <a:ext uri="{91240B29-F687-4F45-9708-019B960494DF}">
                <a14:hiddenLine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23" name="iśḷïḋè">
              <a:extLst>
                <a:ext uri="{FF2B5EF4-FFF2-40B4-BE49-F238E27FC236}">
                  <a16:creationId xmlns:a16="http://schemas.microsoft.com/office/drawing/2014/main" id="{26669832-EE6E-44CE-A65B-E63068E66B36}"/>
                </a:ext>
              </a:extLst>
            </p:cNvPr>
            <p:cNvSpPr/>
            <p:nvPr/>
          </p:nvSpPr>
          <p:spPr bwMode="auto">
            <a:xfrm>
              <a:off x="-2987668" y="7517588"/>
              <a:ext cx="1663701" cy="514351"/>
            </a:xfrm>
            <a:custGeom>
              <a:gdLst>
                <a:gd fmla="*/ 0 w 729" name="T0"/>
                <a:gd fmla="*/ 0 h 225" name="T1"/>
                <a:gd fmla="*/ 359 w 729" name="T2"/>
                <a:gd fmla="*/ 96 h 225" name="T3"/>
                <a:gd fmla="*/ 718 w 729" name="T4"/>
                <a:gd fmla="*/ 192 h 225" name="T5"/>
                <a:gd fmla="*/ 729 w 729" name="T6"/>
                <a:gd fmla="*/ 225 h 225" name="T7"/>
                <a:gd fmla="*/ 367 w 729" name="T8"/>
                <a:gd fmla="*/ 129 h 225" name="T9"/>
                <a:gd fmla="*/ 4 w 729" name="T10"/>
                <a:gd fmla="*/ 33 h 225" name="T11"/>
                <a:gd fmla="*/ 0 w 729" name="T12"/>
                <a:gd fmla="*/ 0 h 225" name="T13"/>
              </a:gdLst>
              <a:cxnLst>
                <a:cxn ang="0">
                  <a:pos x="T0" y="T1"/>
                </a:cxn>
                <a:cxn ang="0">
                  <a:pos x="T2" y="T3"/>
                </a:cxn>
                <a:cxn ang="0">
                  <a:pos x="T4" y="T5"/>
                </a:cxn>
                <a:cxn ang="0">
                  <a:pos x="T6" y="T7"/>
                </a:cxn>
                <a:cxn ang="0">
                  <a:pos x="T8" y="T9"/>
                </a:cxn>
                <a:cxn ang="0">
                  <a:pos x="T10" y="T11"/>
                </a:cxn>
                <a:cxn ang="0">
                  <a:pos x="T12" y="T13"/>
                </a:cxn>
              </a:cxnLst>
              <a:rect b="b" l="0" r="r" t="0"/>
              <a:pathLst>
                <a:path h="225" w="729">
                  <a:moveTo>
                    <a:pt x="0" y="0"/>
                  </a:moveTo>
                  <a:cubicBezTo>
                    <a:pt x="120" y="32"/>
                    <a:pt x="240" y="64"/>
                    <a:pt x="359" y="96"/>
                  </a:cubicBezTo>
                  <a:cubicBezTo>
                    <a:pt x="479" y="128"/>
                    <a:pt x="598" y="160"/>
                    <a:pt x="718" y="192"/>
                  </a:cubicBezTo>
                  <a:cubicBezTo>
                    <a:pt x="722" y="203"/>
                    <a:pt x="725" y="214"/>
                    <a:pt x="729" y="225"/>
                  </a:cubicBezTo>
                  <a:cubicBezTo>
                    <a:pt x="608" y="193"/>
                    <a:pt x="487" y="161"/>
                    <a:pt x="367" y="129"/>
                  </a:cubicBezTo>
                  <a:cubicBezTo>
                    <a:pt x="246" y="97"/>
                    <a:pt x="125" y="65"/>
                    <a:pt x="4" y="33"/>
                  </a:cubicBezTo>
                  <a:cubicBezTo>
                    <a:pt x="3" y="22"/>
                    <a:pt x="2" y="11"/>
                    <a:pt x="0" y="0"/>
                  </a:cubicBezTo>
                  <a:close/>
                </a:path>
              </a:pathLst>
            </a:custGeom>
            <a:solidFill>
              <a:srgbClr val="FFFFFF"/>
            </a:solidFill>
            <a:ln>
              <a:noFill/>
            </a:ln>
            <a:extLst>
              <a:ext uri="{91240B29-F687-4F45-9708-019B960494DF}">
                <a14:hiddenLine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24" name="iSḻïďê">
              <a:extLst>
                <a:ext uri="{FF2B5EF4-FFF2-40B4-BE49-F238E27FC236}">
                  <a16:creationId xmlns:a16="http://schemas.microsoft.com/office/drawing/2014/main" id="{73C9BE98-EA50-43DD-B2F7-80C80619BB93}"/>
                </a:ext>
              </a:extLst>
            </p:cNvPr>
            <p:cNvSpPr/>
            <p:nvPr/>
          </p:nvSpPr>
          <p:spPr bwMode="auto">
            <a:xfrm>
              <a:off x="-2978143" y="7592202"/>
              <a:ext cx="307975" cy="85725"/>
            </a:xfrm>
            <a:custGeom>
              <a:gdLst>
                <a:gd fmla="*/ 0 w 135" name="T0"/>
                <a:gd fmla="*/ 1 h 37" name="T1"/>
                <a:gd fmla="*/ 101 w 135" name="T2"/>
                <a:gd fmla="*/ 0 h 37" name="T3"/>
                <a:gd fmla="*/ 135 w 135" name="T4"/>
                <a:gd fmla="*/ 36 h 37" name="T5"/>
                <a:gd fmla="*/ 4 w 135" name="T6"/>
                <a:gd fmla="*/ 37 h 37" name="T7"/>
                <a:gd fmla="*/ 0 w 135" name="T8"/>
                <a:gd fmla="*/ 1 h 37" name="T9"/>
              </a:gdLst>
              <a:cxnLst>
                <a:cxn ang="0">
                  <a:pos x="T0" y="T1"/>
                </a:cxn>
                <a:cxn ang="0">
                  <a:pos x="T2" y="T3"/>
                </a:cxn>
                <a:cxn ang="0">
                  <a:pos x="T4" y="T5"/>
                </a:cxn>
                <a:cxn ang="0">
                  <a:pos x="T6" y="T7"/>
                </a:cxn>
                <a:cxn ang="0">
                  <a:pos x="T8" y="T9"/>
                </a:cxn>
              </a:cxnLst>
              <a:rect b="b" l="0" r="r" t="0"/>
              <a:pathLst>
                <a:path h="37" w="135">
                  <a:moveTo>
                    <a:pt x="0" y="1"/>
                  </a:moveTo>
                  <a:cubicBezTo>
                    <a:pt x="34" y="1"/>
                    <a:pt x="68" y="1"/>
                    <a:pt x="101" y="0"/>
                  </a:cubicBezTo>
                  <a:cubicBezTo>
                    <a:pt x="112" y="12"/>
                    <a:pt x="124" y="24"/>
                    <a:pt x="135" y="36"/>
                  </a:cubicBezTo>
                  <a:cubicBezTo>
                    <a:pt x="92" y="36"/>
                    <a:pt x="48" y="37"/>
                    <a:pt x="4" y="37"/>
                  </a:cubicBezTo>
                  <a:cubicBezTo>
                    <a:pt x="3" y="25"/>
                    <a:pt x="1" y="13"/>
                    <a:pt x="0" y="1"/>
                  </a:cubicBezTo>
                  <a:close/>
                </a:path>
              </a:pathLst>
            </a:custGeom>
            <a:solidFill>
              <a:srgbClr val="FFFFFF"/>
            </a:solidFill>
            <a:ln>
              <a:noFill/>
            </a:ln>
            <a:extLst>
              <a:ext uri="{91240B29-F687-4F45-9708-019B960494DF}">
                <a14:hiddenLine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25" name="íSļiḍé">
              <a:extLst>
                <a:ext uri="{FF2B5EF4-FFF2-40B4-BE49-F238E27FC236}">
                  <a16:creationId xmlns:a16="http://schemas.microsoft.com/office/drawing/2014/main" id="{125C8328-3277-46C0-9539-A915B50AA59A}"/>
                </a:ext>
              </a:extLst>
            </p:cNvPr>
            <p:cNvSpPr/>
            <p:nvPr/>
          </p:nvSpPr>
          <p:spPr bwMode="auto">
            <a:xfrm>
              <a:off x="-2774943" y="8444689"/>
              <a:ext cx="1233489" cy="227013"/>
            </a:xfrm>
            <a:custGeom>
              <a:gdLst>
                <a:gd fmla="*/ 38 w 541" name="T0"/>
                <a:gd fmla="*/ 99 h 99" name="T1"/>
                <a:gd fmla="*/ 0 w 541" name="T2"/>
                <a:gd fmla="*/ 63 h 99" name="T3"/>
                <a:gd fmla="*/ 258 w 541" name="T4"/>
                <a:gd fmla="*/ 32 h 99" name="T5"/>
                <a:gd fmla="*/ 501 w 541" name="T6"/>
                <a:gd fmla="*/ 0 h 99" name="T7"/>
                <a:gd fmla="*/ 541 w 541" name="T8"/>
                <a:gd fmla="*/ 36 h 99" name="T9"/>
                <a:gd fmla="*/ 297 w 541" name="T10"/>
                <a:gd fmla="*/ 68 h 99" name="T11"/>
                <a:gd fmla="*/ 38 w 541" name="T12"/>
                <a:gd fmla="*/ 99 h 99" name="T13"/>
              </a:gdLst>
              <a:cxnLst>
                <a:cxn ang="0">
                  <a:pos x="T0" y="T1"/>
                </a:cxn>
                <a:cxn ang="0">
                  <a:pos x="T2" y="T3"/>
                </a:cxn>
                <a:cxn ang="0">
                  <a:pos x="T4" y="T5"/>
                </a:cxn>
                <a:cxn ang="0">
                  <a:pos x="T6" y="T7"/>
                </a:cxn>
                <a:cxn ang="0">
                  <a:pos x="T8" y="T9"/>
                </a:cxn>
                <a:cxn ang="0">
                  <a:pos x="T10" y="T11"/>
                </a:cxn>
                <a:cxn ang="0">
                  <a:pos x="T12" y="T13"/>
                </a:cxn>
              </a:cxnLst>
              <a:rect b="b" l="0" r="r" t="0"/>
              <a:pathLst>
                <a:path h="99" w="541">
                  <a:moveTo>
                    <a:pt x="38" y="99"/>
                  </a:moveTo>
                  <a:cubicBezTo>
                    <a:pt x="25" y="87"/>
                    <a:pt x="12" y="75"/>
                    <a:pt x="0" y="63"/>
                  </a:cubicBezTo>
                  <a:cubicBezTo>
                    <a:pt x="87" y="53"/>
                    <a:pt x="174" y="42"/>
                    <a:pt x="258" y="32"/>
                  </a:cubicBezTo>
                  <a:cubicBezTo>
                    <a:pt x="341" y="22"/>
                    <a:pt x="422" y="11"/>
                    <a:pt x="501" y="0"/>
                  </a:cubicBezTo>
                  <a:cubicBezTo>
                    <a:pt x="514" y="13"/>
                    <a:pt x="528" y="25"/>
                    <a:pt x="541" y="36"/>
                  </a:cubicBezTo>
                  <a:cubicBezTo>
                    <a:pt x="462" y="47"/>
                    <a:pt x="380" y="57"/>
                    <a:pt x="297" y="68"/>
                  </a:cubicBezTo>
                  <a:cubicBezTo>
                    <a:pt x="212" y="78"/>
                    <a:pt x="126" y="89"/>
                    <a:pt x="38" y="99"/>
                  </a:cubicBezTo>
                  <a:close/>
                </a:path>
              </a:pathLst>
            </a:custGeom>
            <a:solidFill>
              <a:srgbClr val="FFFFFF"/>
            </a:solidFill>
            <a:ln>
              <a:noFill/>
            </a:ln>
            <a:extLst>
              <a:ext uri="{91240B29-F687-4F45-9708-019B960494DF}">
                <a14:hiddenLine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26" name="ïṥlïḋê">
              <a:extLst>
                <a:ext uri="{FF2B5EF4-FFF2-40B4-BE49-F238E27FC236}">
                  <a16:creationId xmlns:a16="http://schemas.microsoft.com/office/drawing/2014/main" id="{24663BDF-36E7-4B40-BC5F-D6D8165DBF77}"/>
                </a:ext>
              </a:extLst>
            </p:cNvPr>
            <p:cNvSpPr/>
            <p:nvPr/>
          </p:nvSpPr>
          <p:spPr bwMode="auto">
            <a:xfrm>
              <a:off x="-2919406" y="8101789"/>
              <a:ext cx="850901" cy="471488"/>
            </a:xfrm>
            <a:custGeom>
              <a:gdLst>
                <a:gd fmla="*/ 373 w 373" name="T0"/>
                <a:gd fmla="*/ 180 h 206" name="T1"/>
                <a:gd fmla="*/ 357 w 373" name="T2"/>
                <a:gd fmla="*/ 206 h 206" name="T3"/>
                <a:gd fmla="*/ 177 w 373" name="T4"/>
                <a:gd fmla="*/ 117 h 206" name="T5"/>
                <a:gd fmla="*/ 1 w 373" name="T6"/>
                <a:gd fmla="*/ 28 h 206" name="T7"/>
                <a:gd fmla="*/ 0 w 373" name="T8"/>
                <a:gd fmla="*/ 20 h 206" name="T9"/>
                <a:gd fmla="*/ 14 w 373" name="T10"/>
                <a:gd fmla="*/ 0 h 206" name="T11"/>
                <a:gd fmla="*/ 191 w 373" name="T12"/>
                <a:gd fmla="*/ 90 h 206" name="T13"/>
                <a:gd fmla="*/ 373 w 373" name="T14"/>
                <a:gd fmla="*/ 180 h 206" name="T15"/>
              </a:gdLst>
              <a:cxnLst>
                <a:cxn ang="0">
                  <a:pos x="T0" y="T1"/>
                </a:cxn>
                <a:cxn ang="0">
                  <a:pos x="T2" y="T3"/>
                </a:cxn>
                <a:cxn ang="0">
                  <a:pos x="T4" y="T5"/>
                </a:cxn>
                <a:cxn ang="0">
                  <a:pos x="T6" y="T7"/>
                </a:cxn>
                <a:cxn ang="0">
                  <a:pos x="T8" y="T9"/>
                </a:cxn>
                <a:cxn ang="0">
                  <a:pos x="T10" y="T11"/>
                </a:cxn>
                <a:cxn ang="0">
                  <a:pos x="T12" y="T13"/>
                </a:cxn>
                <a:cxn ang="0">
                  <a:pos x="T14" y="T15"/>
                </a:cxn>
              </a:cxnLst>
              <a:rect b="b" l="0" r="r" t="0"/>
              <a:pathLst>
                <a:path h="206" w="373">
                  <a:moveTo>
                    <a:pt x="373" y="180"/>
                  </a:moveTo>
                  <a:cubicBezTo>
                    <a:pt x="368" y="189"/>
                    <a:pt x="362" y="197"/>
                    <a:pt x="357" y="206"/>
                  </a:cubicBezTo>
                  <a:cubicBezTo>
                    <a:pt x="296" y="176"/>
                    <a:pt x="236" y="147"/>
                    <a:pt x="177" y="117"/>
                  </a:cubicBezTo>
                  <a:cubicBezTo>
                    <a:pt x="118" y="88"/>
                    <a:pt x="59" y="58"/>
                    <a:pt x="1" y="28"/>
                  </a:cubicBezTo>
                  <a:cubicBezTo>
                    <a:pt x="1" y="25"/>
                    <a:pt x="0" y="23"/>
                    <a:pt x="0" y="20"/>
                  </a:cubicBezTo>
                  <a:cubicBezTo>
                    <a:pt x="5" y="13"/>
                    <a:pt x="9" y="6"/>
                    <a:pt x="14" y="0"/>
                  </a:cubicBezTo>
                  <a:cubicBezTo>
                    <a:pt x="73" y="30"/>
                    <a:pt x="132" y="60"/>
                    <a:pt x="191" y="90"/>
                  </a:cubicBezTo>
                  <a:cubicBezTo>
                    <a:pt x="251" y="120"/>
                    <a:pt x="312" y="150"/>
                    <a:pt x="373" y="180"/>
                  </a:cubicBezTo>
                  <a:close/>
                </a:path>
              </a:pathLst>
            </a:custGeom>
            <a:solidFill>
              <a:srgbClr val="FFFFFF"/>
            </a:solidFill>
            <a:ln>
              <a:noFill/>
            </a:ln>
            <a:extLst>
              <a:ext uri="{91240B29-F687-4F45-9708-019B960494DF}">
                <a14:hiddenLine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27" name="ïṧļîďé">
              <a:extLst>
                <a:ext uri="{FF2B5EF4-FFF2-40B4-BE49-F238E27FC236}">
                  <a16:creationId xmlns:a16="http://schemas.microsoft.com/office/drawing/2014/main" id="{AB6D6530-FC4C-4E47-936E-8D90DDCE6E12}"/>
                </a:ext>
              </a:extLst>
            </p:cNvPr>
            <p:cNvSpPr/>
            <p:nvPr/>
          </p:nvSpPr>
          <p:spPr bwMode="auto">
            <a:xfrm>
              <a:off x="-2441569" y="7793813"/>
              <a:ext cx="1216025" cy="528638"/>
            </a:xfrm>
            <a:custGeom>
              <a:gdLst>
                <a:gd fmla="*/ 533 w 533" name="T0"/>
                <a:gd fmla="*/ 231 h 231" name="T1"/>
                <a:gd fmla="*/ 264 w 533" name="T2"/>
                <a:gd fmla="*/ 131 h 231" name="T3"/>
                <a:gd fmla="*/ 0 w 533" name="T4"/>
                <a:gd fmla="*/ 32 h 231" name="T5"/>
                <a:gd fmla="*/ 0 w 533" name="T6"/>
                <a:gd fmla="*/ 0 h 231" name="T7"/>
                <a:gd fmla="*/ 258 w 533" name="T8"/>
                <a:gd fmla="*/ 98 h 231" name="T9"/>
                <a:gd fmla="*/ 521 w 533" name="T10"/>
                <a:gd fmla="*/ 197 h 231" name="T11"/>
                <a:gd fmla="*/ 533 w 533" name="T12"/>
                <a:gd fmla="*/ 231 h 231" name="T13"/>
              </a:gdLst>
              <a:cxnLst>
                <a:cxn ang="0">
                  <a:pos x="T0" y="T1"/>
                </a:cxn>
                <a:cxn ang="0">
                  <a:pos x="T2" y="T3"/>
                </a:cxn>
                <a:cxn ang="0">
                  <a:pos x="T4" y="T5"/>
                </a:cxn>
                <a:cxn ang="0">
                  <a:pos x="T6" y="T7"/>
                </a:cxn>
                <a:cxn ang="0">
                  <a:pos x="T8" y="T9"/>
                </a:cxn>
                <a:cxn ang="0">
                  <a:pos x="T10" y="T11"/>
                </a:cxn>
                <a:cxn ang="0">
                  <a:pos x="T12" y="T13"/>
                </a:cxn>
              </a:cxnLst>
              <a:rect b="b" l="0" r="r" t="0"/>
              <a:pathLst>
                <a:path h="231" w="533">
                  <a:moveTo>
                    <a:pt x="533" y="231"/>
                  </a:moveTo>
                  <a:cubicBezTo>
                    <a:pt x="443" y="198"/>
                    <a:pt x="353" y="164"/>
                    <a:pt x="264" y="131"/>
                  </a:cubicBezTo>
                  <a:cubicBezTo>
                    <a:pt x="175" y="98"/>
                    <a:pt x="87" y="65"/>
                    <a:pt x="0" y="32"/>
                  </a:cubicBezTo>
                  <a:cubicBezTo>
                    <a:pt x="0" y="21"/>
                    <a:pt x="0" y="11"/>
                    <a:pt x="0" y="0"/>
                  </a:cubicBezTo>
                  <a:cubicBezTo>
                    <a:pt x="85" y="33"/>
                    <a:pt x="171" y="66"/>
                    <a:pt x="258" y="98"/>
                  </a:cubicBezTo>
                  <a:cubicBezTo>
                    <a:pt x="345" y="131"/>
                    <a:pt x="433" y="164"/>
                    <a:pt x="521" y="197"/>
                  </a:cubicBezTo>
                  <a:cubicBezTo>
                    <a:pt x="525" y="208"/>
                    <a:pt x="529" y="219"/>
                    <a:pt x="533" y="231"/>
                  </a:cubicBezTo>
                  <a:close/>
                </a:path>
              </a:pathLst>
            </a:custGeom>
            <a:solidFill>
              <a:srgbClr val="FFFFFF"/>
            </a:solidFill>
            <a:ln>
              <a:noFill/>
            </a:ln>
            <a:extLst>
              <a:ext uri="{91240B29-F687-4F45-9708-019B960494DF}">
                <a14:hiddenLine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28" name="ïŝlíḓè">
              <a:extLst>
                <a:ext uri="{FF2B5EF4-FFF2-40B4-BE49-F238E27FC236}">
                  <a16:creationId xmlns:a16="http://schemas.microsoft.com/office/drawing/2014/main" id="{07FECCEA-C206-4BF0-94D9-2C6854A60007}"/>
                </a:ext>
              </a:extLst>
            </p:cNvPr>
            <p:cNvSpPr/>
            <p:nvPr/>
          </p:nvSpPr>
          <p:spPr bwMode="auto">
            <a:xfrm>
              <a:off x="-2279644" y="8043051"/>
              <a:ext cx="517524" cy="188913"/>
            </a:xfrm>
            <a:custGeom>
              <a:gdLst>
                <a:gd fmla="*/ 38 w 227" name="T0"/>
                <a:gd fmla="*/ 83 h 83" name="T1"/>
                <a:gd fmla="*/ 0 w 227" name="T2"/>
                <a:gd fmla="*/ 47 h 83" name="T3"/>
                <a:gd fmla="*/ 96 w 227" name="T4"/>
                <a:gd fmla="*/ 24 h 83" name="T5"/>
                <a:gd fmla="*/ 188 w 227" name="T6"/>
                <a:gd fmla="*/ 0 h 83" name="T7"/>
                <a:gd fmla="*/ 227 w 227" name="T8"/>
                <a:gd fmla="*/ 35 h 83" name="T9"/>
                <a:gd fmla="*/ 134 w 227" name="T10"/>
                <a:gd fmla="*/ 59 h 83" name="T11"/>
                <a:gd fmla="*/ 38 w 227" name="T12"/>
                <a:gd fmla="*/ 83 h 83" name="T13"/>
              </a:gdLst>
              <a:cxnLst>
                <a:cxn ang="0">
                  <a:pos x="T0" y="T1"/>
                </a:cxn>
                <a:cxn ang="0">
                  <a:pos x="T2" y="T3"/>
                </a:cxn>
                <a:cxn ang="0">
                  <a:pos x="T4" y="T5"/>
                </a:cxn>
                <a:cxn ang="0">
                  <a:pos x="T6" y="T7"/>
                </a:cxn>
                <a:cxn ang="0">
                  <a:pos x="T8" y="T9"/>
                </a:cxn>
                <a:cxn ang="0">
                  <a:pos x="T10" y="T11"/>
                </a:cxn>
                <a:cxn ang="0">
                  <a:pos x="T12" y="T13"/>
                </a:cxn>
              </a:cxnLst>
              <a:rect b="b" l="0" r="r" t="0"/>
              <a:pathLst>
                <a:path h="83" w="226">
                  <a:moveTo>
                    <a:pt x="38" y="83"/>
                  </a:moveTo>
                  <a:cubicBezTo>
                    <a:pt x="25" y="71"/>
                    <a:pt x="13" y="59"/>
                    <a:pt x="0" y="47"/>
                  </a:cubicBezTo>
                  <a:cubicBezTo>
                    <a:pt x="32" y="39"/>
                    <a:pt x="65" y="32"/>
                    <a:pt x="96" y="24"/>
                  </a:cubicBezTo>
                  <a:cubicBezTo>
                    <a:pt x="127" y="16"/>
                    <a:pt x="158" y="8"/>
                    <a:pt x="188" y="0"/>
                  </a:cubicBezTo>
                  <a:cubicBezTo>
                    <a:pt x="201" y="12"/>
                    <a:pt x="214" y="24"/>
                    <a:pt x="227" y="35"/>
                  </a:cubicBezTo>
                  <a:cubicBezTo>
                    <a:pt x="196" y="43"/>
                    <a:pt x="165" y="51"/>
                    <a:pt x="134" y="59"/>
                  </a:cubicBezTo>
                  <a:cubicBezTo>
                    <a:pt x="102" y="67"/>
                    <a:pt x="70" y="75"/>
                    <a:pt x="38" y="83"/>
                  </a:cubicBezTo>
                  <a:close/>
                </a:path>
              </a:pathLst>
            </a:custGeom>
            <a:solidFill>
              <a:srgbClr val="FFFFFF"/>
            </a:solidFill>
            <a:ln>
              <a:noFill/>
            </a:ln>
            <a:extLst>
              <a:ext uri="{91240B29-F687-4F45-9708-019B960494DF}">
                <a14:hiddenLine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29" name="îś1îḍé">
              <a:extLst>
                <a:ext uri="{FF2B5EF4-FFF2-40B4-BE49-F238E27FC236}">
                  <a16:creationId xmlns:a16="http://schemas.microsoft.com/office/drawing/2014/main" id="{4F282017-6A2C-45BB-850A-352B8AC43888}"/>
                </a:ext>
              </a:extLst>
            </p:cNvPr>
            <p:cNvSpPr/>
            <p:nvPr/>
          </p:nvSpPr>
          <p:spPr bwMode="auto">
            <a:xfrm>
              <a:off x="-3052756" y="6890525"/>
              <a:ext cx="1450976" cy="311150"/>
            </a:xfrm>
            <a:custGeom>
              <a:gdLst>
                <a:gd fmla="*/ 0 w 636" name="T0"/>
                <a:gd fmla="*/ 0 h 136" name="T1"/>
                <a:gd fmla="*/ 317 w 636" name="T2"/>
                <a:gd fmla="*/ 51 h 136" name="T3"/>
                <a:gd fmla="*/ 624 w 636" name="T4"/>
                <a:gd fmla="*/ 102 h 136" name="T5"/>
                <a:gd fmla="*/ 636 w 636" name="T6"/>
                <a:gd fmla="*/ 136 h 136" name="T7"/>
                <a:gd fmla="*/ 325 w 636" name="T8"/>
                <a:gd fmla="*/ 85 h 136" name="T9"/>
                <a:gd fmla="*/ 3 w 636" name="T10"/>
                <a:gd fmla="*/ 33 h 136" name="T11"/>
                <a:gd fmla="*/ 0 w 636" name="T12"/>
                <a:gd fmla="*/ 0 h 136" name="T13"/>
              </a:gdLst>
              <a:cxnLst>
                <a:cxn ang="0">
                  <a:pos x="T0" y="T1"/>
                </a:cxn>
                <a:cxn ang="0">
                  <a:pos x="T2" y="T3"/>
                </a:cxn>
                <a:cxn ang="0">
                  <a:pos x="T4" y="T5"/>
                </a:cxn>
                <a:cxn ang="0">
                  <a:pos x="T6" y="T7"/>
                </a:cxn>
                <a:cxn ang="0">
                  <a:pos x="T8" y="T9"/>
                </a:cxn>
                <a:cxn ang="0">
                  <a:pos x="T10" y="T11"/>
                </a:cxn>
                <a:cxn ang="0">
                  <a:pos x="T12" y="T13"/>
                </a:cxn>
              </a:cxnLst>
              <a:rect b="b" l="0" r="r" t="0"/>
              <a:pathLst>
                <a:path h="136" w="636">
                  <a:moveTo>
                    <a:pt x="0" y="0"/>
                  </a:moveTo>
                  <a:cubicBezTo>
                    <a:pt x="107" y="17"/>
                    <a:pt x="213" y="34"/>
                    <a:pt x="317" y="51"/>
                  </a:cubicBezTo>
                  <a:cubicBezTo>
                    <a:pt x="421" y="68"/>
                    <a:pt x="523" y="85"/>
                    <a:pt x="624" y="102"/>
                  </a:cubicBezTo>
                  <a:cubicBezTo>
                    <a:pt x="628" y="114"/>
                    <a:pt x="632" y="125"/>
                    <a:pt x="636" y="136"/>
                  </a:cubicBezTo>
                  <a:cubicBezTo>
                    <a:pt x="533" y="119"/>
                    <a:pt x="430" y="102"/>
                    <a:pt x="325" y="85"/>
                  </a:cubicBezTo>
                  <a:cubicBezTo>
                    <a:pt x="219" y="68"/>
                    <a:pt x="112" y="51"/>
                    <a:pt x="3" y="33"/>
                  </a:cubicBezTo>
                  <a:cubicBezTo>
                    <a:pt x="2" y="22"/>
                    <a:pt x="1" y="11"/>
                    <a:pt x="0" y="0"/>
                  </a:cubicBezTo>
                  <a:close/>
                </a:path>
              </a:pathLst>
            </a:custGeom>
            <a:solidFill>
              <a:srgbClr val="FFFFFF"/>
            </a:solidFill>
            <a:ln>
              <a:noFill/>
            </a:ln>
            <a:extLst>
              <a:ext uri="{91240B29-F687-4F45-9708-019B960494DF}">
                <a14:hiddenLine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30" name="íSļîḑè">
              <a:extLst>
                <a:ext uri="{FF2B5EF4-FFF2-40B4-BE49-F238E27FC236}">
                  <a16:creationId xmlns:a16="http://schemas.microsoft.com/office/drawing/2014/main" id="{626B91A6-34A1-496A-A958-C2B3B85DC508}"/>
                </a:ext>
              </a:extLst>
            </p:cNvPr>
            <p:cNvSpPr/>
            <p:nvPr/>
          </p:nvSpPr>
          <p:spPr bwMode="auto">
            <a:xfrm>
              <a:off x="-3046407" y="6966725"/>
              <a:ext cx="835025" cy="809625"/>
            </a:xfrm>
            <a:custGeom>
              <a:gdLst>
                <a:gd fmla="*/ 366 w 366" name="T0"/>
                <a:gd fmla="*/ 328 h 354" name="T1"/>
                <a:gd fmla="*/ 353 w 366" name="T2"/>
                <a:gd fmla="*/ 354 h 354" name="T3"/>
                <a:gd fmla="*/ 173 w 366" name="T4"/>
                <a:gd fmla="*/ 199 h 354" name="T5"/>
                <a:gd fmla="*/ 5 w 366" name="T6"/>
                <a:gd fmla="*/ 45 h 354" name="T7"/>
                <a:gd fmla="*/ 0 w 366" name="T8"/>
                <a:gd fmla="*/ 0 h 354" name="T9"/>
                <a:gd fmla="*/ 177 w 366" name="T10"/>
                <a:gd fmla="*/ 164 h 354" name="T11"/>
                <a:gd fmla="*/ 366 w 366" name="T12"/>
                <a:gd fmla="*/ 328 h 354" name="T13"/>
              </a:gdLst>
              <a:cxnLst>
                <a:cxn ang="0">
                  <a:pos x="T0" y="T1"/>
                </a:cxn>
                <a:cxn ang="0">
                  <a:pos x="T2" y="T3"/>
                </a:cxn>
                <a:cxn ang="0">
                  <a:pos x="T4" y="T5"/>
                </a:cxn>
                <a:cxn ang="0">
                  <a:pos x="T6" y="T7"/>
                </a:cxn>
                <a:cxn ang="0">
                  <a:pos x="T8" y="T9"/>
                </a:cxn>
                <a:cxn ang="0">
                  <a:pos x="T10" y="T11"/>
                </a:cxn>
                <a:cxn ang="0">
                  <a:pos x="T12" y="T13"/>
                </a:cxn>
              </a:cxnLst>
              <a:rect b="b" l="0" r="r" t="0"/>
              <a:pathLst>
                <a:path h="354" w="366">
                  <a:moveTo>
                    <a:pt x="366" y="328"/>
                  </a:moveTo>
                  <a:cubicBezTo>
                    <a:pt x="362" y="337"/>
                    <a:pt x="357" y="345"/>
                    <a:pt x="353" y="354"/>
                  </a:cubicBezTo>
                  <a:cubicBezTo>
                    <a:pt x="292" y="302"/>
                    <a:pt x="232" y="251"/>
                    <a:pt x="173" y="199"/>
                  </a:cubicBezTo>
                  <a:cubicBezTo>
                    <a:pt x="116" y="148"/>
                    <a:pt x="60" y="96"/>
                    <a:pt x="5" y="45"/>
                  </a:cubicBezTo>
                  <a:cubicBezTo>
                    <a:pt x="4" y="30"/>
                    <a:pt x="2" y="15"/>
                    <a:pt x="0" y="0"/>
                  </a:cubicBezTo>
                  <a:cubicBezTo>
                    <a:pt x="58" y="54"/>
                    <a:pt x="116" y="110"/>
                    <a:pt x="177" y="164"/>
                  </a:cubicBezTo>
                  <a:cubicBezTo>
                    <a:pt x="238" y="219"/>
                    <a:pt x="302" y="274"/>
                    <a:pt x="366" y="328"/>
                  </a:cubicBezTo>
                  <a:close/>
                </a:path>
              </a:pathLst>
            </a:custGeom>
            <a:solidFill>
              <a:srgbClr val="FFFFFF"/>
            </a:solidFill>
            <a:ln>
              <a:noFill/>
            </a:ln>
            <a:extLst>
              <a:ext uri="{91240B29-F687-4F45-9708-019B960494DF}">
                <a14:hiddenLine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31" name="ïṩḻïḑé">
              <a:extLst>
                <a:ext uri="{FF2B5EF4-FFF2-40B4-BE49-F238E27FC236}">
                  <a16:creationId xmlns:a16="http://schemas.microsoft.com/office/drawing/2014/main" id="{DB756593-B551-4FFD-BA1B-9F9BD4BA9E50}"/>
                </a:ext>
              </a:extLst>
            </p:cNvPr>
            <p:cNvSpPr/>
            <p:nvPr/>
          </p:nvSpPr>
          <p:spPr bwMode="auto">
            <a:xfrm>
              <a:off x="-2795582" y="7266763"/>
              <a:ext cx="1304926" cy="271462"/>
            </a:xfrm>
            <a:custGeom>
              <a:gdLst>
                <a:gd fmla="*/ 41 w 572" name="T0"/>
                <a:gd fmla="*/ 39 h 119" name="T1"/>
                <a:gd fmla="*/ 0 w 572" name="T2"/>
                <a:gd fmla="*/ 0 h 119" name="T3"/>
                <a:gd fmla="*/ 284 w 572" name="T4"/>
                <a:gd fmla="*/ 42 h 119" name="T5"/>
                <a:gd fmla="*/ 561 w 572" name="T6"/>
                <a:gd fmla="*/ 84 h 119" name="T7"/>
                <a:gd fmla="*/ 572 w 572" name="T8"/>
                <a:gd fmla="*/ 119 h 119" name="T9"/>
                <a:gd fmla="*/ 310 w 572" name="T10"/>
                <a:gd fmla="*/ 79 h 119" name="T11"/>
                <a:gd fmla="*/ 41 w 572" name="T12"/>
                <a:gd fmla="*/ 39 h 119" name="T13"/>
              </a:gdLst>
              <a:cxnLst>
                <a:cxn ang="0">
                  <a:pos x="T0" y="T1"/>
                </a:cxn>
                <a:cxn ang="0">
                  <a:pos x="T2" y="T3"/>
                </a:cxn>
                <a:cxn ang="0">
                  <a:pos x="T4" y="T5"/>
                </a:cxn>
                <a:cxn ang="0">
                  <a:pos x="T6" y="T7"/>
                </a:cxn>
                <a:cxn ang="0">
                  <a:pos x="T8" y="T9"/>
                </a:cxn>
                <a:cxn ang="0">
                  <a:pos x="T10" y="T11"/>
                </a:cxn>
                <a:cxn ang="0">
                  <a:pos x="T12" y="T13"/>
                </a:cxn>
              </a:cxnLst>
              <a:rect b="b" l="0" r="r" t="0"/>
              <a:pathLst>
                <a:path h="119" w="572">
                  <a:moveTo>
                    <a:pt x="41" y="39"/>
                  </a:moveTo>
                  <a:cubicBezTo>
                    <a:pt x="28" y="26"/>
                    <a:pt x="14" y="13"/>
                    <a:pt x="0" y="0"/>
                  </a:cubicBezTo>
                  <a:cubicBezTo>
                    <a:pt x="96" y="14"/>
                    <a:pt x="191" y="28"/>
                    <a:pt x="284" y="42"/>
                  </a:cubicBezTo>
                  <a:cubicBezTo>
                    <a:pt x="377" y="56"/>
                    <a:pt x="469" y="70"/>
                    <a:pt x="561" y="84"/>
                  </a:cubicBezTo>
                  <a:cubicBezTo>
                    <a:pt x="564" y="96"/>
                    <a:pt x="568" y="107"/>
                    <a:pt x="572" y="119"/>
                  </a:cubicBezTo>
                  <a:cubicBezTo>
                    <a:pt x="486" y="106"/>
                    <a:pt x="398" y="92"/>
                    <a:pt x="310" y="79"/>
                  </a:cubicBezTo>
                  <a:cubicBezTo>
                    <a:pt x="221" y="66"/>
                    <a:pt x="132" y="53"/>
                    <a:pt x="41" y="39"/>
                  </a:cubicBezTo>
                  <a:close/>
                </a:path>
              </a:pathLst>
            </a:custGeom>
            <a:solidFill>
              <a:srgbClr val="FFFFFF"/>
            </a:solidFill>
            <a:ln>
              <a:noFill/>
            </a:ln>
            <a:extLst>
              <a:ext uri="{91240B29-F687-4F45-9708-019B960494DF}">
                <a14:hiddenLine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32" name="isḻïdé">
              <a:extLst>
                <a:ext uri="{FF2B5EF4-FFF2-40B4-BE49-F238E27FC236}">
                  <a16:creationId xmlns:a16="http://schemas.microsoft.com/office/drawing/2014/main" id="{EFAD2AEC-C07F-4D61-B37A-5E8F88A8A9AC}"/>
                </a:ext>
              </a:extLst>
            </p:cNvPr>
            <p:cNvSpPr/>
            <p:nvPr/>
          </p:nvSpPr>
          <p:spPr bwMode="auto">
            <a:xfrm>
              <a:off x="-2635244" y="6712724"/>
              <a:ext cx="1289050" cy="1250952"/>
            </a:xfrm>
            <a:custGeom>
              <a:gdLst>
                <a:gd fmla="*/ 565 w 565" name="T0"/>
                <a:gd fmla="*/ 547 h 547" name="T1"/>
                <a:gd fmla="*/ 266 w 565" name="T2"/>
                <a:gd fmla="*/ 274 h 547" name="T3"/>
                <a:gd fmla="*/ 0 w 565" name="T4"/>
                <a:gd fmla="*/ 0 h 547" name="T5"/>
                <a:gd fmla="*/ 49 w 565" name="T6"/>
                <a:gd fmla="*/ 16 h 547" name="T7"/>
                <a:gd fmla="*/ 286 w 565" name="T8"/>
                <a:gd fmla="*/ 257 h 547" name="T9"/>
                <a:gd fmla="*/ 549 w 565" name="T10"/>
                <a:gd fmla="*/ 498 h 547" name="T11"/>
                <a:gd fmla="*/ 565 w 565" name="T12"/>
                <a:gd fmla="*/ 547 h 547" name="T13"/>
              </a:gdLst>
              <a:cxnLst>
                <a:cxn ang="0">
                  <a:pos x="T0" y="T1"/>
                </a:cxn>
                <a:cxn ang="0">
                  <a:pos x="T2" y="T3"/>
                </a:cxn>
                <a:cxn ang="0">
                  <a:pos x="T4" y="T5"/>
                </a:cxn>
                <a:cxn ang="0">
                  <a:pos x="T6" y="T7"/>
                </a:cxn>
                <a:cxn ang="0">
                  <a:pos x="T8" y="T9"/>
                </a:cxn>
                <a:cxn ang="0">
                  <a:pos x="T10" y="T11"/>
                </a:cxn>
                <a:cxn ang="0">
                  <a:pos x="T12" y="T13"/>
                </a:cxn>
              </a:cxnLst>
              <a:rect b="b" l="0" r="r" t="0"/>
              <a:pathLst>
                <a:path h="547" w="565">
                  <a:moveTo>
                    <a:pt x="565" y="547"/>
                  </a:moveTo>
                  <a:cubicBezTo>
                    <a:pt x="462" y="456"/>
                    <a:pt x="361" y="366"/>
                    <a:pt x="266" y="274"/>
                  </a:cubicBezTo>
                  <a:cubicBezTo>
                    <a:pt x="173" y="184"/>
                    <a:pt x="85" y="92"/>
                    <a:pt x="0" y="0"/>
                  </a:cubicBezTo>
                  <a:cubicBezTo>
                    <a:pt x="16" y="5"/>
                    <a:pt x="33" y="11"/>
                    <a:pt x="49" y="16"/>
                  </a:cubicBezTo>
                  <a:cubicBezTo>
                    <a:pt x="126" y="96"/>
                    <a:pt x="204" y="178"/>
                    <a:pt x="286" y="257"/>
                  </a:cubicBezTo>
                  <a:cubicBezTo>
                    <a:pt x="370" y="338"/>
                    <a:pt x="458" y="418"/>
                    <a:pt x="549" y="498"/>
                  </a:cubicBezTo>
                  <a:cubicBezTo>
                    <a:pt x="554" y="514"/>
                    <a:pt x="559" y="530"/>
                    <a:pt x="565" y="547"/>
                  </a:cubicBezTo>
                  <a:close/>
                </a:path>
              </a:pathLst>
            </a:custGeom>
            <a:solidFill>
              <a:srgbClr val="FFFFFF"/>
            </a:solidFill>
            <a:ln>
              <a:noFill/>
            </a:ln>
            <a:extLst>
              <a:ext uri="{91240B29-F687-4F45-9708-019B960494DF}">
                <a14:hiddenLine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33" name="ïṥ1iḓe">
              <a:extLst>
                <a:ext uri="{FF2B5EF4-FFF2-40B4-BE49-F238E27FC236}">
                  <a16:creationId xmlns:a16="http://schemas.microsoft.com/office/drawing/2014/main" id="{207BD594-E42C-4B4C-8123-2A96DD196548}"/>
                </a:ext>
              </a:extLst>
            </p:cNvPr>
            <p:cNvSpPr/>
            <p:nvPr/>
          </p:nvSpPr>
          <p:spPr bwMode="auto">
            <a:xfrm>
              <a:off x="-2497131" y="7523938"/>
              <a:ext cx="931863" cy="203200"/>
            </a:xfrm>
            <a:custGeom>
              <a:gdLst>
                <a:gd fmla="*/ 44 w 408" name="T0"/>
                <a:gd fmla="*/ 40 h 89" name="T1"/>
                <a:gd fmla="*/ 0 w 408" name="T2"/>
                <a:gd fmla="*/ 0 h 89" name="T3"/>
                <a:gd fmla="*/ 183 w 408" name="T4"/>
                <a:gd fmla="*/ 24 h 89" name="T5"/>
                <a:gd fmla="*/ 362 w 408" name="T6"/>
                <a:gd fmla="*/ 49 h 89" name="T7"/>
                <a:gd fmla="*/ 408 w 408" name="T8"/>
                <a:gd fmla="*/ 89 h 89" name="T9"/>
                <a:gd fmla="*/ 228 w 408" name="T10"/>
                <a:gd fmla="*/ 64 h 89" name="T11"/>
                <a:gd fmla="*/ 44 w 408" name="T12"/>
                <a:gd fmla="*/ 40 h 89" name="T13"/>
              </a:gdLst>
              <a:cxnLst>
                <a:cxn ang="0">
                  <a:pos x="T0" y="T1"/>
                </a:cxn>
                <a:cxn ang="0">
                  <a:pos x="T2" y="T3"/>
                </a:cxn>
                <a:cxn ang="0">
                  <a:pos x="T4" y="T5"/>
                </a:cxn>
                <a:cxn ang="0">
                  <a:pos x="T6" y="T7"/>
                </a:cxn>
                <a:cxn ang="0">
                  <a:pos x="T8" y="T9"/>
                </a:cxn>
                <a:cxn ang="0">
                  <a:pos x="T10" y="T11"/>
                </a:cxn>
                <a:cxn ang="0">
                  <a:pos x="T12" y="T13"/>
                </a:cxn>
              </a:cxnLst>
              <a:rect b="b" l="0" r="r" t="0"/>
              <a:pathLst>
                <a:path h="89" w="408">
                  <a:moveTo>
                    <a:pt x="44" y="40"/>
                  </a:moveTo>
                  <a:cubicBezTo>
                    <a:pt x="29" y="26"/>
                    <a:pt x="15" y="13"/>
                    <a:pt x="0" y="0"/>
                  </a:cubicBezTo>
                  <a:cubicBezTo>
                    <a:pt x="62" y="8"/>
                    <a:pt x="122" y="16"/>
                    <a:pt x="183" y="24"/>
                  </a:cubicBezTo>
                  <a:cubicBezTo>
                    <a:pt x="243" y="33"/>
                    <a:pt x="302" y="41"/>
                    <a:pt x="362" y="49"/>
                  </a:cubicBezTo>
                  <a:cubicBezTo>
                    <a:pt x="377" y="62"/>
                    <a:pt x="392" y="76"/>
                    <a:pt x="408" y="89"/>
                  </a:cubicBezTo>
                  <a:cubicBezTo>
                    <a:pt x="348" y="81"/>
                    <a:pt x="288" y="73"/>
                    <a:pt x="228" y="64"/>
                  </a:cubicBezTo>
                  <a:cubicBezTo>
                    <a:pt x="167" y="56"/>
                    <a:pt x="105" y="48"/>
                    <a:pt x="44" y="40"/>
                  </a:cubicBezTo>
                  <a:close/>
                </a:path>
              </a:pathLst>
            </a:custGeom>
            <a:solidFill>
              <a:srgbClr val="FFFFFF"/>
            </a:solidFill>
            <a:ln>
              <a:noFill/>
            </a:ln>
            <a:extLst>
              <a:ext uri="{91240B29-F687-4F45-9708-019B960494DF}">
                <a14:hiddenLine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34" name="îSliḍe">
              <a:extLst>
                <a:ext uri="{FF2B5EF4-FFF2-40B4-BE49-F238E27FC236}">
                  <a16:creationId xmlns:a16="http://schemas.microsoft.com/office/drawing/2014/main" id="{7BF545E9-BD83-4142-A223-305CD9133864}"/>
                </a:ext>
              </a:extLst>
            </p:cNvPr>
            <p:cNvSpPr/>
            <p:nvPr/>
          </p:nvSpPr>
          <p:spPr bwMode="auto">
            <a:xfrm>
              <a:off x="-3024181" y="7173100"/>
              <a:ext cx="427038" cy="200025"/>
            </a:xfrm>
            <a:custGeom>
              <a:gdLst>
                <a:gd fmla="*/ 0 w 187" name="T0"/>
                <a:gd fmla="*/ 0 h 88" name="T1"/>
                <a:gd fmla="*/ 127 w 187" name="T2"/>
                <a:gd fmla="*/ 35 h 88" name="T3"/>
                <a:gd fmla="*/ 187 w 187" name="T4"/>
                <a:gd fmla="*/ 88 h 88" name="T5"/>
                <a:gd fmla="*/ 96 w 187" name="T6"/>
                <a:gd fmla="*/ 62 h 88" name="T7"/>
                <a:gd fmla="*/ 4 w 187" name="T8"/>
                <a:gd fmla="*/ 37 h 88" name="T9"/>
                <a:gd fmla="*/ 0 w 187" name="T10"/>
                <a:gd fmla="*/ 0 h 88" name="T11"/>
              </a:gdLst>
              <a:cxnLst>
                <a:cxn ang="0">
                  <a:pos x="T0" y="T1"/>
                </a:cxn>
                <a:cxn ang="0">
                  <a:pos x="T2" y="T3"/>
                </a:cxn>
                <a:cxn ang="0">
                  <a:pos x="T4" y="T5"/>
                </a:cxn>
                <a:cxn ang="0">
                  <a:pos x="T6" y="T7"/>
                </a:cxn>
                <a:cxn ang="0">
                  <a:pos x="T8" y="T9"/>
                </a:cxn>
                <a:cxn ang="0">
                  <a:pos x="T10" y="T11"/>
                </a:cxn>
              </a:cxnLst>
              <a:rect b="b" l="0" r="r" t="0"/>
              <a:pathLst>
                <a:path h="88" w="187">
                  <a:moveTo>
                    <a:pt x="0" y="0"/>
                  </a:moveTo>
                  <a:cubicBezTo>
                    <a:pt x="43" y="12"/>
                    <a:pt x="85" y="24"/>
                    <a:pt x="127" y="35"/>
                  </a:cubicBezTo>
                  <a:cubicBezTo>
                    <a:pt x="147" y="53"/>
                    <a:pt x="167" y="70"/>
                    <a:pt x="187" y="88"/>
                  </a:cubicBezTo>
                  <a:cubicBezTo>
                    <a:pt x="157" y="79"/>
                    <a:pt x="126" y="71"/>
                    <a:pt x="96" y="62"/>
                  </a:cubicBezTo>
                  <a:cubicBezTo>
                    <a:pt x="65" y="54"/>
                    <a:pt x="35" y="46"/>
                    <a:pt x="4" y="37"/>
                  </a:cubicBezTo>
                  <a:cubicBezTo>
                    <a:pt x="3" y="25"/>
                    <a:pt x="1" y="12"/>
                    <a:pt x="0" y="0"/>
                  </a:cubicBezTo>
                  <a:close/>
                </a:path>
              </a:pathLst>
            </a:custGeom>
            <a:solidFill>
              <a:srgbClr val="FFFFFF"/>
            </a:solidFill>
            <a:ln>
              <a:noFill/>
            </a:ln>
            <a:extLst>
              <a:ext uri="{91240B29-F687-4F45-9708-019B960494DF}">
                <a14:hiddenLine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35" name="î$1îḑè">
              <a:extLst>
                <a:ext uri="{FF2B5EF4-FFF2-40B4-BE49-F238E27FC236}">
                  <a16:creationId xmlns:a16="http://schemas.microsoft.com/office/drawing/2014/main" id="{EBA74612-6E81-4D1F-8639-6E2CFAD08573}"/>
                </a:ext>
              </a:extLst>
            </p:cNvPr>
            <p:cNvSpPr/>
            <p:nvPr/>
          </p:nvSpPr>
          <p:spPr bwMode="auto">
            <a:xfrm>
              <a:off x="-3078156" y="6650812"/>
              <a:ext cx="601663" cy="190500"/>
            </a:xfrm>
            <a:custGeom>
              <a:gdLst>
                <a:gd fmla="*/ 0 w 264" name="T0"/>
                <a:gd fmla="*/ 0 h 83" name="T1"/>
                <a:gd fmla="*/ 113 w 264" name="T2"/>
                <a:gd fmla="*/ 22 h 83" name="T3"/>
                <a:gd fmla="*/ 225 w 264" name="T4"/>
                <a:gd fmla="*/ 43 h 83" name="T5"/>
                <a:gd fmla="*/ 264 w 264" name="T6"/>
                <a:gd fmla="*/ 83 h 83" name="T7"/>
                <a:gd fmla="*/ 134 w 264" name="T8"/>
                <a:gd fmla="*/ 58 h 83" name="T9"/>
                <a:gd fmla="*/ 3 w 264" name="T10"/>
                <a:gd fmla="*/ 34 h 83" name="T11"/>
                <a:gd fmla="*/ 0 w 264" name="T12"/>
                <a:gd fmla="*/ 0 h 83" name="T13"/>
              </a:gdLst>
              <a:cxnLst>
                <a:cxn ang="0">
                  <a:pos x="T0" y="T1"/>
                </a:cxn>
                <a:cxn ang="0">
                  <a:pos x="T2" y="T3"/>
                </a:cxn>
                <a:cxn ang="0">
                  <a:pos x="T4" y="T5"/>
                </a:cxn>
                <a:cxn ang="0">
                  <a:pos x="T6" y="T7"/>
                </a:cxn>
                <a:cxn ang="0">
                  <a:pos x="T8" y="T9"/>
                </a:cxn>
                <a:cxn ang="0">
                  <a:pos x="T10" y="T11"/>
                </a:cxn>
                <a:cxn ang="0">
                  <a:pos x="T12" y="T13"/>
                </a:cxn>
              </a:cxnLst>
              <a:rect b="b" l="0" r="r" t="0"/>
              <a:pathLst>
                <a:path h="83" w="264">
                  <a:moveTo>
                    <a:pt x="0" y="0"/>
                  </a:moveTo>
                  <a:cubicBezTo>
                    <a:pt x="38" y="8"/>
                    <a:pt x="75" y="14"/>
                    <a:pt x="113" y="22"/>
                  </a:cubicBezTo>
                  <a:cubicBezTo>
                    <a:pt x="150" y="29"/>
                    <a:pt x="187" y="36"/>
                    <a:pt x="225" y="43"/>
                  </a:cubicBezTo>
                  <a:cubicBezTo>
                    <a:pt x="238" y="56"/>
                    <a:pt x="251" y="69"/>
                    <a:pt x="264" y="83"/>
                  </a:cubicBezTo>
                  <a:cubicBezTo>
                    <a:pt x="221" y="75"/>
                    <a:pt x="178" y="67"/>
                    <a:pt x="134" y="58"/>
                  </a:cubicBezTo>
                  <a:cubicBezTo>
                    <a:pt x="91" y="50"/>
                    <a:pt x="47" y="42"/>
                    <a:pt x="3" y="34"/>
                  </a:cubicBezTo>
                  <a:cubicBezTo>
                    <a:pt x="2" y="23"/>
                    <a:pt x="1" y="12"/>
                    <a:pt x="0" y="0"/>
                  </a:cubicBezTo>
                  <a:close/>
                </a:path>
              </a:pathLst>
            </a:custGeom>
            <a:solidFill>
              <a:srgbClr val="FFFFFF"/>
            </a:solidFill>
            <a:ln>
              <a:noFill/>
            </a:ln>
            <a:extLst>
              <a:ext uri="{91240B29-F687-4F45-9708-019B960494DF}">
                <a14:hiddenLine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36" name="isliḓé">
              <a:extLst>
                <a:ext uri="{FF2B5EF4-FFF2-40B4-BE49-F238E27FC236}">
                  <a16:creationId xmlns:a16="http://schemas.microsoft.com/office/drawing/2014/main" id="{2EBED253-0F78-4B36-98D9-25A59471F631}"/>
                </a:ext>
              </a:extLst>
            </p:cNvPr>
            <p:cNvSpPr/>
            <p:nvPr/>
          </p:nvSpPr>
          <p:spPr bwMode="auto">
            <a:xfrm>
              <a:off x="-2927343" y="8073214"/>
              <a:ext cx="12700" cy="20638"/>
            </a:xfrm>
            <a:custGeom>
              <a:gdLst>
                <a:gd fmla="*/ 6 w 6" name="T0"/>
                <a:gd fmla="*/ 3 h 9" name="T1"/>
                <a:gd fmla="*/ 2 w 6" name="T2"/>
                <a:gd fmla="*/ 9 h 9" name="T3"/>
                <a:gd fmla="*/ 0 w 6" name="T4"/>
                <a:gd fmla="*/ 0 h 9" name="T5"/>
                <a:gd fmla="*/ 6 w 6" name="T6"/>
                <a:gd fmla="*/ 3 h 9" name="T7"/>
              </a:gdLst>
              <a:cxnLst>
                <a:cxn ang="0">
                  <a:pos x="T0" y="T1"/>
                </a:cxn>
                <a:cxn ang="0">
                  <a:pos x="T2" y="T3"/>
                </a:cxn>
                <a:cxn ang="0">
                  <a:pos x="T4" y="T5"/>
                </a:cxn>
                <a:cxn ang="0">
                  <a:pos x="T6" y="T7"/>
                </a:cxn>
              </a:cxnLst>
              <a:rect b="b" l="0" r="r" t="0"/>
              <a:pathLst>
                <a:path h="9" w="6">
                  <a:moveTo>
                    <a:pt x="6" y="3"/>
                  </a:moveTo>
                  <a:cubicBezTo>
                    <a:pt x="5" y="5"/>
                    <a:pt x="3" y="7"/>
                    <a:pt x="2" y="9"/>
                  </a:cubicBezTo>
                  <a:cubicBezTo>
                    <a:pt x="1" y="6"/>
                    <a:pt x="1" y="3"/>
                    <a:pt x="0" y="0"/>
                  </a:cubicBezTo>
                  <a:cubicBezTo>
                    <a:pt x="2" y="1"/>
                    <a:pt x="4" y="2"/>
                    <a:pt x="6" y="3"/>
                  </a:cubicBezTo>
                  <a:close/>
                </a:path>
              </a:pathLst>
            </a:custGeom>
            <a:solidFill>
              <a:srgbClr val="FFFFFF"/>
            </a:solidFill>
            <a:ln>
              <a:noFill/>
            </a:ln>
            <a:extLst>
              <a:ext uri="{91240B29-F687-4F45-9708-019B960494DF}">
                <a14:hiddenLine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37" name="ïs1îḋé">
              <a:extLst>
                <a:ext uri="{FF2B5EF4-FFF2-40B4-BE49-F238E27FC236}">
                  <a16:creationId xmlns:a16="http://schemas.microsoft.com/office/drawing/2014/main" id="{28048653-27CB-43D1-9C08-B561EBF0647B}"/>
                </a:ext>
              </a:extLst>
            </p:cNvPr>
            <p:cNvSpPr/>
            <p:nvPr/>
          </p:nvSpPr>
          <p:spPr bwMode="auto">
            <a:xfrm>
              <a:off x="-3014656" y="7254063"/>
              <a:ext cx="671513" cy="434976"/>
            </a:xfrm>
            <a:custGeom>
              <a:gdLst>
                <a:gd fmla="*/ 114 w 294" name="T0"/>
                <a:gd fmla="*/ 33 h 190" name="T1"/>
                <a:gd fmla="*/ 294 w 294" name="T2"/>
                <a:gd fmla="*/ 190 h 190" name="T3"/>
                <a:gd fmla="*/ 153 w 294" name="T4"/>
                <a:gd fmla="*/ 171 h 190" name="T5"/>
                <a:gd fmla="*/ 13 w 294" name="T6"/>
                <a:gd fmla="*/ 119 h 190" name="T7"/>
                <a:gd fmla="*/ 0 w 294" name="T8"/>
                <a:gd fmla="*/ 0 h 190" name="T9"/>
                <a:gd fmla="*/ 114 w 294" name="T10"/>
                <a:gd fmla="*/ 33 h 190" name="T11"/>
              </a:gdLst>
              <a:cxnLst>
                <a:cxn ang="0">
                  <a:pos x="T0" y="T1"/>
                </a:cxn>
                <a:cxn ang="0">
                  <a:pos x="T2" y="T3"/>
                </a:cxn>
                <a:cxn ang="0">
                  <a:pos x="T4" y="T5"/>
                </a:cxn>
                <a:cxn ang="0">
                  <a:pos x="T6" y="T7"/>
                </a:cxn>
                <a:cxn ang="0">
                  <a:pos x="T8" y="T9"/>
                </a:cxn>
                <a:cxn ang="0">
                  <a:pos x="T10" y="T11"/>
                </a:cxn>
              </a:cxnLst>
              <a:rect b="b" l="0" r="r" t="0"/>
              <a:pathLst>
                <a:path h="190" w="294">
                  <a:moveTo>
                    <a:pt x="114" y="33"/>
                  </a:moveTo>
                  <a:cubicBezTo>
                    <a:pt x="173" y="85"/>
                    <a:pt x="232" y="138"/>
                    <a:pt x="294" y="190"/>
                  </a:cubicBezTo>
                  <a:cubicBezTo>
                    <a:pt x="247" y="178"/>
                    <a:pt x="200" y="183"/>
                    <a:pt x="153" y="171"/>
                  </a:cubicBezTo>
                  <a:cubicBezTo>
                    <a:pt x="106" y="158"/>
                    <a:pt x="60" y="132"/>
                    <a:pt x="13" y="119"/>
                  </a:cubicBezTo>
                  <a:cubicBezTo>
                    <a:pt x="9" y="81"/>
                    <a:pt x="4" y="38"/>
                    <a:pt x="0" y="0"/>
                  </a:cubicBezTo>
                  <a:cubicBezTo>
                    <a:pt x="38" y="11"/>
                    <a:pt x="76" y="22"/>
                    <a:pt x="114" y="33"/>
                  </a:cubicBezTo>
                  <a:close/>
                </a:path>
              </a:pathLst>
            </a:custGeom>
            <a:solidFill>
              <a:srgbClr val="B2B2B2"/>
            </a:solidFill>
            <a:ln>
              <a:noFill/>
            </a:ln>
            <a:extLst>
              <a:ext uri="{91240B29-F687-4F45-9708-019B960494DF}">
                <a14:hiddenLine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38" name="îŝlîďê">
              <a:extLst>
                <a:ext uri="{FF2B5EF4-FFF2-40B4-BE49-F238E27FC236}">
                  <a16:creationId xmlns:a16="http://schemas.microsoft.com/office/drawing/2014/main" id="{F7D5F165-0A02-48C5-8B23-64430C08B769}"/>
                </a:ext>
              </a:extLst>
            </p:cNvPr>
            <p:cNvSpPr/>
            <p:nvPr/>
          </p:nvSpPr>
          <p:spPr bwMode="auto">
            <a:xfrm>
              <a:off x="-2670168" y="7866838"/>
              <a:ext cx="744537" cy="284163"/>
            </a:xfrm>
            <a:custGeom>
              <a:gdLst>
                <a:gd fmla="*/ 326 w 326" name="T0"/>
                <a:gd fmla="*/ 85 h 124" name="T1"/>
                <a:gd fmla="*/ 171 w 326" name="T2"/>
                <a:gd fmla="*/ 124 h 124" name="T3"/>
                <a:gd fmla="*/ 0 w 326" name="T4"/>
                <a:gd fmla="*/ 38 h 124" name="T5"/>
                <a:gd fmla="*/ 100 w 326" name="T6"/>
                <a:gd fmla="*/ 0 h 124" name="T7"/>
                <a:gd fmla="*/ 213 w 326" name="T8"/>
                <a:gd fmla="*/ 43 h 124" name="T9"/>
                <a:gd fmla="*/ 326 w 326" name="T10"/>
                <a:gd fmla="*/ 85 h 124" name="T11"/>
              </a:gdLst>
              <a:cxnLst>
                <a:cxn ang="0">
                  <a:pos x="T0" y="T1"/>
                </a:cxn>
                <a:cxn ang="0">
                  <a:pos x="T2" y="T3"/>
                </a:cxn>
                <a:cxn ang="0">
                  <a:pos x="T4" y="T5"/>
                </a:cxn>
                <a:cxn ang="0">
                  <a:pos x="T6" y="T7"/>
                </a:cxn>
                <a:cxn ang="0">
                  <a:pos x="T8" y="T9"/>
                </a:cxn>
                <a:cxn ang="0">
                  <a:pos x="T10" y="T11"/>
                </a:cxn>
              </a:cxnLst>
              <a:rect b="b" l="0" r="r" t="0"/>
              <a:pathLst>
                <a:path h="124" w="326">
                  <a:moveTo>
                    <a:pt x="326" y="85"/>
                  </a:moveTo>
                  <a:cubicBezTo>
                    <a:pt x="276" y="98"/>
                    <a:pt x="224" y="111"/>
                    <a:pt x="171" y="124"/>
                  </a:cubicBezTo>
                  <a:cubicBezTo>
                    <a:pt x="116" y="97"/>
                    <a:pt x="54" y="65"/>
                    <a:pt x="0" y="38"/>
                  </a:cubicBezTo>
                  <a:cubicBezTo>
                    <a:pt x="32" y="24"/>
                    <a:pt x="70" y="14"/>
                    <a:pt x="100" y="0"/>
                  </a:cubicBezTo>
                  <a:cubicBezTo>
                    <a:pt x="137" y="14"/>
                    <a:pt x="175" y="28"/>
                    <a:pt x="213" y="43"/>
                  </a:cubicBezTo>
                  <a:cubicBezTo>
                    <a:pt x="251" y="57"/>
                    <a:pt x="288" y="71"/>
                    <a:pt x="326" y="85"/>
                  </a:cubicBezTo>
                  <a:close/>
                </a:path>
              </a:pathLst>
            </a:custGeom>
            <a:solidFill>
              <a:srgbClr val="B2B2B2"/>
            </a:solidFill>
            <a:ln>
              <a:noFill/>
            </a:ln>
            <a:extLst>
              <a:ext uri="{91240B29-F687-4F45-9708-019B960494DF}">
                <a14:hiddenLine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39" name="íslídé">
              <a:extLst>
                <a:ext uri="{FF2B5EF4-FFF2-40B4-BE49-F238E27FC236}">
                  <a16:creationId xmlns:a16="http://schemas.microsoft.com/office/drawing/2014/main" id="{32B698D4-6D08-422C-81B4-C30AF49C8A89}"/>
                </a:ext>
              </a:extLst>
            </p:cNvPr>
            <p:cNvSpPr/>
            <p:nvPr/>
          </p:nvSpPr>
          <p:spPr bwMode="auto">
            <a:xfrm>
              <a:off x="-3044818" y="6968312"/>
              <a:ext cx="519113" cy="204788"/>
            </a:xfrm>
            <a:custGeom>
              <a:gdLst>
                <a:gd fmla="*/ 0 w 227" name="T0"/>
                <a:gd fmla="*/ 0 h 89" name="T1"/>
                <a:gd fmla="*/ 70 w 227" name="T2"/>
                <a:gd fmla="*/ 66 h 89" name="T3"/>
                <a:gd fmla="*/ 227 w 227" name="T4"/>
                <a:gd fmla="*/ 89 h 89" name="T5"/>
                <a:gd fmla="*/ 166 w 227" name="T6"/>
                <a:gd fmla="*/ 26 h 89" name="T7"/>
                <a:gd fmla="*/ 0 w 227" name="T8"/>
                <a:gd fmla="*/ 0 h 89" name="T9"/>
              </a:gdLst>
              <a:cxnLst>
                <a:cxn ang="0">
                  <a:pos x="T0" y="T1"/>
                </a:cxn>
                <a:cxn ang="0">
                  <a:pos x="T2" y="T3"/>
                </a:cxn>
                <a:cxn ang="0">
                  <a:pos x="T4" y="T5"/>
                </a:cxn>
                <a:cxn ang="0">
                  <a:pos x="T6" y="T7"/>
                </a:cxn>
                <a:cxn ang="0">
                  <a:pos x="T8" y="T9"/>
                </a:cxn>
              </a:cxnLst>
              <a:rect b="b" l="0" r="r" t="0"/>
              <a:pathLst>
                <a:path h="89" w="226">
                  <a:moveTo>
                    <a:pt x="0" y="0"/>
                  </a:moveTo>
                  <a:cubicBezTo>
                    <a:pt x="23" y="22"/>
                    <a:pt x="47" y="44"/>
                    <a:pt x="70" y="66"/>
                  </a:cubicBezTo>
                  <a:cubicBezTo>
                    <a:pt x="122" y="74"/>
                    <a:pt x="175" y="81"/>
                    <a:pt x="227" y="89"/>
                  </a:cubicBezTo>
                  <a:cubicBezTo>
                    <a:pt x="206" y="68"/>
                    <a:pt x="186" y="47"/>
                    <a:pt x="166" y="26"/>
                  </a:cubicBezTo>
                  <a:cubicBezTo>
                    <a:pt x="111" y="17"/>
                    <a:pt x="56" y="8"/>
                    <a:pt x="0" y="0"/>
                  </a:cubicBezTo>
                  <a:close/>
                </a:path>
              </a:pathLst>
            </a:custGeom>
            <a:solidFill>
              <a:srgbClr val="D4CBBA"/>
            </a:solidFill>
            <a:ln>
              <a:noFill/>
            </a:ln>
            <a:extLst>
              <a:ext uri="{91240B29-F687-4F45-9708-019B960494DF}">
                <a14:hiddenLine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40" name="iŝ1ïḋè">
              <a:extLst>
                <a:ext uri="{FF2B5EF4-FFF2-40B4-BE49-F238E27FC236}">
                  <a16:creationId xmlns:a16="http://schemas.microsoft.com/office/drawing/2014/main" id="{559238A2-6EEE-4191-992C-B5B29F9088ED}"/>
                </a:ext>
              </a:extLst>
            </p:cNvPr>
            <p:cNvSpPr/>
            <p:nvPr/>
          </p:nvSpPr>
          <p:spPr bwMode="auto">
            <a:xfrm>
              <a:off x="-2097081" y="8536763"/>
              <a:ext cx="771526" cy="239713"/>
            </a:xfrm>
            <a:custGeom>
              <a:gdLst>
                <a:gd fmla="*/ 213 w 338" name="T0"/>
                <a:gd fmla="*/ 0 h 105" name="T1"/>
                <a:gd fmla="*/ 108 w 338" name="T2"/>
                <a:gd fmla="*/ 14 h 105" name="T3"/>
                <a:gd fmla="*/ 0 w 338" name="T4"/>
                <a:gd fmla="*/ 28 h 105" name="T5"/>
                <a:gd fmla="*/ 124 w 338" name="T6"/>
                <a:gd fmla="*/ 105 h 105" name="T7"/>
                <a:gd fmla="*/ 233 w 338" name="T8"/>
                <a:gd fmla="*/ 81 h 105" name="T9"/>
                <a:gd fmla="*/ 338 w 338" name="T10"/>
                <a:gd fmla="*/ 57 h 105" name="T11"/>
                <a:gd fmla="*/ 213 w 338" name="T12"/>
                <a:gd fmla="*/ 0 h 105" name="T13"/>
              </a:gdLst>
              <a:cxnLst>
                <a:cxn ang="0">
                  <a:pos x="T0" y="T1"/>
                </a:cxn>
                <a:cxn ang="0">
                  <a:pos x="T2" y="T3"/>
                </a:cxn>
                <a:cxn ang="0">
                  <a:pos x="T4" y="T5"/>
                </a:cxn>
                <a:cxn ang="0">
                  <a:pos x="T6" y="T7"/>
                </a:cxn>
                <a:cxn ang="0">
                  <a:pos x="T8" y="T9"/>
                </a:cxn>
                <a:cxn ang="0">
                  <a:pos x="T10" y="T11"/>
                </a:cxn>
                <a:cxn ang="0">
                  <a:pos x="T12" y="T13"/>
                </a:cxn>
              </a:cxnLst>
              <a:rect b="b" l="0" r="r" t="0"/>
              <a:pathLst>
                <a:path h="105" w="338">
                  <a:moveTo>
                    <a:pt x="213" y="0"/>
                  </a:moveTo>
                  <a:cubicBezTo>
                    <a:pt x="179" y="5"/>
                    <a:pt x="143" y="10"/>
                    <a:pt x="108" y="14"/>
                  </a:cubicBezTo>
                  <a:cubicBezTo>
                    <a:pt x="72" y="19"/>
                    <a:pt x="36" y="23"/>
                    <a:pt x="0" y="28"/>
                  </a:cubicBezTo>
                  <a:cubicBezTo>
                    <a:pt x="41" y="54"/>
                    <a:pt x="82" y="79"/>
                    <a:pt x="124" y="105"/>
                  </a:cubicBezTo>
                  <a:cubicBezTo>
                    <a:pt x="161" y="97"/>
                    <a:pt x="197" y="89"/>
                    <a:pt x="233" y="81"/>
                  </a:cubicBezTo>
                  <a:cubicBezTo>
                    <a:pt x="268" y="73"/>
                    <a:pt x="303" y="65"/>
                    <a:pt x="338" y="57"/>
                  </a:cubicBezTo>
                  <a:cubicBezTo>
                    <a:pt x="296" y="38"/>
                    <a:pt x="255" y="19"/>
                    <a:pt x="213" y="0"/>
                  </a:cubicBezTo>
                  <a:close/>
                </a:path>
              </a:pathLst>
            </a:custGeom>
            <a:solidFill>
              <a:srgbClr val="B2B2B2"/>
            </a:solidFill>
            <a:ln>
              <a:noFill/>
            </a:ln>
            <a:extLst>
              <a:ext uri="{91240B29-F687-4F45-9708-019B960494DF}">
                <a14:hiddenLine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41" name="íṥļîḓê">
              <a:extLst>
                <a:ext uri="{FF2B5EF4-FFF2-40B4-BE49-F238E27FC236}">
                  <a16:creationId xmlns:a16="http://schemas.microsoft.com/office/drawing/2014/main" id="{36538B0D-3413-4E98-8B48-061BC077177A}"/>
                </a:ext>
              </a:extLst>
            </p:cNvPr>
            <p:cNvSpPr/>
            <p:nvPr/>
          </p:nvSpPr>
          <p:spPr bwMode="auto">
            <a:xfrm>
              <a:off x="-2179630" y="7106425"/>
              <a:ext cx="663575" cy="350838"/>
            </a:xfrm>
            <a:custGeom>
              <a:gdLst>
                <a:gd fmla="*/ 0 w 291" name="T0"/>
                <a:gd fmla="*/ 0 h 154" name="T1"/>
                <a:gd fmla="*/ 133 w 291" name="T2"/>
                <a:gd fmla="*/ 130 h 154" name="T3"/>
                <a:gd fmla="*/ 291 w 291" name="T4"/>
                <a:gd fmla="*/ 154 h 154" name="T5"/>
                <a:gd fmla="*/ 253 w 291" name="T6"/>
                <a:gd fmla="*/ 42 h 154" name="T7"/>
                <a:gd fmla="*/ 127 w 291" name="T8"/>
                <a:gd fmla="*/ 21 h 154" name="T9"/>
                <a:gd fmla="*/ 0 w 291" name="T10"/>
                <a:gd fmla="*/ 0 h 154" name="T11"/>
              </a:gdLst>
              <a:cxnLst>
                <a:cxn ang="0">
                  <a:pos x="T0" y="T1"/>
                </a:cxn>
                <a:cxn ang="0">
                  <a:pos x="T2" y="T3"/>
                </a:cxn>
                <a:cxn ang="0">
                  <a:pos x="T4" y="T5"/>
                </a:cxn>
                <a:cxn ang="0">
                  <a:pos x="T6" y="T7"/>
                </a:cxn>
                <a:cxn ang="0">
                  <a:pos x="T8" y="T9"/>
                </a:cxn>
                <a:cxn ang="0">
                  <a:pos x="T10" y="T11"/>
                </a:cxn>
              </a:cxnLst>
              <a:rect b="b" l="0" r="r" t="0"/>
              <a:pathLst>
                <a:path h="154" w="291">
                  <a:moveTo>
                    <a:pt x="0" y="0"/>
                  </a:moveTo>
                  <a:cubicBezTo>
                    <a:pt x="44" y="44"/>
                    <a:pt x="88" y="87"/>
                    <a:pt x="133" y="130"/>
                  </a:cubicBezTo>
                  <a:cubicBezTo>
                    <a:pt x="186" y="138"/>
                    <a:pt x="238" y="146"/>
                    <a:pt x="291" y="154"/>
                  </a:cubicBezTo>
                  <a:cubicBezTo>
                    <a:pt x="278" y="117"/>
                    <a:pt x="265" y="80"/>
                    <a:pt x="253" y="42"/>
                  </a:cubicBezTo>
                  <a:cubicBezTo>
                    <a:pt x="211" y="35"/>
                    <a:pt x="169" y="28"/>
                    <a:pt x="127" y="21"/>
                  </a:cubicBezTo>
                  <a:cubicBezTo>
                    <a:pt x="85" y="14"/>
                    <a:pt x="43" y="7"/>
                    <a:pt x="0" y="0"/>
                  </a:cubicBezTo>
                  <a:close/>
                </a:path>
              </a:pathLst>
            </a:custGeom>
            <a:solidFill>
              <a:srgbClr val="B2B2B2"/>
            </a:solidFill>
            <a:ln>
              <a:noFill/>
            </a:ln>
            <a:extLst>
              <a:ext uri="{91240B29-F687-4F45-9708-019B960494DF}">
                <a14:hiddenLine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42" name="iṣḻíḋé">
              <a:extLst>
                <a:ext uri="{FF2B5EF4-FFF2-40B4-BE49-F238E27FC236}">
                  <a16:creationId xmlns:a16="http://schemas.microsoft.com/office/drawing/2014/main" id="{4E032582-DBC6-4638-8AA0-6976695130EE}"/>
                </a:ext>
              </a:extLst>
            </p:cNvPr>
            <p:cNvSpPr/>
            <p:nvPr/>
          </p:nvSpPr>
          <p:spPr bwMode="auto">
            <a:xfrm>
              <a:off x="-2316155" y="7352488"/>
              <a:ext cx="674688" cy="555626"/>
            </a:xfrm>
            <a:custGeom>
              <a:gdLst>
                <a:gd fmla="*/ 0 w 296" name="T0"/>
                <a:gd fmla="*/ 0 h 243" name="T1"/>
                <a:gd fmla="*/ 58 w 296" name="T2"/>
                <a:gd fmla="*/ 9 h 243" name="T3"/>
                <a:gd fmla="*/ 174 w 296" name="T4"/>
                <a:gd fmla="*/ 126 h 243" name="T5"/>
                <a:gd fmla="*/ 296 w 296" name="T6"/>
                <a:gd fmla="*/ 243 h 243" name="T7"/>
                <a:gd fmla="*/ 231 w 296" name="T8"/>
                <a:gd fmla="*/ 231 h 243" name="T9"/>
                <a:gd fmla="*/ 113 w 296" name="T10"/>
                <a:gd fmla="*/ 116 h 243" name="T11"/>
                <a:gd fmla="*/ 0 w 296" name="T12"/>
                <a:gd fmla="*/ 0 h 243" name="T13"/>
              </a:gdLst>
              <a:cxnLst>
                <a:cxn ang="0">
                  <a:pos x="T0" y="T1"/>
                </a:cxn>
                <a:cxn ang="0">
                  <a:pos x="T2" y="T3"/>
                </a:cxn>
                <a:cxn ang="0">
                  <a:pos x="T4" y="T5"/>
                </a:cxn>
                <a:cxn ang="0">
                  <a:pos x="T6" y="T7"/>
                </a:cxn>
                <a:cxn ang="0">
                  <a:pos x="T8" y="T9"/>
                </a:cxn>
                <a:cxn ang="0">
                  <a:pos x="T10" y="T11"/>
                </a:cxn>
                <a:cxn ang="0">
                  <a:pos x="T12" y="T13"/>
                </a:cxn>
              </a:cxnLst>
              <a:rect b="b" l="0" r="r" t="0"/>
              <a:pathLst>
                <a:path h="243" w="296">
                  <a:moveTo>
                    <a:pt x="0" y="0"/>
                  </a:moveTo>
                  <a:cubicBezTo>
                    <a:pt x="20" y="3"/>
                    <a:pt x="39" y="6"/>
                    <a:pt x="58" y="9"/>
                  </a:cubicBezTo>
                  <a:cubicBezTo>
                    <a:pt x="96" y="48"/>
                    <a:pt x="134" y="87"/>
                    <a:pt x="174" y="126"/>
                  </a:cubicBezTo>
                  <a:cubicBezTo>
                    <a:pt x="214" y="165"/>
                    <a:pt x="255" y="204"/>
                    <a:pt x="296" y="243"/>
                  </a:cubicBezTo>
                  <a:cubicBezTo>
                    <a:pt x="274" y="239"/>
                    <a:pt x="253" y="235"/>
                    <a:pt x="231" y="231"/>
                  </a:cubicBezTo>
                  <a:cubicBezTo>
                    <a:pt x="191" y="192"/>
                    <a:pt x="152" y="154"/>
                    <a:pt x="113" y="116"/>
                  </a:cubicBezTo>
                  <a:cubicBezTo>
                    <a:pt x="75" y="77"/>
                    <a:pt x="37" y="39"/>
                    <a:pt x="0" y="0"/>
                  </a:cubicBezTo>
                  <a:close/>
                </a:path>
              </a:pathLst>
            </a:custGeom>
            <a:solidFill>
              <a:srgbClr val="FFFFFF"/>
            </a:solidFill>
            <a:ln>
              <a:noFill/>
            </a:ln>
            <a:extLst>
              <a:ext uri="{91240B29-F687-4F45-9708-019B960494DF}">
                <a14:hiddenLine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43" name="išḷîḑé">
              <a:extLst>
                <a:ext uri="{FF2B5EF4-FFF2-40B4-BE49-F238E27FC236}">
                  <a16:creationId xmlns:a16="http://schemas.microsoft.com/office/drawing/2014/main" id="{21378389-9D8D-4CDB-9D43-F979450BEFEF}"/>
                </a:ext>
              </a:extLst>
            </p:cNvPr>
            <p:cNvSpPr/>
            <p:nvPr/>
          </p:nvSpPr>
          <p:spPr bwMode="auto">
            <a:xfrm>
              <a:off x="-2117718" y="7441388"/>
              <a:ext cx="398463" cy="187325"/>
            </a:xfrm>
            <a:custGeom>
              <a:gdLst>
                <a:gd fmla="*/ 103 w 175" name="T0"/>
                <a:gd fmla="*/ 16 h 82" name="T1"/>
                <a:gd fmla="*/ 175 w 175" name="T2"/>
                <a:gd fmla="*/ 82 h 82" name="T3"/>
                <a:gd fmla="*/ 67 w 175" name="T4"/>
                <a:gd fmla="*/ 67 h 82" name="T5"/>
                <a:gd fmla="*/ 0 w 175" name="T6"/>
                <a:gd fmla="*/ 0 h 82" name="T7"/>
                <a:gd fmla="*/ 103 w 175" name="T8"/>
                <a:gd fmla="*/ 16 h 82" name="T9"/>
              </a:gdLst>
              <a:cxnLst>
                <a:cxn ang="0">
                  <a:pos x="T0" y="T1"/>
                </a:cxn>
                <a:cxn ang="0">
                  <a:pos x="T2" y="T3"/>
                </a:cxn>
                <a:cxn ang="0">
                  <a:pos x="T4" y="T5"/>
                </a:cxn>
                <a:cxn ang="0">
                  <a:pos x="T6" y="T7"/>
                </a:cxn>
                <a:cxn ang="0">
                  <a:pos x="T8" y="T9"/>
                </a:cxn>
              </a:cxnLst>
              <a:rect b="b" l="0" r="r" t="0"/>
              <a:pathLst>
                <a:path h="82" w="175">
                  <a:moveTo>
                    <a:pt x="103" y="16"/>
                  </a:moveTo>
                  <a:cubicBezTo>
                    <a:pt x="127" y="38"/>
                    <a:pt x="151" y="60"/>
                    <a:pt x="175" y="82"/>
                  </a:cubicBezTo>
                  <a:cubicBezTo>
                    <a:pt x="139" y="77"/>
                    <a:pt x="103" y="72"/>
                    <a:pt x="67" y="67"/>
                  </a:cubicBezTo>
                  <a:cubicBezTo>
                    <a:pt x="44" y="45"/>
                    <a:pt x="22" y="23"/>
                    <a:pt x="0" y="0"/>
                  </a:cubicBezTo>
                  <a:cubicBezTo>
                    <a:pt x="35" y="5"/>
                    <a:pt x="69" y="11"/>
                    <a:pt x="103" y="16"/>
                  </a:cubicBezTo>
                  <a:close/>
                </a:path>
              </a:pathLst>
            </a:custGeom>
            <a:solidFill>
              <a:srgbClr val="D4CBBA"/>
            </a:solidFill>
            <a:ln>
              <a:noFill/>
            </a:ln>
            <a:extLst>
              <a:ext uri="{91240B29-F687-4F45-9708-019B960494DF}">
                <a14:hiddenLine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44" name="ïšlíḋé">
              <a:extLst>
                <a:ext uri="{FF2B5EF4-FFF2-40B4-BE49-F238E27FC236}">
                  <a16:creationId xmlns:a16="http://schemas.microsoft.com/office/drawing/2014/main" id="{4C562C72-10F4-44FA-AC82-503BC9CC79CF}"/>
                </a:ext>
              </a:extLst>
            </p:cNvPr>
            <p:cNvSpPr/>
            <p:nvPr/>
          </p:nvSpPr>
          <p:spPr bwMode="auto">
            <a:xfrm>
              <a:off x="-4638669" y="6512699"/>
              <a:ext cx="1792288" cy="2876553"/>
            </a:xfrm>
            <a:custGeom>
              <a:gdLst>
                <a:gd fmla="*/ 0 w 786" name="T0"/>
                <a:gd fmla="*/ 1259 h 1259" name="T1"/>
                <a:gd fmla="*/ 393 w 786" name="T2"/>
                <a:gd fmla="*/ 1135 h 1259" name="T3"/>
                <a:gd fmla="*/ 786 w 786" name="T4"/>
                <a:gd fmla="*/ 1011 h 1259" name="T5"/>
                <a:gd fmla="*/ 758 w 786" name="T6"/>
                <a:gd fmla="*/ 755 h 1259" name="T7"/>
                <a:gd fmla="*/ 734 w 786" name="T8"/>
                <a:gd fmla="*/ 868 h 1259" name="T9"/>
                <a:gd fmla="*/ 677 w 786" name="T10"/>
                <a:gd fmla="*/ 882 h 1259" name="T11"/>
                <a:gd fmla="*/ 748 w 786" name="T12"/>
                <a:gd fmla="*/ 659 h 1259" name="T13"/>
                <a:gd fmla="*/ 752 w 786" name="T14"/>
                <a:gd fmla="*/ 695 h 1259" name="T15"/>
                <a:gd fmla="*/ 731 w 786" name="T16"/>
                <a:gd fmla="*/ 505 h 1259" name="T17"/>
                <a:gd fmla="*/ 677 w 786" name="T18"/>
                <a:gd fmla="*/ 0 h 1259" name="T19"/>
                <a:gd fmla="*/ 384 w 786" name="T20"/>
                <a:gd fmla="*/ 111 h 1259" name="T21"/>
                <a:gd fmla="*/ 90 w 786" name="T22"/>
                <a:gd fmla="*/ 222 h 1259" name="T23"/>
                <a:gd fmla="*/ 45 w 786" name="T24"/>
                <a:gd fmla="*/ 741 h 1259" name="T25"/>
                <a:gd fmla="*/ 0 w 786" name="T26"/>
                <a:gd fmla="*/ 1259 h 1259" name="T2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b="b" l="0" r="r" t="0"/>
              <a:pathLst>
                <a:path h="1259" w="786">
                  <a:moveTo>
                    <a:pt x="0" y="1259"/>
                  </a:moveTo>
                  <a:cubicBezTo>
                    <a:pt x="131" y="1217"/>
                    <a:pt x="262" y="1176"/>
                    <a:pt x="393" y="1135"/>
                  </a:cubicBezTo>
                  <a:cubicBezTo>
                    <a:pt x="524" y="1094"/>
                    <a:pt x="655" y="1052"/>
                    <a:pt x="786" y="1011"/>
                  </a:cubicBezTo>
                  <a:cubicBezTo>
                    <a:pt x="777" y="925"/>
                    <a:pt x="767" y="840"/>
                    <a:pt x="758" y="755"/>
                  </a:cubicBezTo>
                  <a:cubicBezTo>
                    <a:pt x="747" y="790"/>
                    <a:pt x="738" y="828"/>
                    <a:pt x="734" y="868"/>
                  </a:cubicBezTo>
                  <a:cubicBezTo>
                    <a:pt x="715" y="873"/>
                    <a:pt x="696" y="877"/>
                    <a:pt x="677" y="882"/>
                  </a:cubicBezTo>
                  <a:cubicBezTo>
                    <a:pt x="687" y="798"/>
                    <a:pt x="714" y="724"/>
                    <a:pt x="748" y="659"/>
                  </a:cubicBezTo>
                  <a:cubicBezTo>
                    <a:pt x="752" y="695"/>
                    <a:pt x="752" y="695"/>
                    <a:pt x="752" y="695"/>
                  </a:cubicBezTo>
                  <a:cubicBezTo>
                    <a:pt x="731" y="505"/>
                    <a:pt x="731" y="505"/>
                    <a:pt x="731" y="505"/>
                  </a:cubicBezTo>
                  <a:cubicBezTo>
                    <a:pt x="713" y="337"/>
                    <a:pt x="695" y="168"/>
                    <a:pt x="677" y="0"/>
                  </a:cubicBezTo>
                  <a:cubicBezTo>
                    <a:pt x="579" y="37"/>
                    <a:pt x="481" y="74"/>
                    <a:pt x="384" y="111"/>
                  </a:cubicBezTo>
                  <a:cubicBezTo>
                    <a:pt x="286" y="148"/>
                    <a:pt x="188" y="185"/>
                    <a:pt x="90" y="222"/>
                  </a:cubicBezTo>
                  <a:cubicBezTo>
                    <a:pt x="75" y="395"/>
                    <a:pt x="60" y="568"/>
                    <a:pt x="45" y="741"/>
                  </a:cubicBezTo>
                  <a:cubicBezTo>
                    <a:pt x="30" y="913"/>
                    <a:pt x="15" y="1086"/>
                    <a:pt x="0" y="1259"/>
                  </a:cubicBezTo>
                  <a:close/>
                </a:path>
              </a:pathLst>
            </a:custGeom>
            <a:solidFill>
              <a:srgbClr val="C8C8C8"/>
            </a:solidFill>
            <a:ln>
              <a:noFill/>
            </a:ln>
            <a:extLst>
              <a:ext uri="{91240B29-F687-4F45-9708-019B960494DF}">
                <a14:hiddenLine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45" name="iŝ1ïde">
              <a:extLst>
                <a:ext uri="{FF2B5EF4-FFF2-40B4-BE49-F238E27FC236}">
                  <a16:creationId xmlns:a16="http://schemas.microsoft.com/office/drawing/2014/main" id="{9071415D-2A4A-4855-B3AF-A0932C716877}"/>
                </a:ext>
              </a:extLst>
            </p:cNvPr>
            <p:cNvSpPr/>
            <p:nvPr/>
          </p:nvSpPr>
          <p:spPr bwMode="auto">
            <a:xfrm>
              <a:off x="-4632320" y="6573026"/>
              <a:ext cx="1779588" cy="2749553"/>
            </a:xfrm>
            <a:custGeom>
              <a:gdLst>
                <a:gd fmla="*/ 0 w 780" name="T0"/>
                <a:gd fmla="*/ 1203 h 1203" name="T1"/>
                <a:gd fmla="*/ 390 w 780" name="T2"/>
                <a:gd fmla="*/ 1080 h 1203" name="T3"/>
                <a:gd fmla="*/ 780 w 780" name="T4"/>
                <a:gd fmla="*/ 956 h 1203" name="T5"/>
                <a:gd fmla="*/ 755 w 780" name="T6"/>
                <a:gd fmla="*/ 728 h 1203" name="T7"/>
                <a:gd fmla="*/ 731 w 780" name="T8"/>
                <a:gd fmla="*/ 841 h 1203" name="T9"/>
                <a:gd fmla="*/ 674 w 780" name="T10"/>
                <a:gd fmla="*/ 855 h 1203" name="T11"/>
                <a:gd fmla="*/ 745 w 780" name="T12"/>
                <a:gd fmla="*/ 632 h 1203" name="T13"/>
                <a:gd fmla="*/ 728 w 780" name="T14"/>
                <a:gd fmla="*/ 478 h 1203" name="T15"/>
                <a:gd fmla="*/ 677 w 780" name="T16"/>
                <a:gd fmla="*/ 0 h 1203" name="T17"/>
                <a:gd fmla="*/ 381 w 780" name="T18"/>
                <a:gd fmla="*/ 112 h 1203" name="T19"/>
                <a:gd fmla="*/ 85 w 780" name="T20"/>
                <a:gd fmla="*/ 224 h 1203" name="T21"/>
                <a:gd fmla="*/ 42 w 780" name="T22"/>
                <a:gd fmla="*/ 714 h 1203" name="T23"/>
                <a:gd fmla="*/ 0 w 780" name="T24"/>
                <a:gd fmla="*/ 1203 h 1203" name="T2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b="b" l="0" r="r" t="0"/>
              <a:pathLst>
                <a:path h="1203" w="780">
                  <a:moveTo>
                    <a:pt x="0" y="1203"/>
                  </a:moveTo>
                  <a:cubicBezTo>
                    <a:pt x="130" y="1162"/>
                    <a:pt x="260" y="1121"/>
                    <a:pt x="390" y="1080"/>
                  </a:cubicBezTo>
                  <a:cubicBezTo>
                    <a:pt x="520" y="1038"/>
                    <a:pt x="650" y="997"/>
                    <a:pt x="780" y="956"/>
                  </a:cubicBezTo>
                  <a:cubicBezTo>
                    <a:pt x="772" y="880"/>
                    <a:pt x="763" y="804"/>
                    <a:pt x="755" y="728"/>
                  </a:cubicBezTo>
                  <a:cubicBezTo>
                    <a:pt x="744" y="763"/>
                    <a:pt x="735" y="801"/>
                    <a:pt x="731" y="841"/>
                  </a:cubicBezTo>
                  <a:cubicBezTo>
                    <a:pt x="712" y="846"/>
                    <a:pt x="693" y="850"/>
                    <a:pt x="674" y="855"/>
                  </a:cubicBezTo>
                  <a:cubicBezTo>
                    <a:pt x="684" y="771"/>
                    <a:pt x="711" y="697"/>
                    <a:pt x="745" y="632"/>
                  </a:cubicBezTo>
                  <a:cubicBezTo>
                    <a:pt x="728" y="478"/>
                    <a:pt x="728" y="478"/>
                    <a:pt x="728" y="478"/>
                  </a:cubicBezTo>
                  <a:cubicBezTo>
                    <a:pt x="711" y="319"/>
                    <a:pt x="694" y="160"/>
                    <a:pt x="677" y="0"/>
                  </a:cubicBezTo>
                  <a:cubicBezTo>
                    <a:pt x="578" y="38"/>
                    <a:pt x="480" y="75"/>
                    <a:pt x="381" y="112"/>
                  </a:cubicBezTo>
                  <a:cubicBezTo>
                    <a:pt x="282" y="149"/>
                    <a:pt x="183" y="187"/>
                    <a:pt x="85" y="224"/>
                  </a:cubicBezTo>
                  <a:cubicBezTo>
                    <a:pt x="70" y="387"/>
                    <a:pt x="56" y="550"/>
                    <a:pt x="42" y="714"/>
                  </a:cubicBezTo>
                  <a:cubicBezTo>
                    <a:pt x="28" y="877"/>
                    <a:pt x="14" y="1040"/>
                    <a:pt x="0" y="1203"/>
                  </a:cubicBezTo>
                  <a:close/>
                </a:path>
              </a:pathLst>
            </a:custGeom>
            <a:solidFill>
              <a:srgbClr val="B3AEA9"/>
            </a:solidFill>
            <a:ln>
              <a:noFill/>
            </a:ln>
            <a:extLst>
              <a:ext uri="{91240B29-F687-4F45-9708-019B960494DF}">
                <a14:hiddenLine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46" name="ísḻîḋé">
              <a:extLst>
                <a:ext uri="{FF2B5EF4-FFF2-40B4-BE49-F238E27FC236}">
                  <a16:creationId xmlns:a16="http://schemas.microsoft.com/office/drawing/2014/main" id="{AF1AD3A0-7D5B-40CD-A1FE-72EC78B8BA41}"/>
                </a:ext>
              </a:extLst>
            </p:cNvPr>
            <p:cNvSpPr/>
            <p:nvPr/>
          </p:nvSpPr>
          <p:spPr bwMode="auto">
            <a:xfrm>
              <a:off x="-4537070" y="8100202"/>
              <a:ext cx="1658939" cy="438151"/>
            </a:xfrm>
            <a:custGeom>
              <a:gdLst>
                <a:gd fmla="*/ 4 w 727" name="T0"/>
                <a:gd fmla="*/ 0 h 192" name="T1"/>
                <a:gd fmla="*/ 345 w 727" name="T2"/>
                <a:gd fmla="*/ 77 h 192" name="T3"/>
                <a:gd fmla="*/ 641 w 727" name="T4"/>
                <a:gd fmla="*/ 134 h 192" name="T5"/>
                <a:gd fmla="*/ 633 w 727" name="T6"/>
                <a:gd fmla="*/ 175 h 192" name="T7"/>
                <a:gd fmla="*/ 345 w 727" name="T8"/>
                <a:gd fmla="*/ 121 h 192" name="T9"/>
                <a:gd fmla="*/ 0 w 727" name="T10"/>
                <a:gd fmla="*/ 44 h 192" name="T11"/>
                <a:gd fmla="*/ 4 w 727" name="T12"/>
                <a:gd fmla="*/ 0 h 192" name="T13"/>
                <a:gd fmla="*/ 693 w 727" name="T14"/>
                <a:gd fmla="*/ 144 h 192" name="T15"/>
                <a:gd fmla="*/ 723 w 727" name="T16"/>
                <a:gd fmla="*/ 149 h 192" name="T17"/>
                <a:gd fmla="*/ 727 w 727" name="T18"/>
                <a:gd fmla="*/ 192 h 192" name="T19"/>
                <a:gd fmla="*/ 660 w 727" name="T20"/>
                <a:gd fmla="*/ 180 h 192" name="T21"/>
                <a:gd fmla="*/ 689 w 727" name="T22"/>
                <a:gd fmla="*/ 173 h 192" name="T23"/>
                <a:gd fmla="*/ 693 w 727" name="T24"/>
                <a:gd fmla="*/ 144 h 192" name="T2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b="b" l="0" r="r" t="0"/>
              <a:pathLst>
                <a:path h="192" w="727">
                  <a:moveTo>
                    <a:pt x="4" y="0"/>
                  </a:moveTo>
                  <a:cubicBezTo>
                    <a:pt x="114" y="26"/>
                    <a:pt x="227" y="53"/>
                    <a:pt x="345" y="77"/>
                  </a:cubicBezTo>
                  <a:cubicBezTo>
                    <a:pt x="441" y="97"/>
                    <a:pt x="539" y="116"/>
                    <a:pt x="641" y="134"/>
                  </a:cubicBezTo>
                  <a:cubicBezTo>
                    <a:pt x="638" y="148"/>
                    <a:pt x="635" y="161"/>
                    <a:pt x="633" y="175"/>
                  </a:cubicBezTo>
                  <a:cubicBezTo>
                    <a:pt x="535" y="158"/>
                    <a:pt x="439" y="140"/>
                    <a:pt x="345" y="121"/>
                  </a:cubicBezTo>
                  <a:cubicBezTo>
                    <a:pt x="226" y="96"/>
                    <a:pt x="111" y="70"/>
                    <a:pt x="0" y="44"/>
                  </a:cubicBezTo>
                  <a:cubicBezTo>
                    <a:pt x="2" y="29"/>
                    <a:pt x="3" y="15"/>
                    <a:pt x="4" y="0"/>
                  </a:cubicBezTo>
                  <a:close/>
                  <a:moveTo>
                    <a:pt x="693" y="144"/>
                  </a:moveTo>
                  <a:cubicBezTo>
                    <a:pt x="703" y="145"/>
                    <a:pt x="713" y="147"/>
                    <a:pt x="723" y="149"/>
                  </a:cubicBezTo>
                  <a:cubicBezTo>
                    <a:pt x="724" y="163"/>
                    <a:pt x="726" y="178"/>
                    <a:pt x="727" y="192"/>
                  </a:cubicBezTo>
                  <a:cubicBezTo>
                    <a:pt x="705" y="188"/>
                    <a:pt x="682" y="184"/>
                    <a:pt x="660" y="180"/>
                  </a:cubicBezTo>
                  <a:cubicBezTo>
                    <a:pt x="670" y="178"/>
                    <a:pt x="679" y="176"/>
                    <a:pt x="689" y="173"/>
                  </a:cubicBezTo>
                  <a:cubicBezTo>
                    <a:pt x="690" y="163"/>
                    <a:pt x="691" y="153"/>
                    <a:pt x="693" y="144"/>
                  </a:cubicBezTo>
                  <a:close/>
                </a:path>
              </a:pathLst>
            </a:custGeom>
            <a:solidFill>
              <a:srgbClr val="C8C8C8"/>
            </a:solidFill>
            <a:ln>
              <a:noFill/>
            </a:ln>
            <a:extLst>
              <a:ext uri="{91240B29-F687-4F45-9708-019B960494DF}">
                <a14:hiddenLine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47" name="išḻíḍè">
              <a:extLst>
                <a:ext uri="{FF2B5EF4-FFF2-40B4-BE49-F238E27FC236}">
                  <a16:creationId xmlns:a16="http://schemas.microsoft.com/office/drawing/2014/main" id="{ACE32288-BF9C-414A-9AA6-27A94FD16D3B}"/>
                </a:ext>
              </a:extLst>
            </p:cNvPr>
            <p:cNvSpPr/>
            <p:nvPr/>
          </p:nvSpPr>
          <p:spPr bwMode="auto">
            <a:xfrm>
              <a:off x="-4529132" y="7517589"/>
              <a:ext cx="1550989" cy="612776"/>
            </a:xfrm>
            <a:custGeom>
              <a:gdLst>
                <a:gd fmla="*/ 3 w 680" name="T0"/>
                <a:gd fmla="*/ 233 h 268" name="T1"/>
                <a:gd fmla="*/ 340 w 680" name="T2"/>
                <a:gd fmla="*/ 117 h 268" name="T3"/>
                <a:gd fmla="*/ 676 w 680" name="T4"/>
                <a:gd fmla="*/ 0 h 268" name="T5"/>
                <a:gd fmla="*/ 680 w 680" name="T6"/>
                <a:gd fmla="*/ 33 h 268" name="T7"/>
                <a:gd fmla="*/ 340 w 680" name="T8"/>
                <a:gd fmla="*/ 151 h 268" name="T9"/>
                <a:gd fmla="*/ 0 w 680" name="T10"/>
                <a:gd fmla="*/ 268 h 268" name="T11"/>
                <a:gd fmla="*/ 3 w 680" name="T12"/>
                <a:gd fmla="*/ 233 h 268" name="T13"/>
              </a:gdLst>
              <a:cxnLst>
                <a:cxn ang="0">
                  <a:pos x="T0" y="T1"/>
                </a:cxn>
                <a:cxn ang="0">
                  <a:pos x="T2" y="T3"/>
                </a:cxn>
                <a:cxn ang="0">
                  <a:pos x="T4" y="T5"/>
                </a:cxn>
                <a:cxn ang="0">
                  <a:pos x="T6" y="T7"/>
                </a:cxn>
                <a:cxn ang="0">
                  <a:pos x="T8" y="T9"/>
                </a:cxn>
                <a:cxn ang="0">
                  <a:pos x="T10" y="T11"/>
                </a:cxn>
                <a:cxn ang="0">
                  <a:pos x="T12" y="T13"/>
                </a:cxn>
              </a:cxnLst>
              <a:rect b="b" l="0" r="r" t="0"/>
              <a:pathLst>
                <a:path h="268" w="680">
                  <a:moveTo>
                    <a:pt x="3" y="233"/>
                  </a:moveTo>
                  <a:cubicBezTo>
                    <a:pt x="115" y="194"/>
                    <a:pt x="228" y="155"/>
                    <a:pt x="340" y="117"/>
                  </a:cubicBezTo>
                  <a:cubicBezTo>
                    <a:pt x="452" y="78"/>
                    <a:pt x="564" y="39"/>
                    <a:pt x="676" y="0"/>
                  </a:cubicBezTo>
                  <a:cubicBezTo>
                    <a:pt x="678" y="11"/>
                    <a:pt x="679" y="22"/>
                    <a:pt x="680" y="33"/>
                  </a:cubicBezTo>
                  <a:cubicBezTo>
                    <a:pt x="567" y="72"/>
                    <a:pt x="453" y="112"/>
                    <a:pt x="340" y="151"/>
                  </a:cubicBezTo>
                  <a:cubicBezTo>
                    <a:pt x="227" y="190"/>
                    <a:pt x="113" y="229"/>
                    <a:pt x="0" y="268"/>
                  </a:cubicBezTo>
                  <a:cubicBezTo>
                    <a:pt x="1" y="256"/>
                    <a:pt x="2" y="245"/>
                    <a:pt x="3" y="233"/>
                  </a:cubicBezTo>
                  <a:close/>
                </a:path>
              </a:pathLst>
            </a:custGeom>
            <a:solidFill>
              <a:srgbClr val="C8C8C8"/>
            </a:solidFill>
            <a:ln>
              <a:noFill/>
            </a:ln>
            <a:extLst>
              <a:ext uri="{91240B29-F687-4F45-9708-019B960494DF}">
                <a14:hiddenLine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48" name="ïşḷîḋe">
              <a:extLst>
                <a:ext uri="{FF2B5EF4-FFF2-40B4-BE49-F238E27FC236}">
                  <a16:creationId xmlns:a16="http://schemas.microsoft.com/office/drawing/2014/main" id="{409F77DB-160F-4DAF-A19A-AAB25CCB26A7}"/>
                </a:ext>
              </a:extLst>
            </p:cNvPr>
            <p:cNvSpPr/>
            <p:nvPr/>
          </p:nvSpPr>
          <p:spPr bwMode="auto">
            <a:xfrm>
              <a:off x="-4545006" y="7860489"/>
              <a:ext cx="241300" cy="447676"/>
            </a:xfrm>
            <a:custGeom>
              <a:gdLst>
                <a:gd fmla="*/ 0 w 106" name="T0"/>
                <a:gd fmla="*/ 196 h 196" name="T1"/>
                <a:gd fmla="*/ 103 w 106" name="T2"/>
                <a:gd fmla="*/ 68 h 196" name="T3"/>
                <a:gd fmla="*/ 17 w 106" name="T4"/>
                <a:gd fmla="*/ 5 h 196" name="T5"/>
                <a:gd fmla="*/ 0 w 106" name="T6"/>
                <a:gd fmla="*/ 196 h 196" name="T7"/>
              </a:gdLst>
              <a:cxnLst>
                <a:cxn ang="0">
                  <a:pos x="T0" y="T1"/>
                </a:cxn>
                <a:cxn ang="0">
                  <a:pos x="T2" y="T3"/>
                </a:cxn>
                <a:cxn ang="0">
                  <a:pos x="T4" y="T5"/>
                </a:cxn>
                <a:cxn ang="0">
                  <a:pos x="T6" y="T7"/>
                </a:cxn>
              </a:cxnLst>
              <a:rect b="b" l="0" r="r" t="0"/>
              <a:pathLst>
                <a:path h="196" w="105">
                  <a:moveTo>
                    <a:pt x="0" y="196"/>
                  </a:moveTo>
                  <a:cubicBezTo>
                    <a:pt x="58" y="163"/>
                    <a:pt x="100" y="112"/>
                    <a:pt x="103" y="68"/>
                  </a:cubicBezTo>
                  <a:cubicBezTo>
                    <a:pt x="106" y="24"/>
                    <a:pt x="69" y="0"/>
                    <a:pt x="17" y="5"/>
                  </a:cubicBezTo>
                  <a:cubicBezTo>
                    <a:pt x="11" y="69"/>
                    <a:pt x="6" y="132"/>
                    <a:pt x="0" y="196"/>
                  </a:cubicBezTo>
                  <a:close/>
                </a:path>
              </a:pathLst>
            </a:custGeom>
            <a:solidFill>
              <a:srgbClr val="CB952F"/>
            </a:solidFill>
            <a:ln>
              <a:noFill/>
            </a:ln>
            <a:extLst>
              <a:ext uri="{91240B29-F687-4F45-9708-019B960494DF}">
                <a14:hiddenLine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49" name="îṡ1íďè">
              <a:extLst>
                <a:ext uri="{FF2B5EF4-FFF2-40B4-BE49-F238E27FC236}">
                  <a16:creationId xmlns:a16="http://schemas.microsoft.com/office/drawing/2014/main" id="{459837B7-5272-40E5-9552-9CD93C4517AA}"/>
                </a:ext>
              </a:extLst>
            </p:cNvPr>
            <p:cNvSpPr/>
            <p:nvPr/>
          </p:nvSpPr>
          <p:spPr bwMode="auto">
            <a:xfrm>
              <a:off x="-4538657" y="7954152"/>
              <a:ext cx="127000" cy="271462"/>
            </a:xfrm>
            <a:custGeom>
              <a:gdLst>
                <a:gd fmla="*/ 0 w 56" name="T0"/>
                <a:gd fmla="*/ 119 h 119" name="T1"/>
                <a:gd fmla="*/ 54 w 56" name="T2"/>
                <a:gd fmla="*/ 43 h 119" name="T3"/>
                <a:gd fmla="*/ 11 w 56" name="T4"/>
                <a:gd fmla="*/ 0 h 119" name="T5"/>
                <a:gd fmla="*/ 0 w 56" name="T6"/>
                <a:gd fmla="*/ 119 h 119" name="T7"/>
              </a:gdLst>
              <a:cxnLst>
                <a:cxn ang="0">
                  <a:pos x="T0" y="T1"/>
                </a:cxn>
                <a:cxn ang="0">
                  <a:pos x="T2" y="T3"/>
                </a:cxn>
                <a:cxn ang="0">
                  <a:pos x="T4" y="T5"/>
                </a:cxn>
                <a:cxn ang="0">
                  <a:pos x="T6" y="T7"/>
                </a:cxn>
              </a:cxnLst>
              <a:rect b="b" l="0" r="r" t="0"/>
              <a:pathLst>
                <a:path h="119" w="56">
                  <a:moveTo>
                    <a:pt x="0" y="119"/>
                  </a:moveTo>
                  <a:cubicBezTo>
                    <a:pt x="31" y="97"/>
                    <a:pt x="52" y="68"/>
                    <a:pt x="54" y="43"/>
                  </a:cubicBezTo>
                  <a:cubicBezTo>
                    <a:pt x="56" y="17"/>
                    <a:pt x="38" y="1"/>
                    <a:pt x="11" y="0"/>
                  </a:cubicBezTo>
                  <a:cubicBezTo>
                    <a:pt x="7" y="40"/>
                    <a:pt x="4" y="79"/>
                    <a:pt x="0" y="119"/>
                  </a:cubicBezTo>
                  <a:close/>
                </a:path>
              </a:pathLst>
            </a:custGeom>
            <a:solidFill>
              <a:srgbClr val="808080"/>
            </a:solidFill>
            <a:ln>
              <a:noFill/>
            </a:ln>
            <a:extLst>
              <a:ext uri="{91240B29-F687-4F45-9708-019B960494DF}">
                <a14:hiddenLine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50" name="iSľiḑe">
              <a:extLst>
                <a:ext uri="{FF2B5EF4-FFF2-40B4-BE49-F238E27FC236}">
                  <a16:creationId xmlns:a16="http://schemas.microsoft.com/office/drawing/2014/main" id="{D89CC6D3-7E0B-4041-B5D5-ABF70CAC0510}"/>
                </a:ext>
              </a:extLst>
            </p:cNvPr>
            <p:cNvSpPr/>
            <p:nvPr/>
          </p:nvSpPr>
          <p:spPr bwMode="auto">
            <a:xfrm>
              <a:off x="-4032244" y="7595377"/>
              <a:ext cx="1063626" cy="733426"/>
            </a:xfrm>
            <a:custGeom>
              <a:gdLst>
                <a:gd fmla="*/ 27 w 466" name="T0"/>
                <a:gd fmla="*/ 321 h 321" name="T1"/>
                <a:gd fmla="*/ 0 w 466" name="T2"/>
                <a:gd fmla="*/ 302 h 321" name="T3"/>
                <a:gd fmla="*/ 236 w 466" name="T4"/>
                <a:gd fmla="*/ 151 h 321" name="T5"/>
                <a:gd fmla="*/ 462 w 466" name="T6"/>
                <a:gd fmla="*/ 0 h 321" name="T7"/>
                <a:gd fmla="*/ 466 w 466" name="T8"/>
                <a:gd fmla="*/ 36 h 321" name="T9"/>
                <a:gd fmla="*/ 251 w 466" name="T10"/>
                <a:gd fmla="*/ 178 h 321" name="T11"/>
                <a:gd fmla="*/ 27 w 466" name="T12"/>
                <a:gd fmla="*/ 321 h 321" name="T13"/>
              </a:gdLst>
              <a:cxnLst>
                <a:cxn ang="0">
                  <a:pos x="T0" y="T1"/>
                </a:cxn>
                <a:cxn ang="0">
                  <a:pos x="T2" y="T3"/>
                </a:cxn>
                <a:cxn ang="0">
                  <a:pos x="T4" y="T5"/>
                </a:cxn>
                <a:cxn ang="0">
                  <a:pos x="T6" y="T7"/>
                </a:cxn>
                <a:cxn ang="0">
                  <a:pos x="T8" y="T9"/>
                </a:cxn>
                <a:cxn ang="0">
                  <a:pos x="T10" y="T11"/>
                </a:cxn>
                <a:cxn ang="0">
                  <a:pos x="T12" y="T13"/>
                </a:cxn>
              </a:cxnLst>
              <a:rect b="b" l="0" r="r" t="0"/>
              <a:pathLst>
                <a:path h="321" w="466">
                  <a:moveTo>
                    <a:pt x="27" y="321"/>
                  </a:moveTo>
                  <a:cubicBezTo>
                    <a:pt x="18" y="315"/>
                    <a:pt x="9" y="309"/>
                    <a:pt x="0" y="302"/>
                  </a:cubicBezTo>
                  <a:cubicBezTo>
                    <a:pt x="79" y="252"/>
                    <a:pt x="158" y="201"/>
                    <a:pt x="236" y="151"/>
                  </a:cubicBezTo>
                  <a:cubicBezTo>
                    <a:pt x="312" y="101"/>
                    <a:pt x="388" y="50"/>
                    <a:pt x="462" y="0"/>
                  </a:cubicBezTo>
                  <a:cubicBezTo>
                    <a:pt x="463" y="12"/>
                    <a:pt x="465" y="24"/>
                    <a:pt x="466" y="36"/>
                  </a:cubicBezTo>
                  <a:cubicBezTo>
                    <a:pt x="395" y="83"/>
                    <a:pt x="323" y="131"/>
                    <a:pt x="251" y="178"/>
                  </a:cubicBezTo>
                  <a:cubicBezTo>
                    <a:pt x="177" y="226"/>
                    <a:pt x="103" y="274"/>
                    <a:pt x="27" y="321"/>
                  </a:cubicBezTo>
                  <a:close/>
                </a:path>
              </a:pathLst>
            </a:custGeom>
            <a:solidFill>
              <a:srgbClr val="C8C8C8"/>
            </a:solidFill>
            <a:ln>
              <a:noFill/>
            </a:ln>
            <a:extLst>
              <a:ext uri="{91240B29-F687-4F45-9708-019B960494DF}">
                <a14:hiddenLine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51" name="ïṩļïďe">
              <a:extLst>
                <a:ext uri="{FF2B5EF4-FFF2-40B4-BE49-F238E27FC236}">
                  <a16:creationId xmlns:a16="http://schemas.microsoft.com/office/drawing/2014/main" id="{D5E64D89-3CB2-4F1B-AB6B-32B4247A6CDC}"/>
                </a:ext>
              </a:extLst>
            </p:cNvPr>
            <p:cNvSpPr/>
            <p:nvPr/>
          </p:nvSpPr>
          <p:spPr bwMode="auto">
            <a:xfrm>
              <a:off x="-4492619" y="6890526"/>
              <a:ext cx="1446214" cy="819150"/>
            </a:xfrm>
            <a:custGeom>
              <a:gdLst>
                <a:gd fmla="*/ 3 w 634" name="T0"/>
                <a:gd fmla="*/ 324 h 358" name="T1"/>
                <a:gd fmla="*/ 322 w 634" name="T2"/>
                <a:gd fmla="*/ 161 h 358" name="T3"/>
                <a:gd fmla="*/ 631 w 634" name="T4"/>
                <a:gd fmla="*/ 0 h 358" name="T5"/>
                <a:gd fmla="*/ 634 w 634" name="T6"/>
                <a:gd fmla="*/ 33 h 358" name="T7"/>
                <a:gd fmla="*/ 322 w 634" name="T8"/>
                <a:gd fmla="*/ 196 h 358" name="T9"/>
                <a:gd fmla="*/ 0 w 634" name="T10"/>
                <a:gd fmla="*/ 358 h 358" name="T11"/>
                <a:gd fmla="*/ 3 w 634" name="T12"/>
                <a:gd fmla="*/ 324 h 358" name="T13"/>
              </a:gdLst>
              <a:cxnLst>
                <a:cxn ang="0">
                  <a:pos x="T0" y="T1"/>
                </a:cxn>
                <a:cxn ang="0">
                  <a:pos x="T2" y="T3"/>
                </a:cxn>
                <a:cxn ang="0">
                  <a:pos x="T4" y="T5"/>
                </a:cxn>
                <a:cxn ang="0">
                  <a:pos x="T6" y="T7"/>
                </a:cxn>
                <a:cxn ang="0">
                  <a:pos x="T8" y="T9"/>
                </a:cxn>
                <a:cxn ang="0">
                  <a:pos x="T10" y="T11"/>
                </a:cxn>
                <a:cxn ang="0">
                  <a:pos x="T12" y="T13"/>
                </a:cxn>
              </a:cxnLst>
              <a:rect b="b" l="0" r="r" t="0"/>
              <a:pathLst>
                <a:path h="358" w="634">
                  <a:moveTo>
                    <a:pt x="3" y="324"/>
                  </a:moveTo>
                  <a:cubicBezTo>
                    <a:pt x="110" y="270"/>
                    <a:pt x="217" y="216"/>
                    <a:pt x="322" y="161"/>
                  </a:cubicBezTo>
                  <a:cubicBezTo>
                    <a:pt x="426" y="108"/>
                    <a:pt x="529" y="54"/>
                    <a:pt x="631" y="0"/>
                  </a:cubicBezTo>
                  <a:cubicBezTo>
                    <a:pt x="632" y="11"/>
                    <a:pt x="633" y="22"/>
                    <a:pt x="634" y="33"/>
                  </a:cubicBezTo>
                  <a:cubicBezTo>
                    <a:pt x="531" y="87"/>
                    <a:pt x="427" y="142"/>
                    <a:pt x="322" y="196"/>
                  </a:cubicBezTo>
                  <a:cubicBezTo>
                    <a:pt x="216" y="250"/>
                    <a:pt x="108" y="304"/>
                    <a:pt x="0" y="358"/>
                  </a:cubicBezTo>
                  <a:cubicBezTo>
                    <a:pt x="1" y="347"/>
                    <a:pt x="2" y="335"/>
                    <a:pt x="3" y="324"/>
                  </a:cubicBezTo>
                  <a:close/>
                </a:path>
              </a:pathLst>
            </a:custGeom>
            <a:solidFill>
              <a:srgbClr val="C8C8C8"/>
            </a:solidFill>
            <a:ln>
              <a:noFill/>
            </a:ln>
            <a:extLst>
              <a:ext uri="{91240B29-F687-4F45-9708-019B960494DF}">
                <a14:hiddenLine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52" name="ïṥļiḓé">
              <a:extLst>
                <a:ext uri="{FF2B5EF4-FFF2-40B4-BE49-F238E27FC236}">
                  <a16:creationId xmlns:a16="http://schemas.microsoft.com/office/drawing/2014/main" id="{9E233FF9-29EA-4FDA-9188-1A55DA2154C9}"/>
                </a:ext>
              </a:extLst>
            </p:cNvPr>
            <p:cNvSpPr/>
            <p:nvPr/>
          </p:nvSpPr>
          <p:spPr bwMode="auto">
            <a:xfrm>
              <a:off x="-4022719" y="6882588"/>
              <a:ext cx="596900" cy="306388"/>
            </a:xfrm>
            <a:custGeom>
              <a:gdLst>
                <a:gd fmla="*/ 262 w 262" name="T0"/>
                <a:gd fmla="*/ 105 h 134" name="T1"/>
                <a:gd fmla="*/ 226 w 262" name="T2"/>
                <a:gd fmla="*/ 134 h 134" name="T3"/>
                <a:gd fmla="*/ 109 w 262" name="T4"/>
                <a:gd fmla="*/ 78 h 134" name="T5"/>
                <a:gd fmla="*/ 0 w 262" name="T6"/>
                <a:gd fmla="*/ 20 h 134" name="T7"/>
                <a:gd fmla="*/ 52 w 262" name="T8"/>
                <a:gd fmla="*/ 0 h 134" name="T9"/>
                <a:gd fmla="*/ 154 w 262" name="T10"/>
                <a:gd fmla="*/ 53 h 134" name="T11"/>
                <a:gd fmla="*/ 262 w 262" name="T12"/>
                <a:gd fmla="*/ 105 h 134" name="T13"/>
              </a:gdLst>
              <a:cxnLst>
                <a:cxn ang="0">
                  <a:pos x="T0" y="T1"/>
                </a:cxn>
                <a:cxn ang="0">
                  <a:pos x="T2" y="T3"/>
                </a:cxn>
                <a:cxn ang="0">
                  <a:pos x="T4" y="T5"/>
                </a:cxn>
                <a:cxn ang="0">
                  <a:pos x="T6" y="T7"/>
                </a:cxn>
                <a:cxn ang="0">
                  <a:pos x="T8" y="T9"/>
                </a:cxn>
                <a:cxn ang="0">
                  <a:pos x="T10" y="T11"/>
                </a:cxn>
                <a:cxn ang="0">
                  <a:pos x="T12" y="T13"/>
                </a:cxn>
              </a:cxnLst>
              <a:rect b="b" l="0" r="r" t="0"/>
              <a:pathLst>
                <a:path h="134" w="262">
                  <a:moveTo>
                    <a:pt x="262" y="105"/>
                  </a:moveTo>
                  <a:cubicBezTo>
                    <a:pt x="250" y="115"/>
                    <a:pt x="238" y="125"/>
                    <a:pt x="226" y="134"/>
                  </a:cubicBezTo>
                  <a:cubicBezTo>
                    <a:pt x="186" y="116"/>
                    <a:pt x="147" y="97"/>
                    <a:pt x="109" y="78"/>
                  </a:cubicBezTo>
                  <a:cubicBezTo>
                    <a:pt x="72" y="59"/>
                    <a:pt x="35" y="40"/>
                    <a:pt x="0" y="20"/>
                  </a:cubicBezTo>
                  <a:cubicBezTo>
                    <a:pt x="17" y="14"/>
                    <a:pt x="35" y="7"/>
                    <a:pt x="52" y="0"/>
                  </a:cubicBezTo>
                  <a:cubicBezTo>
                    <a:pt x="85" y="18"/>
                    <a:pt x="119" y="36"/>
                    <a:pt x="154" y="53"/>
                  </a:cubicBezTo>
                  <a:cubicBezTo>
                    <a:pt x="189" y="71"/>
                    <a:pt x="225" y="88"/>
                    <a:pt x="262" y="105"/>
                  </a:cubicBezTo>
                  <a:close/>
                </a:path>
              </a:pathLst>
            </a:custGeom>
            <a:solidFill>
              <a:srgbClr val="C8C8C8"/>
            </a:solidFill>
            <a:ln>
              <a:noFill/>
            </a:ln>
            <a:extLst>
              <a:ext uri="{91240B29-F687-4F45-9708-019B960494DF}">
                <a14:hiddenLine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53" name="îṣľïḍe">
              <a:extLst>
                <a:ext uri="{FF2B5EF4-FFF2-40B4-BE49-F238E27FC236}">
                  <a16:creationId xmlns:a16="http://schemas.microsoft.com/office/drawing/2014/main" id="{9FBA3082-638A-41C3-A377-693B55E40EFA}"/>
                </a:ext>
              </a:extLst>
            </p:cNvPr>
            <p:cNvSpPr/>
            <p:nvPr/>
          </p:nvSpPr>
          <p:spPr bwMode="auto">
            <a:xfrm>
              <a:off x="-3525831" y="7108013"/>
              <a:ext cx="182563" cy="628651"/>
            </a:xfrm>
            <a:custGeom>
              <a:gdLst>
                <a:gd fmla="*/ 80 w 80" name="T0"/>
                <a:gd fmla="*/ 244 h 275" name="T1"/>
                <a:gd fmla="*/ 40 w 80" name="T2"/>
                <a:gd fmla="*/ 275 h 275" name="T3"/>
                <a:gd fmla="*/ 0 w 80" name="T4"/>
                <a:gd fmla="*/ 31 h 275" name="T5"/>
                <a:gd fmla="*/ 37 w 80" name="T6"/>
                <a:gd fmla="*/ 0 h 275" name="T7"/>
                <a:gd fmla="*/ 80 w 80" name="T8"/>
                <a:gd fmla="*/ 244 h 275" name="T9"/>
              </a:gdLst>
              <a:cxnLst>
                <a:cxn ang="0">
                  <a:pos x="T0" y="T1"/>
                </a:cxn>
                <a:cxn ang="0">
                  <a:pos x="T2" y="T3"/>
                </a:cxn>
                <a:cxn ang="0">
                  <a:pos x="T4" y="T5"/>
                </a:cxn>
                <a:cxn ang="0">
                  <a:pos x="T6" y="T7"/>
                </a:cxn>
                <a:cxn ang="0">
                  <a:pos x="T8" y="T9"/>
                </a:cxn>
              </a:cxnLst>
              <a:rect b="b" l="0" r="r" t="0"/>
              <a:pathLst>
                <a:path h="275" w="80">
                  <a:moveTo>
                    <a:pt x="80" y="244"/>
                  </a:moveTo>
                  <a:cubicBezTo>
                    <a:pt x="67" y="254"/>
                    <a:pt x="53" y="264"/>
                    <a:pt x="40" y="275"/>
                  </a:cubicBezTo>
                  <a:cubicBezTo>
                    <a:pt x="26" y="194"/>
                    <a:pt x="13" y="112"/>
                    <a:pt x="0" y="31"/>
                  </a:cubicBezTo>
                  <a:cubicBezTo>
                    <a:pt x="12" y="20"/>
                    <a:pt x="25" y="10"/>
                    <a:pt x="37" y="0"/>
                  </a:cubicBezTo>
                  <a:cubicBezTo>
                    <a:pt x="51" y="81"/>
                    <a:pt x="66" y="163"/>
                    <a:pt x="80" y="244"/>
                  </a:cubicBezTo>
                  <a:close/>
                </a:path>
              </a:pathLst>
            </a:custGeom>
            <a:solidFill>
              <a:srgbClr val="C8C8C8"/>
            </a:solidFill>
            <a:ln>
              <a:noFill/>
            </a:ln>
            <a:extLst>
              <a:ext uri="{91240B29-F687-4F45-9708-019B960494DF}">
                <a14:hiddenLine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54" name="îṥľïdé">
              <a:extLst>
                <a:ext uri="{FF2B5EF4-FFF2-40B4-BE49-F238E27FC236}">
                  <a16:creationId xmlns:a16="http://schemas.microsoft.com/office/drawing/2014/main" id="{A7D1B004-5702-4E2A-8BF7-17AF34484E95}"/>
                </a:ext>
              </a:extLst>
            </p:cNvPr>
            <p:cNvSpPr/>
            <p:nvPr/>
          </p:nvSpPr>
          <p:spPr bwMode="auto">
            <a:xfrm>
              <a:off x="-3500431" y="7173101"/>
              <a:ext cx="485775" cy="257175"/>
            </a:xfrm>
            <a:custGeom>
              <a:gdLst>
                <a:gd fmla="*/ 0 w 213" name="T0"/>
                <a:gd fmla="*/ 113 h 113" name="T1"/>
                <a:gd fmla="*/ 2 w 213" name="T2"/>
                <a:gd fmla="*/ 74 h 113" name="T3"/>
                <a:gd fmla="*/ 106 w 213" name="T4"/>
                <a:gd fmla="*/ 37 h 113" name="T5"/>
                <a:gd fmla="*/ 209 w 213" name="T6"/>
                <a:gd fmla="*/ 0 h 113" name="T7"/>
                <a:gd fmla="*/ 213 w 213" name="T8"/>
                <a:gd fmla="*/ 37 h 113" name="T9"/>
                <a:gd fmla="*/ 106 w 213" name="T10"/>
                <a:gd fmla="*/ 75 h 113" name="T11"/>
                <a:gd fmla="*/ 0 w 213" name="T12"/>
                <a:gd fmla="*/ 113 h 113" name="T13"/>
              </a:gdLst>
              <a:cxnLst>
                <a:cxn ang="0">
                  <a:pos x="T0" y="T1"/>
                </a:cxn>
                <a:cxn ang="0">
                  <a:pos x="T2" y="T3"/>
                </a:cxn>
                <a:cxn ang="0">
                  <a:pos x="T4" y="T5"/>
                </a:cxn>
                <a:cxn ang="0">
                  <a:pos x="T6" y="T7"/>
                </a:cxn>
                <a:cxn ang="0">
                  <a:pos x="T8" y="T9"/>
                </a:cxn>
                <a:cxn ang="0">
                  <a:pos x="T10" y="T11"/>
                </a:cxn>
                <a:cxn ang="0">
                  <a:pos x="T12" y="T13"/>
                </a:cxn>
              </a:cxnLst>
              <a:rect b="b" l="0" r="r" t="0"/>
              <a:pathLst>
                <a:path h="113" w="213">
                  <a:moveTo>
                    <a:pt x="0" y="113"/>
                  </a:moveTo>
                  <a:cubicBezTo>
                    <a:pt x="0" y="100"/>
                    <a:pt x="1" y="87"/>
                    <a:pt x="2" y="74"/>
                  </a:cubicBezTo>
                  <a:cubicBezTo>
                    <a:pt x="36" y="61"/>
                    <a:pt x="71" y="49"/>
                    <a:pt x="106" y="37"/>
                  </a:cubicBezTo>
                  <a:cubicBezTo>
                    <a:pt x="140" y="24"/>
                    <a:pt x="175" y="12"/>
                    <a:pt x="209" y="0"/>
                  </a:cubicBezTo>
                  <a:cubicBezTo>
                    <a:pt x="210" y="12"/>
                    <a:pt x="212" y="25"/>
                    <a:pt x="213" y="37"/>
                  </a:cubicBezTo>
                  <a:cubicBezTo>
                    <a:pt x="178" y="50"/>
                    <a:pt x="142" y="62"/>
                    <a:pt x="106" y="75"/>
                  </a:cubicBezTo>
                  <a:cubicBezTo>
                    <a:pt x="71" y="88"/>
                    <a:pt x="35" y="100"/>
                    <a:pt x="0" y="113"/>
                  </a:cubicBezTo>
                  <a:close/>
                </a:path>
              </a:pathLst>
            </a:custGeom>
            <a:solidFill>
              <a:srgbClr val="C8C8C8"/>
            </a:solidFill>
            <a:ln>
              <a:noFill/>
            </a:ln>
            <a:extLst>
              <a:ext uri="{91240B29-F687-4F45-9708-019B960494DF}">
                <a14:hiddenLine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55" name="ïslíḍe">
              <a:extLst>
                <a:ext uri="{FF2B5EF4-FFF2-40B4-BE49-F238E27FC236}">
                  <a16:creationId xmlns:a16="http://schemas.microsoft.com/office/drawing/2014/main" id="{567E97EB-EA4B-491C-9FDA-BAC4D1C04B67}"/>
                </a:ext>
              </a:extLst>
            </p:cNvPr>
            <p:cNvSpPr/>
            <p:nvPr/>
          </p:nvSpPr>
          <p:spPr bwMode="auto">
            <a:xfrm>
              <a:off x="-4502144" y="7319151"/>
              <a:ext cx="1081087" cy="485776"/>
            </a:xfrm>
            <a:custGeom>
              <a:gdLst>
                <a:gd fmla="*/ 4 w 474" name="T0"/>
                <a:gd fmla="*/ 174 h 213" name="T1"/>
                <a:gd fmla="*/ 235 w 474" name="T2"/>
                <a:gd fmla="*/ 87 h 213" name="T3"/>
                <a:gd fmla="*/ 466 w 474" name="T4"/>
                <a:gd fmla="*/ 0 h 213" name="T5"/>
                <a:gd fmla="*/ 474 w 474" name="T6"/>
                <a:gd fmla="*/ 36 h 213" name="T7"/>
                <a:gd fmla="*/ 237 w 474" name="T8"/>
                <a:gd fmla="*/ 125 h 213" name="T9"/>
                <a:gd fmla="*/ 0 w 474" name="T10"/>
                <a:gd fmla="*/ 213 h 213" name="T11"/>
                <a:gd fmla="*/ 4 w 474" name="T12"/>
                <a:gd fmla="*/ 174 h 213" name="T13"/>
              </a:gdLst>
              <a:cxnLst>
                <a:cxn ang="0">
                  <a:pos x="T0" y="T1"/>
                </a:cxn>
                <a:cxn ang="0">
                  <a:pos x="T2" y="T3"/>
                </a:cxn>
                <a:cxn ang="0">
                  <a:pos x="T4" y="T5"/>
                </a:cxn>
                <a:cxn ang="0">
                  <a:pos x="T6" y="T7"/>
                </a:cxn>
                <a:cxn ang="0">
                  <a:pos x="T8" y="T9"/>
                </a:cxn>
                <a:cxn ang="0">
                  <a:pos x="T10" y="T11"/>
                </a:cxn>
                <a:cxn ang="0">
                  <a:pos x="T12" y="T13"/>
                </a:cxn>
              </a:cxnLst>
              <a:rect b="b" l="0" r="r" t="0"/>
              <a:pathLst>
                <a:path h="213" w="473">
                  <a:moveTo>
                    <a:pt x="4" y="174"/>
                  </a:moveTo>
                  <a:cubicBezTo>
                    <a:pt x="81" y="145"/>
                    <a:pt x="158" y="116"/>
                    <a:pt x="235" y="87"/>
                  </a:cubicBezTo>
                  <a:cubicBezTo>
                    <a:pt x="312" y="58"/>
                    <a:pt x="389" y="29"/>
                    <a:pt x="466" y="0"/>
                  </a:cubicBezTo>
                  <a:cubicBezTo>
                    <a:pt x="468" y="12"/>
                    <a:pt x="471" y="24"/>
                    <a:pt x="474" y="36"/>
                  </a:cubicBezTo>
                  <a:cubicBezTo>
                    <a:pt x="395" y="66"/>
                    <a:pt x="316" y="96"/>
                    <a:pt x="237" y="125"/>
                  </a:cubicBezTo>
                  <a:cubicBezTo>
                    <a:pt x="159" y="154"/>
                    <a:pt x="79" y="184"/>
                    <a:pt x="0" y="213"/>
                  </a:cubicBezTo>
                  <a:cubicBezTo>
                    <a:pt x="1" y="200"/>
                    <a:pt x="3" y="187"/>
                    <a:pt x="4" y="174"/>
                  </a:cubicBezTo>
                  <a:close/>
                </a:path>
              </a:pathLst>
            </a:custGeom>
            <a:solidFill>
              <a:srgbClr val="C8C8C8"/>
            </a:solidFill>
            <a:ln>
              <a:noFill/>
            </a:ln>
            <a:extLst>
              <a:ext uri="{91240B29-F687-4F45-9708-019B960494DF}">
                <a14:hiddenLine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56" name="íşľïḍê">
              <a:extLst>
                <a:ext uri="{FF2B5EF4-FFF2-40B4-BE49-F238E27FC236}">
                  <a16:creationId xmlns:a16="http://schemas.microsoft.com/office/drawing/2014/main" id="{1CF31524-E48B-4D9E-B990-0E1BC45BE463}"/>
                </a:ext>
              </a:extLst>
            </p:cNvPr>
            <p:cNvSpPr/>
            <p:nvPr/>
          </p:nvSpPr>
          <p:spPr bwMode="auto">
            <a:xfrm>
              <a:off x="-3803644" y="7498539"/>
              <a:ext cx="117475" cy="341313"/>
            </a:xfrm>
            <a:custGeom>
              <a:gdLst>
                <a:gd fmla="*/ 52 w 52" name="T0"/>
                <a:gd fmla="*/ 138 h 149" name="T1"/>
                <a:gd fmla="*/ 0 w 52" name="T2"/>
                <a:gd fmla="*/ 149 h 149" name="T3"/>
                <a:gd fmla="*/ 1 w 52" name="T4"/>
                <a:gd fmla="*/ 7 h 149" name="T5"/>
                <a:gd fmla="*/ 52 w 52" name="T6"/>
                <a:gd fmla="*/ 0 h 149" name="T7"/>
                <a:gd fmla="*/ 52 w 52" name="T8"/>
                <a:gd fmla="*/ 138 h 149" name="T9"/>
              </a:gdLst>
              <a:cxnLst>
                <a:cxn ang="0">
                  <a:pos x="T0" y="T1"/>
                </a:cxn>
                <a:cxn ang="0">
                  <a:pos x="T2" y="T3"/>
                </a:cxn>
                <a:cxn ang="0">
                  <a:pos x="T4" y="T5"/>
                </a:cxn>
                <a:cxn ang="0">
                  <a:pos x="T6" y="T7"/>
                </a:cxn>
                <a:cxn ang="0">
                  <a:pos x="T8" y="T9"/>
                </a:cxn>
              </a:cxnLst>
              <a:rect b="b" l="0" r="r" t="0"/>
              <a:pathLst>
                <a:path h="149" w="52">
                  <a:moveTo>
                    <a:pt x="52" y="138"/>
                  </a:moveTo>
                  <a:cubicBezTo>
                    <a:pt x="35" y="142"/>
                    <a:pt x="17" y="145"/>
                    <a:pt x="0" y="149"/>
                  </a:cubicBezTo>
                  <a:cubicBezTo>
                    <a:pt x="0" y="102"/>
                    <a:pt x="1" y="54"/>
                    <a:pt x="1" y="7"/>
                  </a:cubicBezTo>
                  <a:cubicBezTo>
                    <a:pt x="18" y="4"/>
                    <a:pt x="35" y="2"/>
                    <a:pt x="52" y="0"/>
                  </a:cubicBezTo>
                  <a:cubicBezTo>
                    <a:pt x="52" y="46"/>
                    <a:pt x="52" y="92"/>
                    <a:pt x="52" y="138"/>
                  </a:cubicBezTo>
                  <a:close/>
                </a:path>
              </a:pathLst>
            </a:custGeom>
            <a:solidFill>
              <a:srgbClr val="C8C8C8"/>
            </a:solidFill>
            <a:ln>
              <a:noFill/>
            </a:ln>
            <a:extLst>
              <a:ext uri="{91240B29-F687-4F45-9708-019B960494DF}">
                <a14:hiddenLine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57" name="ïSḻîḓê">
              <a:extLst>
                <a:ext uri="{FF2B5EF4-FFF2-40B4-BE49-F238E27FC236}">
                  <a16:creationId xmlns:a16="http://schemas.microsoft.com/office/drawing/2014/main" id="{881585D7-2A61-43FD-B3D4-C16DDA068E3F}"/>
                </a:ext>
              </a:extLst>
            </p:cNvPr>
            <p:cNvSpPr/>
            <p:nvPr/>
          </p:nvSpPr>
          <p:spPr bwMode="auto">
            <a:xfrm>
              <a:off x="-4189407" y="7620776"/>
              <a:ext cx="134938" cy="344488"/>
            </a:xfrm>
            <a:custGeom>
              <a:gdLst>
                <a:gd fmla="*/ 53 w 59" name="T0"/>
                <a:gd fmla="*/ 139 h 151" name="T1"/>
                <a:gd fmla="*/ 0 w 59" name="T2"/>
                <a:gd fmla="*/ 151 h 151" name="T3"/>
                <a:gd fmla="*/ 9 w 59" name="T4"/>
                <a:gd fmla="*/ 7 h 151" name="T5"/>
                <a:gd fmla="*/ 59 w 59" name="T6"/>
                <a:gd fmla="*/ 0 h 151" name="T7"/>
                <a:gd fmla="*/ 53 w 59" name="T8"/>
                <a:gd fmla="*/ 139 h 151" name="T9"/>
              </a:gdLst>
              <a:cxnLst>
                <a:cxn ang="0">
                  <a:pos x="T0" y="T1"/>
                </a:cxn>
                <a:cxn ang="0">
                  <a:pos x="T2" y="T3"/>
                </a:cxn>
                <a:cxn ang="0">
                  <a:pos x="T4" y="T5"/>
                </a:cxn>
                <a:cxn ang="0">
                  <a:pos x="T6" y="T7"/>
                </a:cxn>
                <a:cxn ang="0">
                  <a:pos x="T8" y="T9"/>
                </a:cxn>
              </a:cxnLst>
              <a:rect b="b" l="0" r="r" t="0"/>
              <a:pathLst>
                <a:path h="151" w="59">
                  <a:moveTo>
                    <a:pt x="53" y="139"/>
                  </a:moveTo>
                  <a:cubicBezTo>
                    <a:pt x="35" y="143"/>
                    <a:pt x="18" y="147"/>
                    <a:pt x="0" y="151"/>
                  </a:cubicBezTo>
                  <a:cubicBezTo>
                    <a:pt x="3" y="103"/>
                    <a:pt x="6" y="55"/>
                    <a:pt x="9" y="7"/>
                  </a:cubicBezTo>
                  <a:cubicBezTo>
                    <a:pt x="25" y="5"/>
                    <a:pt x="42" y="2"/>
                    <a:pt x="59" y="0"/>
                  </a:cubicBezTo>
                  <a:cubicBezTo>
                    <a:pt x="57" y="47"/>
                    <a:pt x="55" y="93"/>
                    <a:pt x="53" y="139"/>
                  </a:cubicBezTo>
                  <a:close/>
                </a:path>
              </a:pathLst>
            </a:custGeom>
            <a:solidFill>
              <a:srgbClr val="C8C8C8"/>
            </a:solidFill>
            <a:ln>
              <a:noFill/>
            </a:ln>
            <a:extLst>
              <a:ext uri="{91240B29-F687-4F45-9708-019B960494DF}">
                <a14:hiddenLine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58" name="íṥḷíḑè">
              <a:extLst>
                <a:ext uri="{FF2B5EF4-FFF2-40B4-BE49-F238E27FC236}">
                  <a16:creationId xmlns:a16="http://schemas.microsoft.com/office/drawing/2014/main" id="{E9BEFF0A-5932-418A-9B65-F4498C9D8DC1}"/>
                </a:ext>
              </a:extLst>
            </p:cNvPr>
            <p:cNvSpPr/>
            <p:nvPr/>
          </p:nvSpPr>
          <p:spPr bwMode="auto">
            <a:xfrm>
              <a:off x="-3781419" y="6650812"/>
              <a:ext cx="709613" cy="403226"/>
            </a:xfrm>
            <a:custGeom>
              <a:gdLst>
                <a:gd fmla="*/ 31 w 311" name="T0"/>
                <a:gd fmla="*/ 176 h 176" name="T1"/>
                <a:gd fmla="*/ 0 w 311" name="T2"/>
                <a:gd fmla="*/ 158 h 176" name="T3"/>
                <a:gd fmla="*/ 155 w 311" name="T4"/>
                <a:gd fmla="*/ 79 h 176" name="T5"/>
                <a:gd fmla="*/ 308 w 311" name="T6"/>
                <a:gd fmla="*/ 0 h 176" name="T7"/>
                <a:gd fmla="*/ 311 w 311" name="T8"/>
                <a:gd fmla="*/ 34 h 176" name="T9"/>
                <a:gd fmla="*/ 172 w 311" name="T10"/>
                <a:gd fmla="*/ 105 h 176" name="T11"/>
                <a:gd fmla="*/ 31 w 311" name="T12"/>
                <a:gd fmla="*/ 176 h 176" name="T13"/>
              </a:gdLst>
              <a:cxnLst>
                <a:cxn ang="0">
                  <a:pos x="T0" y="T1"/>
                </a:cxn>
                <a:cxn ang="0">
                  <a:pos x="T2" y="T3"/>
                </a:cxn>
                <a:cxn ang="0">
                  <a:pos x="T4" y="T5"/>
                </a:cxn>
                <a:cxn ang="0">
                  <a:pos x="T6" y="T7"/>
                </a:cxn>
                <a:cxn ang="0">
                  <a:pos x="T8" y="T9"/>
                </a:cxn>
                <a:cxn ang="0">
                  <a:pos x="T10" y="T11"/>
                </a:cxn>
                <a:cxn ang="0">
                  <a:pos x="T12" y="T13"/>
                </a:cxn>
              </a:cxnLst>
              <a:rect b="b" l="0" r="r" t="0"/>
              <a:pathLst>
                <a:path h="176" w="311">
                  <a:moveTo>
                    <a:pt x="31" y="176"/>
                  </a:moveTo>
                  <a:cubicBezTo>
                    <a:pt x="20" y="170"/>
                    <a:pt x="10" y="164"/>
                    <a:pt x="0" y="158"/>
                  </a:cubicBezTo>
                  <a:cubicBezTo>
                    <a:pt x="51" y="131"/>
                    <a:pt x="103" y="105"/>
                    <a:pt x="155" y="79"/>
                  </a:cubicBezTo>
                  <a:cubicBezTo>
                    <a:pt x="206" y="53"/>
                    <a:pt x="257" y="27"/>
                    <a:pt x="308" y="0"/>
                  </a:cubicBezTo>
                  <a:cubicBezTo>
                    <a:pt x="309" y="12"/>
                    <a:pt x="310" y="23"/>
                    <a:pt x="311" y="34"/>
                  </a:cubicBezTo>
                  <a:cubicBezTo>
                    <a:pt x="265" y="58"/>
                    <a:pt x="218" y="82"/>
                    <a:pt x="172" y="105"/>
                  </a:cubicBezTo>
                  <a:cubicBezTo>
                    <a:pt x="125" y="129"/>
                    <a:pt x="78" y="153"/>
                    <a:pt x="31" y="176"/>
                  </a:cubicBezTo>
                  <a:close/>
                </a:path>
              </a:pathLst>
            </a:custGeom>
            <a:solidFill>
              <a:srgbClr val="C8C8C8"/>
            </a:solidFill>
            <a:ln>
              <a:noFill/>
            </a:ln>
            <a:extLst>
              <a:ext uri="{91240B29-F687-4F45-9708-019B960494DF}">
                <a14:hiddenLine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59" name="ïśļiḍê">
              <a:extLst>
                <a:ext uri="{FF2B5EF4-FFF2-40B4-BE49-F238E27FC236}">
                  <a16:creationId xmlns:a16="http://schemas.microsoft.com/office/drawing/2014/main" id="{18A21D87-5E73-4B65-9AA4-3A3293243368}"/>
                </a:ext>
              </a:extLst>
            </p:cNvPr>
            <p:cNvSpPr/>
            <p:nvPr/>
          </p:nvSpPr>
          <p:spPr bwMode="auto">
            <a:xfrm>
              <a:off x="-4594220" y="8355789"/>
              <a:ext cx="1058863" cy="523876"/>
            </a:xfrm>
            <a:custGeom>
              <a:gdLst>
                <a:gd fmla="*/ 2 w 464" name="T0"/>
                <a:gd fmla="*/ 195 h 229" name="T1"/>
                <a:gd fmla="*/ 235 w 464" name="T2"/>
                <a:gd fmla="*/ 97 h 229" name="T3"/>
                <a:gd fmla="*/ 464 w 464" name="T4"/>
                <a:gd fmla="*/ 0 h 229" name="T5"/>
                <a:gd fmla="*/ 463 w 464" name="T6"/>
                <a:gd fmla="*/ 34 h 229" name="T7"/>
                <a:gd fmla="*/ 233 w 464" name="T8"/>
                <a:gd fmla="*/ 131 h 229" name="T9"/>
                <a:gd fmla="*/ 0 w 464" name="T10"/>
                <a:gd fmla="*/ 229 h 229" name="T11"/>
                <a:gd fmla="*/ 2 w 464" name="T12"/>
                <a:gd fmla="*/ 195 h 229" name="T13"/>
              </a:gdLst>
              <a:cxnLst>
                <a:cxn ang="0">
                  <a:pos x="T0" y="T1"/>
                </a:cxn>
                <a:cxn ang="0">
                  <a:pos x="T2" y="T3"/>
                </a:cxn>
                <a:cxn ang="0">
                  <a:pos x="T4" y="T5"/>
                </a:cxn>
                <a:cxn ang="0">
                  <a:pos x="T6" y="T7"/>
                </a:cxn>
                <a:cxn ang="0">
                  <a:pos x="T8" y="T9"/>
                </a:cxn>
                <a:cxn ang="0">
                  <a:pos x="T10" y="T11"/>
                </a:cxn>
                <a:cxn ang="0">
                  <a:pos x="T12" y="T13"/>
                </a:cxn>
              </a:cxnLst>
              <a:rect b="b" l="0" r="r" t="0"/>
              <a:pathLst>
                <a:path h="229" w="463">
                  <a:moveTo>
                    <a:pt x="2" y="195"/>
                  </a:moveTo>
                  <a:cubicBezTo>
                    <a:pt x="80" y="162"/>
                    <a:pt x="158" y="130"/>
                    <a:pt x="235" y="97"/>
                  </a:cubicBezTo>
                  <a:cubicBezTo>
                    <a:pt x="311" y="65"/>
                    <a:pt x="388" y="32"/>
                    <a:pt x="464" y="0"/>
                  </a:cubicBezTo>
                  <a:cubicBezTo>
                    <a:pt x="464" y="11"/>
                    <a:pt x="464" y="23"/>
                    <a:pt x="463" y="34"/>
                  </a:cubicBezTo>
                  <a:cubicBezTo>
                    <a:pt x="387" y="67"/>
                    <a:pt x="310" y="99"/>
                    <a:pt x="233" y="131"/>
                  </a:cubicBezTo>
                  <a:cubicBezTo>
                    <a:pt x="155" y="164"/>
                    <a:pt x="78" y="196"/>
                    <a:pt x="0" y="229"/>
                  </a:cubicBezTo>
                  <a:cubicBezTo>
                    <a:pt x="1" y="218"/>
                    <a:pt x="2" y="206"/>
                    <a:pt x="2" y="195"/>
                  </a:cubicBezTo>
                  <a:close/>
                </a:path>
              </a:pathLst>
            </a:custGeom>
            <a:solidFill>
              <a:srgbClr val="C8C8C8"/>
            </a:solidFill>
            <a:ln>
              <a:noFill/>
            </a:ln>
            <a:extLst>
              <a:ext uri="{91240B29-F687-4F45-9708-019B960494DF}">
                <a14:hiddenLine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60" name="îšľïďê">
              <a:extLst>
                <a:ext uri="{FF2B5EF4-FFF2-40B4-BE49-F238E27FC236}">
                  <a16:creationId xmlns:a16="http://schemas.microsoft.com/office/drawing/2014/main" id="{6CC351C7-AC05-406D-AD95-79D5784E1FBA}"/>
                </a:ext>
              </a:extLst>
            </p:cNvPr>
            <p:cNvSpPr/>
            <p:nvPr/>
          </p:nvSpPr>
          <p:spPr bwMode="auto">
            <a:xfrm>
              <a:off x="-3989382" y="8509777"/>
              <a:ext cx="628651" cy="198438"/>
            </a:xfrm>
            <a:custGeom>
              <a:gdLst>
                <a:gd fmla="*/ 275 w 275" name="T0"/>
                <a:gd fmla="*/ 53 h 87" name="T1"/>
                <a:gd fmla="*/ 208 w 275" name="T2"/>
                <a:gd fmla="*/ 87 h 87" name="T3"/>
                <a:gd fmla="*/ 102 w 275" name="T4"/>
                <a:gd fmla="*/ 60 h 87" name="T5"/>
                <a:gd fmla="*/ 0 w 275" name="T6"/>
                <a:gd fmla="*/ 33 h 87" name="T7"/>
                <a:gd fmla="*/ 65 w 275" name="T8"/>
                <a:gd fmla="*/ 0 h 87" name="T9"/>
                <a:gd fmla="*/ 168 w 275" name="T10"/>
                <a:gd fmla="*/ 26 h 87" name="T11"/>
                <a:gd fmla="*/ 275 w 275" name="T12"/>
                <a:gd fmla="*/ 53 h 87" name="T13"/>
              </a:gdLst>
              <a:cxnLst>
                <a:cxn ang="0">
                  <a:pos x="T0" y="T1"/>
                </a:cxn>
                <a:cxn ang="0">
                  <a:pos x="T2" y="T3"/>
                </a:cxn>
                <a:cxn ang="0">
                  <a:pos x="T4" y="T5"/>
                </a:cxn>
                <a:cxn ang="0">
                  <a:pos x="T6" y="T7"/>
                </a:cxn>
                <a:cxn ang="0">
                  <a:pos x="T8" y="T9"/>
                </a:cxn>
                <a:cxn ang="0">
                  <a:pos x="T10" y="T11"/>
                </a:cxn>
                <a:cxn ang="0">
                  <a:pos x="T12" y="T13"/>
                </a:cxn>
              </a:cxnLst>
              <a:rect b="b" l="0" r="r" t="0"/>
              <a:pathLst>
                <a:path h="87" w="275">
                  <a:moveTo>
                    <a:pt x="275" y="53"/>
                  </a:moveTo>
                  <a:cubicBezTo>
                    <a:pt x="253" y="64"/>
                    <a:pt x="230" y="75"/>
                    <a:pt x="208" y="87"/>
                  </a:cubicBezTo>
                  <a:cubicBezTo>
                    <a:pt x="173" y="78"/>
                    <a:pt x="137" y="69"/>
                    <a:pt x="102" y="60"/>
                  </a:cubicBezTo>
                  <a:cubicBezTo>
                    <a:pt x="68" y="52"/>
                    <a:pt x="34" y="42"/>
                    <a:pt x="0" y="33"/>
                  </a:cubicBezTo>
                  <a:cubicBezTo>
                    <a:pt x="22" y="22"/>
                    <a:pt x="44" y="11"/>
                    <a:pt x="65" y="0"/>
                  </a:cubicBezTo>
                  <a:cubicBezTo>
                    <a:pt x="99" y="9"/>
                    <a:pt x="134" y="18"/>
                    <a:pt x="168" y="26"/>
                  </a:cubicBezTo>
                  <a:cubicBezTo>
                    <a:pt x="204" y="35"/>
                    <a:pt x="239" y="44"/>
                    <a:pt x="275" y="53"/>
                  </a:cubicBezTo>
                  <a:close/>
                </a:path>
              </a:pathLst>
            </a:custGeom>
            <a:solidFill>
              <a:srgbClr val="C8C8C8"/>
            </a:solidFill>
            <a:ln>
              <a:noFill/>
            </a:ln>
            <a:extLst>
              <a:ext uri="{91240B29-F687-4F45-9708-019B960494DF}">
                <a14:hiddenLine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61" name="ïṩ1íḓé">
              <a:extLst>
                <a:ext uri="{FF2B5EF4-FFF2-40B4-BE49-F238E27FC236}">
                  <a16:creationId xmlns:a16="http://schemas.microsoft.com/office/drawing/2014/main" id="{91B73803-1F14-448B-9AF4-F82003F52D30}"/>
                </a:ext>
              </a:extLst>
            </p:cNvPr>
            <p:cNvSpPr/>
            <p:nvPr/>
          </p:nvSpPr>
          <p:spPr bwMode="auto">
            <a:xfrm>
              <a:off x="-3094031" y="8017651"/>
              <a:ext cx="184150" cy="509588"/>
            </a:xfrm>
            <a:custGeom>
              <a:gdLst>
                <a:gd fmla="*/ 71 w 81" name="T0"/>
                <a:gd fmla="*/ 0 h 223" name="T1"/>
                <a:gd fmla="*/ 0 w 81" name="T2"/>
                <a:gd fmla="*/ 223 h 223" name="T3"/>
                <a:gd fmla="*/ 57 w 81" name="T4"/>
                <a:gd fmla="*/ 209 h 223" name="T5"/>
                <a:gd fmla="*/ 81 w 81" name="T6"/>
                <a:gd fmla="*/ 96 h 223" name="T7"/>
                <a:gd fmla="*/ 71 w 81" name="T8"/>
                <a:gd fmla="*/ 0 h 223" name="T9"/>
              </a:gdLst>
              <a:cxnLst>
                <a:cxn ang="0">
                  <a:pos x="T0" y="T1"/>
                </a:cxn>
                <a:cxn ang="0">
                  <a:pos x="T2" y="T3"/>
                </a:cxn>
                <a:cxn ang="0">
                  <a:pos x="T4" y="T5"/>
                </a:cxn>
                <a:cxn ang="0">
                  <a:pos x="T6" y="T7"/>
                </a:cxn>
                <a:cxn ang="0">
                  <a:pos x="T8" y="T9"/>
                </a:cxn>
              </a:cxnLst>
              <a:rect b="b" l="0" r="r" t="0"/>
              <a:pathLst>
                <a:path h="223" w="81">
                  <a:moveTo>
                    <a:pt x="71" y="0"/>
                  </a:moveTo>
                  <a:cubicBezTo>
                    <a:pt x="37" y="65"/>
                    <a:pt x="10" y="139"/>
                    <a:pt x="0" y="223"/>
                  </a:cubicBezTo>
                  <a:cubicBezTo>
                    <a:pt x="19" y="218"/>
                    <a:pt x="38" y="214"/>
                    <a:pt x="57" y="209"/>
                  </a:cubicBezTo>
                  <a:cubicBezTo>
                    <a:pt x="61" y="169"/>
                    <a:pt x="70" y="131"/>
                    <a:pt x="81" y="96"/>
                  </a:cubicBezTo>
                  <a:cubicBezTo>
                    <a:pt x="78" y="64"/>
                    <a:pt x="74" y="32"/>
                    <a:pt x="71" y="0"/>
                  </a:cubicBezTo>
                  <a:close/>
                </a:path>
              </a:pathLst>
            </a:custGeom>
            <a:solidFill>
              <a:srgbClr val="CB952F"/>
            </a:solidFill>
            <a:ln>
              <a:noFill/>
            </a:ln>
            <a:extLst>
              <a:ext uri="{91240B29-F687-4F45-9708-019B960494DF}">
                <a14:hiddenLine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62" name="íṧlîḋè">
              <a:extLst>
                <a:ext uri="{FF2B5EF4-FFF2-40B4-BE49-F238E27FC236}">
                  <a16:creationId xmlns:a16="http://schemas.microsoft.com/office/drawing/2014/main" id="{F2776F91-EDF5-44E7-A443-747CB4F68B3B}"/>
                </a:ext>
              </a:extLst>
            </p:cNvPr>
            <p:cNvSpPr/>
            <p:nvPr/>
          </p:nvSpPr>
          <p:spPr bwMode="auto">
            <a:xfrm>
              <a:off x="-3616319" y="7987489"/>
              <a:ext cx="692150" cy="166688"/>
            </a:xfrm>
            <a:custGeom>
              <a:gdLst>
                <a:gd fmla="*/ 304 w 304" name="T0"/>
                <a:gd fmla="*/ 46 h 73" name="T1"/>
                <a:gd fmla="*/ 304 w 304" name="T2"/>
                <a:gd fmla="*/ 47 h 73" name="T3"/>
                <a:gd fmla="*/ 303 w 304" name="T4"/>
                <a:gd fmla="*/ 40 h 73" name="T5"/>
                <a:gd fmla="*/ 304 w 304" name="T6"/>
                <a:gd fmla="*/ 46 h 73" name="T7"/>
                <a:gd fmla="*/ 272 w 304" name="T8"/>
                <a:gd fmla="*/ 73 h 73" name="T9"/>
                <a:gd fmla="*/ 143 w 304" name="T10"/>
                <a:gd fmla="*/ 57 h 73" name="T11"/>
                <a:gd fmla="*/ 0 w 304" name="T12"/>
                <a:gd fmla="*/ 38 h 73" name="T13"/>
                <a:gd fmla="*/ 18 w 304" name="T14"/>
                <a:gd fmla="*/ 0 h 73" name="T15"/>
                <a:gd fmla="*/ 158 w 304" name="T16"/>
                <a:gd fmla="*/ 19 h 73" name="T17"/>
                <a:gd fmla="*/ 289 w 304" name="T18"/>
                <a:gd fmla="*/ 35 h 73" name="T19"/>
                <a:gd fmla="*/ 272 w 304" name="T20"/>
                <a:gd fmla="*/ 73 h 73" name="T2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b="b" l="0" r="r" t="0"/>
              <a:pathLst>
                <a:path h="73" w="304">
                  <a:moveTo>
                    <a:pt x="304" y="46"/>
                  </a:moveTo>
                  <a:cubicBezTo>
                    <a:pt x="304" y="47"/>
                    <a:pt x="304" y="47"/>
                    <a:pt x="304" y="47"/>
                  </a:cubicBezTo>
                  <a:cubicBezTo>
                    <a:pt x="303" y="40"/>
                    <a:pt x="303" y="40"/>
                    <a:pt x="303" y="40"/>
                  </a:cubicBezTo>
                  <a:cubicBezTo>
                    <a:pt x="303" y="42"/>
                    <a:pt x="303" y="44"/>
                    <a:pt x="304" y="46"/>
                  </a:cubicBezTo>
                  <a:close/>
                  <a:moveTo>
                    <a:pt x="272" y="73"/>
                  </a:moveTo>
                  <a:cubicBezTo>
                    <a:pt x="229" y="67"/>
                    <a:pt x="186" y="62"/>
                    <a:pt x="143" y="57"/>
                  </a:cubicBezTo>
                  <a:cubicBezTo>
                    <a:pt x="95" y="51"/>
                    <a:pt x="47" y="44"/>
                    <a:pt x="0" y="38"/>
                  </a:cubicBezTo>
                  <a:cubicBezTo>
                    <a:pt x="6" y="25"/>
                    <a:pt x="12" y="13"/>
                    <a:pt x="18" y="0"/>
                  </a:cubicBezTo>
                  <a:cubicBezTo>
                    <a:pt x="64" y="7"/>
                    <a:pt x="110" y="13"/>
                    <a:pt x="158" y="19"/>
                  </a:cubicBezTo>
                  <a:cubicBezTo>
                    <a:pt x="201" y="25"/>
                    <a:pt x="245" y="30"/>
                    <a:pt x="289" y="35"/>
                  </a:cubicBezTo>
                  <a:cubicBezTo>
                    <a:pt x="283" y="47"/>
                    <a:pt x="277" y="60"/>
                    <a:pt x="272" y="73"/>
                  </a:cubicBezTo>
                  <a:close/>
                </a:path>
              </a:pathLst>
            </a:custGeom>
            <a:solidFill>
              <a:srgbClr val="C8C8C8"/>
            </a:solidFill>
            <a:ln>
              <a:noFill/>
            </a:ln>
            <a:extLst>
              <a:ext uri="{91240B29-F687-4F45-9708-019B960494DF}">
                <a14:hiddenLine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63" name="isḷîḍè">
              <a:extLst>
                <a:ext uri="{FF2B5EF4-FFF2-40B4-BE49-F238E27FC236}">
                  <a16:creationId xmlns:a16="http://schemas.microsoft.com/office/drawing/2014/main" id="{973A6FEB-76E5-49BC-AA67-ABE9E8F3BA70}"/>
                </a:ext>
              </a:extLst>
            </p:cNvPr>
            <p:cNvSpPr/>
            <p:nvPr/>
          </p:nvSpPr>
          <p:spPr bwMode="auto">
            <a:xfrm>
              <a:off x="-3535356" y="8635189"/>
              <a:ext cx="274638" cy="296863"/>
            </a:xfrm>
            <a:custGeom>
              <a:gdLst>
                <a:gd fmla="*/ 58 w 120" name="T0"/>
                <a:gd fmla="*/ 130 h 130" name="T1"/>
                <a:gd fmla="*/ 0 w 120" name="T2"/>
                <a:gd fmla="*/ 32 h 130" name="T3"/>
                <a:gd fmla="*/ 52 w 120" name="T4"/>
                <a:gd fmla="*/ 0 h 130" name="T5"/>
                <a:gd fmla="*/ 120 w 120" name="T6"/>
                <a:gd fmla="*/ 111 h 130" name="T7"/>
                <a:gd fmla="*/ 58 w 120" name="T8"/>
                <a:gd fmla="*/ 130 h 130" name="T9"/>
              </a:gdLst>
              <a:cxnLst>
                <a:cxn ang="0">
                  <a:pos x="T0" y="T1"/>
                </a:cxn>
                <a:cxn ang="0">
                  <a:pos x="T2" y="T3"/>
                </a:cxn>
                <a:cxn ang="0">
                  <a:pos x="T4" y="T5"/>
                </a:cxn>
                <a:cxn ang="0">
                  <a:pos x="T6" y="T7"/>
                </a:cxn>
                <a:cxn ang="0">
                  <a:pos x="T8" y="T9"/>
                </a:cxn>
              </a:cxnLst>
              <a:rect b="b" l="0" r="r" t="0"/>
              <a:pathLst>
                <a:path h="130" w="120">
                  <a:moveTo>
                    <a:pt x="58" y="130"/>
                  </a:moveTo>
                  <a:cubicBezTo>
                    <a:pt x="39" y="97"/>
                    <a:pt x="19" y="64"/>
                    <a:pt x="0" y="32"/>
                  </a:cubicBezTo>
                  <a:cubicBezTo>
                    <a:pt x="17" y="21"/>
                    <a:pt x="35" y="10"/>
                    <a:pt x="52" y="0"/>
                  </a:cubicBezTo>
                  <a:cubicBezTo>
                    <a:pt x="74" y="37"/>
                    <a:pt x="97" y="74"/>
                    <a:pt x="120" y="111"/>
                  </a:cubicBezTo>
                  <a:cubicBezTo>
                    <a:pt x="99" y="117"/>
                    <a:pt x="79" y="124"/>
                    <a:pt x="58" y="130"/>
                  </a:cubicBezTo>
                  <a:close/>
                </a:path>
              </a:pathLst>
            </a:custGeom>
            <a:solidFill>
              <a:srgbClr val="C8C8C8"/>
            </a:solidFill>
            <a:ln>
              <a:noFill/>
            </a:ln>
            <a:extLst>
              <a:ext uri="{91240B29-F687-4F45-9708-019B960494DF}">
                <a14:hiddenLine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64" name="ïŝľïḍe">
              <a:extLst>
                <a:ext uri="{FF2B5EF4-FFF2-40B4-BE49-F238E27FC236}">
                  <a16:creationId xmlns:a16="http://schemas.microsoft.com/office/drawing/2014/main" id="{AADF4B31-B0E2-4A4E-87A3-B7FBABEF3E10}"/>
                </a:ext>
              </a:extLst>
            </p:cNvPr>
            <p:cNvSpPr/>
            <p:nvPr/>
          </p:nvSpPr>
          <p:spPr bwMode="auto">
            <a:xfrm>
              <a:off x="-4564056" y="8230376"/>
              <a:ext cx="661988" cy="303213"/>
            </a:xfrm>
            <a:custGeom>
              <a:gdLst>
                <a:gd fmla="*/ 3 w 290" name="T0"/>
                <a:gd fmla="*/ 95 h 133" name="T1"/>
                <a:gd fmla="*/ 143 w 290" name="T2"/>
                <a:gd fmla="*/ 48 h 133" name="T3"/>
                <a:gd fmla="*/ 283 w 290" name="T4"/>
                <a:gd fmla="*/ 0 h 133" name="T5"/>
                <a:gd fmla="*/ 290 w 290" name="T6"/>
                <a:gd fmla="*/ 35 h 133" name="T7"/>
                <a:gd fmla="*/ 145 w 290" name="T8"/>
                <a:gd fmla="*/ 84 h 133" name="T9"/>
                <a:gd fmla="*/ 0 w 290" name="T10"/>
                <a:gd fmla="*/ 133 h 133" name="T11"/>
                <a:gd fmla="*/ 3 w 290" name="T12"/>
                <a:gd fmla="*/ 95 h 133" name="T13"/>
              </a:gdLst>
              <a:cxnLst>
                <a:cxn ang="0">
                  <a:pos x="T0" y="T1"/>
                </a:cxn>
                <a:cxn ang="0">
                  <a:pos x="T2" y="T3"/>
                </a:cxn>
                <a:cxn ang="0">
                  <a:pos x="T4" y="T5"/>
                </a:cxn>
                <a:cxn ang="0">
                  <a:pos x="T6" y="T7"/>
                </a:cxn>
                <a:cxn ang="0">
                  <a:pos x="T8" y="T9"/>
                </a:cxn>
                <a:cxn ang="0">
                  <a:pos x="T10" y="T11"/>
                </a:cxn>
                <a:cxn ang="0">
                  <a:pos x="T12" y="T13"/>
                </a:cxn>
              </a:cxnLst>
              <a:rect b="b" l="0" r="r" t="0"/>
              <a:pathLst>
                <a:path h="133" w="290">
                  <a:moveTo>
                    <a:pt x="3" y="95"/>
                  </a:moveTo>
                  <a:cubicBezTo>
                    <a:pt x="50" y="79"/>
                    <a:pt x="96" y="63"/>
                    <a:pt x="143" y="48"/>
                  </a:cubicBezTo>
                  <a:cubicBezTo>
                    <a:pt x="190" y="32"/>
                    <a:pt x="237" y="16"/>
                    <a:pt x="283" y="0"/>
                  </a:cubicBezTo>
                  <a:cubicBezTo>
                    <a:pt x="286" y="12"/>
                    <a:pt x="288" y="24"/>
                    <a:pt x="290" y="35"/>
                  </a:cubicBezTo>
                  <a:cubicBezTo>
                    <a:pt x="242" y="52"/>
                    <a:pt x="193" y="68"/>
                    <a:pt x="145" y="84"/>
                  </a:cubicBezTo>
                  <a:cubicBezTo>
                    <a:pt x="97" y="100"/>
                    <a:pt x="48" y="116"/>
                    <a:pt x="0" y="133"/>
                  </a:cubicBezTo>
                  <a:cubicBezTo>
                    <a:pt x="1" y="120"/>
                    <a:pt x="2" y="107"/>
                    <a:pt x="3" y="95"/>
                  </a:cubicBezTo>
                  <a:close/>
                </a:path>
              </a:pathLst>
            </a:custGeom>
            <a:solidFill>
              <a:srgbClr val="C8C8C8"/>
            </a:solidFill>
            <a:ln>
              <a:noFill/>
            </a:ln>
            <a:extLst>
              <a:ext uri="{91240B29-F687-4F45-9708-019B960494DF}">
                <a14:hiddenLine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65" name="îsļíḋé">
              <a:extLst>
                <a:ext uri="{FF2B5EF4-FFF2-40B4-BE49-F238E27FC236}">
                  <a16:creationId xmlns:a16="http://schemas.microsoft.com/office/drawing/2014/main" id="{BC4FEAEB-66B4-4434-BFDB-61F14069B4C1}"/>
                </a:ext>
              </a:extLst>
            </p:cNvPr>
            <p:cNvSpPr/>
            <p:nvPr/>
          </p:nvSpPr>
          <p:spPr bwMode="auto">
            <a:xfrm>
              <a:off x="-3760781" y="8401827"/>
              <a:ext cx="609600" cy="207963"/>
            </a:xfrm>
            <a:custGeom>
              <a:gdLst>
                <a:gd fmla="*/ 132 w 267" name="T0"/>
                <a:gd fmla="*/ 0 h 91" name="T1"/>
                <a:gd fmla="*/ 0 w 267" name="T2"/>
                <a:gd fmla="*/ 56 h 91" name="T3"/>
                <a:gd fmla="*/ 140 w 267" name="T4"/>
                <a:gd fmla="*/ 91 h 91" name="T5"/>
                <a:gd fmla="*/ 267 w 267" name="T6"/>
                <a:gd fmla="*/ 39 h 91" name="T7"/>
                <a:gd fmla="*/ 132 w 267" name="T8"/>
                <a:gd fmla="*/ 0 h 91" name="T9"/>
              </a:gdLst>
              <a:cxnLst>
                <a:cxn ang="0">
                  <a:pos x="T0" y="T1"/>
                </a:cxn>
                <a:cxn ang="0">
                  <a:pos x="T2" y="T3"/>
                </a:cxn>
                <a:cxn ang="0">
                  <a:pos x="T4" y="T5"/>
                </a:cxn>
                <a:cxn ang="0">
                  <a:pos x="T6" y="T7"/>
                </a:cxn>
                <a:cxn ang="0">
                  <a:pos x="T8" y="T9"/>
                </a:cxn>
              </a:cxnLst>
              <a:rect b="b" l="0" r="r" t="0"/>
              <a:pathLst>
                <a:path h="91" w="267">
                  <a:moveTo>
                    <a:pt x="132" y="0"/>
                  </a:moveTo>
                  <a:cubicBezTo>
                    <a:pt x="100" y="14"/>
                    <a:pt x="33" y="42"/>
                    <a:pt x="0" y="56"/>
                  </a:cubicBezTo>
                  <a:cubicBezTo>
                    <a:pt x="46" y="68"/>
                    <a:pt x="93" y="79"/>
                    <a:pt x="140" y="91"/>
                  </a:cubicBezTo>
                  <a:cubicBezTo>
                    <a:pt x="182" y="74"/>
                    <a:pt x="225" y="56"/>
                    <a:pt x="267" y="39"/>
                  </a:cubicBezTo>
                  <a:cubicBezTo>
                    <a:pt x="210" y="31"/>
                    <a:pt x="188" y="8"/>
                    <a:pt x="132" y="0"/>
                  </a:cubicBezTo>
                  <a:close/>
                </a:path>
              </a:pathLst>
            </a:custGeom>
            <a:solidFill>
              <a:srgbClr val="808080"/>
            </a:solidFill>
            <a:ln>
              <a:noFill/>
            </a:ln>
            <a:extLst>
              <a:ext uri="{91240B29-F687-4F45-9708-019B960494DF}">
                <a14:hiddenLine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66" name="íšliḑè">
              <a:extLst>
                <a:ext uri="{FF2B5EF4-FFF2-40B4-BE49-F238E27FC236}">
                  <a16:creationId xmlns:a16="http://schemas.microsoft.com/office/drawing/2014/main" id="{1FA51B9B-2EB4-45B6-918D-319E2E44E5CA}"/>
                </a:ext>
              </a:extLst>
            </p:cNvPr>
            <p:cNvSpPr/>
            <p:nvPr/>
          </p:nvSpPr>
          <p:spPr bwMode="auto">
            <a:xfrm>
              <a:off x="-3394069" y="7254063"/>
              <a:ext cx="406400" cy="388938"/>
            </a:xfrm>
            <a:custGeom>
              <a:gdLst>
                <a:gd fmla="*/ 178 w 178" name="T0"/>
                <a:gd fmla="*/ 115 h 170" name="T1"/>
                <a:gd fmla="*/ 20 w 178" name="T2"/>
                <a:gd fmla="*/ 170 h 170" name="T3"/>
                <a:gd fmla="*/ 0 w 178" name="T4"/>
                <a:gd fmla="*/ 58 h 170" name="T5"/>
                <a:gd fmla="*/ 83 w 178" name="T6"/>
                <a:gd fmla="*/ 29 h 170" name="T7"/>
                <a:gd fmla="*/ 166 w 178" name="T8"/>
                <a:gd fmla="*/ 0 h 170" name="T9"/>
                <a:gd fmla="*/ 178 w 178" name="T10"/>
                <a:gd fmla="*/ 115 h 170" name="T11"/>
              </a:gdLst>
              <a:cxnLst>
                <a:cxn ang="0">
                  <a:pos x="T0" y="T1"/>
                </a:cxn>
                <a:cxn ang="0">
                  <a:pos x="T2" y="T3"/>
                </a:cxn>
                <a:cxn ang="0">
                  <a:pos x="T4" y="T5"/>
                </a:cxn>
                <a:cxn ang="0">
                  <a:pos x="T6" y="T7"/>
                </a:cxn>
                <a:cxn ang="0">
                  <a:pos x="T8" y="T9"/>
                </a:cxn>
                <a:cxn ang="0">
                  <a:pos x="T10" y="T11"/>
                </a:cxn>
              </a:cxnLst>
              <a:rect b="b" l="0" r="r" t="0"/>
              <a:pathLst>
                <a:path h="170" w="178">
                  <a:moveTo>
                    <a:pt x="178" y="115"/>
                  </a:moveTo>
                  <a:cubicBezTo>
                    <a:pt x="126" y="133"/>
                    <a:pt x="73" y="151"/>
                    <a:pt x="20" y="170"/>
                  </a:cubicBezTo>
                  <a:cubicBezTo>
                    <a:pt x="14" y="132"/>
                    <a:pt x="7" y="95"/>
                    <a:pt x="0" y="58"/>
                  </a:cubicBezTo>
                  <a:cubicBezTo>
                    <a:pt x="28" y="48"/>
                    <a:pt x="56" y="39"/>
                    <a:pt x="83" y="29"/>
                  </a:cubicBezTo>
                  <a:cubicBezTo>
                    <a:pt x="111" y="20"/>
                    <a:pt x="138" y="10"/>
                    <a:pt x="166" y="0"/>
                  </a:cubicBezTo>
                  <a:cubicBezTo>
                    <a:pt x="170" y="38"/>
                    <a:pt x="174" y="77"/>
                    <a:pt x="178" y="115"/>
                  </a:cubicBezTo>
                  <a:close/>
                </a:path>
              </a:pathLst>
            </a:custGeom>
            <a:solidFill>
              <a:srgbClr val="808080"/>
            </a:solidFill>
            <a:ln>
              <a:noFill/>
            </a:ln>
            <a:extLst>
              <a:ext uri="{91240B29-F687-4F45-9708-019B960494DF}">
                <a14:hiddenLine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67" name="îsḷïďê">
              <a:extLst>
                <a:ext uri="{FF2B5EF4-FFF2-40B4-BE49-F238E27FC236}">
                  <a16:creationId xmlns:a16="http://schemas.microsoft.com/office/drawing/2014/main" id="{3EA187FB-A62F-4FAD-93C7-333A9F0F9801}"/>
                </a:ext>
              </a:extLst>
            </p:cNvPr>
            <p:cNvSpPr/>
            <p:nvPr/>
          </p:nvSpPr>
          <p:spPr bwMode="auto">
            <a:xfrm>
              <a:off x="-4068757" y="7544576"/>
              <a:ext cx="266700" cy="347663"/>
            </a:xfrm>
            <a:custGeom>
              <a:gdLst>
                <a:gd fmla="*/ 117 w 117" name="T0"/>
                <a:gd fmla="*/ 0 h 152" name="T1"/>
                <a:gd fmla="*/ 116 w 117" name="T2"/>
                <a:gd fmla="*/ 112 h 152" name="T3"/>
                <a:gd fmla="*/ 0 w 117" name="T4"/>
                <a:gd fmla="*/ 152 h 152" name="T5"/>
                <a:gd fmla="*/ 5 w 117" name="T6"/>
                <a:gd fmla="*/ 41 h 152" name="T7"/>
                <a:gd fmla="*/ 117 w 117" name="T8"/>
                <a:gd fmla="*/ 0 h 152" name="T9"/>
              </a:gdLst>
              <a:cxnLst>
                <a:cxn ang="0">
                  <a:pos x="T0" y="T1"/>
                </a:cxn>
                <a:cxn ang="0">
                  <a:pos x="T2" y="T3"/>
                </a:cxn>
                <a:cxn ang="0">
                  <a:pos x="T4" y="T5"/>
                </a:cxn>
                <a:cxn ang="0">
                  <a:pos x="T6" y="T7"/>
                </a:cxn>
                <a:cxn ang="0">
                  <a:pos x="T8" y="T9"/>
                </a:cxn>
              </a:cxnLst>
              <a:rect b="b" l="0" r="r" t="0"/>
              <a:pathLst>
                <a:path h="152" w="117">
                  <a:moveTo>
                    <a:pt x="117" y="0"/>
                  </a:moveTo>
                  <a:cubicBezTo>
                    <a:pt x="117" y="37"/>
                    <a:pt x="116" y="75"/>
                    <a:pt x="116" y="112"/>
                  </a:cubicBezTo>
                  <a:cubicBezTo>
                    <a:pt x="77" y="125"/>
                    <a:pt x="39" y="139"/>
                    <a:pt x="0" y="152"/>
                  </a:cubicBezTo>
                  <a:cubicBezTo>
                    <a:pt x="2" y="115"/>
                    <a:pt x="4" y="78"/>
                    <a:pt x="5" y="41"/>
                  </a:cubicBezTo>
                  <a:cubicBezTo>
                    <a:pt x="43" y="28"/>
                    <a:pt x="80" y="14"/>
                    <a:pt x="117" y="0"/>
                  </a:cubicBezTo>
                  <a:close/>
                </a:path>
              </a:pathLst>
            </a:custGeom>
            <a:solidFill>
              <a:srgbClr val="A7A093"/>
            </a:solidFill>
            <a:ln>
              <a:noFill/>
            </a:ln>
            <a:extLst>
              <a:ext uri="{91240B29-F687-4F45-9708-019B960494DF}">
                <a14:hiddenLine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68" name="iṡ1íďe">
              <a:extLst>
                <a:ext uri="{FF2B5EF4-FFF2-40B4-BE49-F238E27FC236}">
                  <a16:creationId xmlns:a16="http://schemas.microsoft.com/office/drawing/2014/main" id="{D0FF30F3-D91D-4452-9BCE-BF54A50663FC}"/>
                </a:ext>
              </a:extLst>
            </p:cNvPr>
            <p:cNvSpPr/>
            <p:nvPr/>
          </p:nvSpPr>
          <p:spPr bwMode="auto">
            <a:xfrm>
              <a:off x="-4197344" y="7049276"/>
              <a:ext cx="630238" cy="360363"/>
            </a:xfrm>
            <a:custGeom>
              <a:gdLst>
                <a:gd fmla="*/ 276 w 276" name="T0"/>
                <a:gd fmla="*/ 49 h 158" name="T1"/>
                <a:gd fmla="*/ 176 w 276" name="T2"/>
                <a:gd fmla="*/ 0 h 158" name="T3"/>
                <a:gd fmla="*/ 89 w 276" name="T4"/>
                <a:gd fmla="*/ 46 h 158" name="T5"/>
                <a:gd fmla="*/ 0 w 276" name="T6"/>
                <a:gd fmla="*/ 91 h 158" name="T7"/>
                <a:gd fmla="*/ 63 w 276" name="T8"/>
                <a:gd fmla="*/ 158 h 158" name="T9"/>
                <a:gd fmla="*/ 170 w 276" name="T10"/>
                <a:gd fmla="*/ 103 h 158" name="T11"/>
                <a:gd fmla="*/ 276 w 276" name="T12"/>
                <a:gd fmla="*/ 49 h 158" name="T13"/>
              </a:gdLst>
              <a:cxnLst>
                <a:cxn ang="0">
                  <a:pos x="T0" y="T1"/>
                </a:cxn>
                <a:cxn ang="0">
                  <a:pos x="T2" y="T3"/>
                </a:cxn>
                <a:cxn ang="0">
                  <a:pos x="T4" y="T5"/>
                </a:cxn>
                <a:cxn ang="0">
                  <a:pos x="T6" y="T7"/>
                </a:cxn>
                <a:cxn ang="0">
                  <a:pos x="T8" y="T9"/>
                </a:cxn>
                <a:cxn ang="0">
                  <a:pos x="T10" y="T11"/>
                </a:cxn>
                <a:cxn ang="0">
                  <a:pos x="T12" y="T13"/>
                </a:cxn>
              </a:cxnLst>
              <a:rect b="b" l="0" r="r" t="0"/>
              <a:pathLst>
                <a:path h="158" w="276">
                  <a:moveTo>
                    <a:pt x="276" y="49"/>
                  </a:moveTo>
                  <a:cubicBezTo>
                    <a:pt x="242" y="33"/>
                    <a:pt x="209" y="16"/>
                    <a:pt x="176" y="0"/>
                  </a:cubicBezTo>
                  <a:cubicBezTo>
                    <a:pt x="147" y="15"/>
                    <a:pt x="118" y="30"/>
                    <a:pt x="89" y="46"/>
                  </a:cubicBezTo>
                  <a:cubicBezTo>
                    <a:pt x="59" y="61"/>
                    <a:pt x="30" y="76"/>
                    <a:pt x="0" y="91"/>
                  </a:cubicBezTo>
                  <a:cubicBezTo>
                    <a:pt x="21" y="114"/>
                    <a:pt x="42" y="136"/>
                    <a:pt x="63" y="158"/>
                  </a:cubicBezTo>
                  <a:cubicBezTo>
                    <a:pt x="99" y="140"/>
                    <a:pt x="135" y="122"/>
                    <a:pt x="170" y="103"/>
                  </a:cubicBezTo>
                  <a:cubicBezTo>
                    <a:pt x="205" y="85"/>
                    <a:pt x="241" y="67"/>
                    <a:pt x="276" y="49"/>
                  </a:cubicBezTo>
                  <a:close/>
                </a:path>
              </a:pathLst>
            </a:custGeom>
            <a:solidFill>
              <a:srgbClr val="A7A093"/>
            </a:solidFill>
            <a:ln>
              <a:noFill/>
            </a:ln>
            <a:extLst>
              <a:ext uri="{91240B29-F687-4F45-9708-019B960494DF}">
                <a14:hiddenLine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69" name="işľïďe">
              <a:extLst>
                <a:ext uri="{FF2B5EF4-FFF2-40B4-BE49-F238E27FC236}">
                  <a16:creationId xmlns:a16="http://schemas.microsoft.com/office/drawing/2014/main" id="{2EF05BE0-2B75-47CF-9171-59FFF6A6829D}"/>
                </a:ext>
              </a:extLst>
            </p:cNvPr>
            <p:cNvSpPr/>
            <p:nvPr/>
          </p:nvSpPr>
          <p:spPr bwMode="auto">
            <a:xfrm>
              <a:off x="-4492619" y="7215962"/>
              <a:ext cx="992188" cy="500063"/>
            </a:xfrm>
            <a:custGeom>
              <a:gdLst>
                <a:gd fmla="*/ 0 w 435" name="T0"/>
                <a:gd fmla="*/ 219 h 219" name="T1"/>
                <a:gd fmla="*/ 218 w 435" name="T2"/>
                <a:gd fmla="*/ 137 h 219" name="T3"/>
                <a:gd fmla="*/ 435 w 435" name="T4"/>
                <a:gd fmla="*/ 55 h 219" name="T5"/>
                <a:gd fmla="*/ 426 w 435" name="T6"/>
                <a:gd fmla="*/ 0 h 219" name="T7"/>
                <a:gd fmla="*/ 215 w 435" name="T8"/>
                <a:gd fmla="*/ 108 h 219" name="T9"/>
                <a:gd fmla="*/ 0 w 435" name="T10"/>
                <a:gd fmla="*/ 216 h 219" name="T11"/>
                <a:gd fmla="*/ 0 w 435" name="T12"/>
                <a:gd fmla="*/ 219 h 219" name="T13"/>
              </a:gdLst>
              <a:cxnLst>
                <a:cxn ang="0">
                  <a:pos x="T0" y="T1"/>
                </a:cxn>
                <a:cxn ang="0">
                  <a:pos x="T2" y="T3"/>
                </a:cxn>
                <a:cxn ang="0">
                  <a:pos x="T4" y="T5"/>
                </a:cxn>
                <a:cxn ang="0">
                  <a:pos x="T6" y="T7"/>
                </a:cxn>
                <a:cxn ang="0">
                  <a:pos x="T8" y="T9"/>
                </a:cxn>
                <a:cxn ang="0">
                  <a:pos x="T10" y="T11"/>
                </a:cxn>
                <a:cxn ang="0">
                  <a:pos x="T12" y="T13"/>
                </a:cxn>
              </a:cxnLst>
              <a:rect b="b" l="0" r="r" t="0"/>
              <a:pathLst>
                <a:path h="219" w="435">
                  <a:moveTo>
                    <a:pt x="0" y="219"/>
                  </a:moveTo>
                  <a:cubicBezTo>
                    <a:pt x="72" y="192"/>
                    <a:pt x="145" y="164"/>
                    <a:pt x="218" y="137"/>
                  </a:cubicBezTo>
                  <a:cubicBezTo>
                    <a:pt x="290" y="110"/>
                    <a:pt x="363" y="83"/>
                    <a:pt x="435" y="55"/>
                  </a:cubicBezTo>
                  <a:cubicBezTo>
                    <a:pt x="432" y="37"/>
                    <a:pt x="429" y="18"/>
                    <a:pt x="426" y="0"/>
                  </a:cubicBezTo>
                  <a:cubicBezTo>
                    <a:pt x="356" y="36"/>
                    <a:pt x="286" y="72"/>
                    <a:pt x="215" y="108"/>
                  </a:cubicBezTo>
                  <a:cubicBezTo>
                    <a:pt x="144" y="144"/>
                    <a:pt x="72" y="180"/>
                    <a:pt x="0" y="216"/>
                  </a:cubicBezTo>
                  <a:cubicBezTo>
                    <a:pt x="0" y="217"/>
                    <a:pt x="0" y="218"/>
                    <a:pt x="0" y="219"/>
                  </a:cubicBezTo>
                  <a:close/>
                </a:path>
              </a:pathLst>
            </a:custGeom>
            <a:solidFill>
              <a:srgbClr val="A7A093"/>
            </a:solidFill>
            <a:ln>
              <a:noFill/>
            </a:ln>
            <a:extLst>
              <a:ext uri="{91240B29-F687-4F45-9708-019B960494DF}">
                <a14:hiddenLine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70" name="íS1ïḓé">
              <a:extLst>
                <a:ext uri="{FF2B5EF4-FFF2-40B4-BE49-F238E27FC236}">
                  <a16:creationId xmlns:a16="http://schemas.microsoft.com/office/drawing/2014/main" id="{8E333A82-4507-401B-AD4F-B7EBBD3FDAC0}"/>
                </a:ext>
              </a:extLst>
            </p:cNvPr>
            <p:cNvSpPr/>
            <p:nvPr/>
          </p:nvSpPr>
          <p:spPr bwMode="auto">
            <a:xfrm>
              <a:off x="-4618032" y="8463739"/>
              <a:ext cx="1573213" cy="701675"/>
            </a:xfrm>
            <a:custGeom>
              <a:gdLst>
                <a:gd fmla="*/ 3 w 690" name="T0"/>
                <a:gd fmla="*/ 273 h 307" name="T1"/>
                <a:gd fmla="*/ 349 w 690" name="T2"/>
                <a:gd fmla="*/ 133 h 307" name="T3"/>
                <a:gd fmla="*/ 672 w 690" name="T4"/>
                <a:gd fmla="*/ 0 h 307" name="T5"/>
                <a:gd fmla="*/ 668 w 690" name="T6"/>
                <a:gd fmla="*/ 28 h 307" name="T7"/>
                <a:gd fmla="*/ 690 w 690" name="T8"/>
                <a:gd fmla="*/ 22 h 307" name="T9"/>
                <a:gd fmla="*/ 690 w 690" name="T10"/>
                <a:gd fmla="*/ 27 h 307" name="T11"/>
                <a:gd fmla="*/ 348 w 690" name="T12"/>
                <a:gd fmla="*/ 167 h 307" name="T13"/>
                <a:gd fmla="*/ 0 w 690" name="T14"/>
                <a:gd fmla="*/ 307 h 307" name="T15"/>
                <a:gd fmla="*/ 3 w 690" name="T16"/>
                <a:gd fmla="*/ 273 h 307" name="T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b="b" l="0" r="r" t="0"/>
              <a:pathLst>
                <a:path h="307" w="690">
                  <a:moveTo>
                    <a:pt x="3" y="273"/>
                  </a:moveTo>
                  <a:cubicBezTo>
                    <a:pt x="119" y="226"/>
                    <a:pt x="234" y="179"/>
                    <a:pt x="349" y="133"/>
                  </a:cubicBezTo>
                  <a:cubicBezTo>
                    <a:pt x="457" y="89"/>
                    <a:pt x="565" y="44"/>
                    <a:pt x="672" y="0"/>
                  </a:cubicBezTo>
                  <a:cubicBezTo>
                    <a:pt x="670" y="9"/>
                    <a:pt x="669" y="18"/>
                    <a:pt x="668" y="28"/>
                  </a:cubicBezTo>
                  <a:cubicBezTo>
                    <a:pt x="675" y="26"/>
                    <a:pt x="683" y="24"/>
                    <a:pt x="690" y="22"/>
                  </a:cubicBezTo>
                  <a:cubicBezTo>
                    <a:pt x="690" y="27"/>
                    <a:pt x="690" y="27"/>
                    <a:pt x="690" y="27"/>
                  </a:cubicBezTo>
                  <a:cubicBezTo>
                    <a:pt x="577" y="74"/>
                    <a:pt x="463" y="120"/>
                    <a:pt x="348" y="167"/>
                  </a:cubicBezTo>
                  <a:cubicBezTo>
                    <a:pt x="232" y="214"/>
                    <a:pt x="116" y="260"/>
                    <a:pt x="0" y="307"/>
                  </a:cubicBezTo>
                  <a:cubicBezTo>
                    <a:pt x="1" y="296"/>
                    <a:pt x="2" y="285"/>
                    <a:pt x="3" y="273"/>
                  </a:cubicBezTo>
                  <a:close/>
                </a:path>
              </a:pathLst>
            </a:custGeom>
            <a:solidFill>
              <a:srgbClr val="CB952F"/>
            </a:solidFill>
            <a:ln>
              <a:noFill/>
            </a:ln>
            <a:extLst>
              <a:ext uri="{91240B29-F687-4F45-9708-019B960494DF}">
                <a14:hiddenLine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71" name="işľîdè">
              <a:extLst>
                <a:ext uri="{FF2B5EF4-FFF2-40B4-BE49-F238E27FC236}">
                  <a16:creationId xmlns:a16="http://schemas.microsoft.com/office/drawing/2014/main" id="{C7E987C4-623B-4624-8506-190B59612BF8}"/>
                </a:ext>
              </a:extLst>
            </p:cNvPr>
            <p:cNvSpPr/>
            <p:nvPr/>
          </p:nvSpPr>
          <p:spPr bwMode="auto">
            <a:xfrm>
              <a:off x="-6847313" y="6815618"/>
              <a:ext cx="2471739" cy="2587629"/>
            </a:xfrm>
            <a:custGeom>
              <a:gdLst>
                <a:gd fmla="*/ 326 w 1083" name="T0"/>
                <a:gd fmla="*/ 0 h 1132" name="T1"/>
                <a:gd fmla="*/ 163 w 1083" name="T2"/>
                <a:gd fmla="*/ 496 h 1132" name="T3"/>
                <a:gd fmla="*/ 0 w 1083" name="T4"/>
                <a:gd fmla="*/ 992 h 1132" name="T5"/>
                <a:gd fmla="*/ 497 w 1083" name="T6"/>
                <a:gd fmla="*/ 1062 h 1132" name="T7"/>
                <a:gd fmla="*/ 993 w 1083" name="T8"/>
                <a:gd fmla="*/ 1132 h 1132" name="T9"/>
                <a:gd fmla="*/ 1038 w 1083" name="T10"/>
                <a:gd fmla="*/ 614 h 1132" name="T11"/>
                <a:gd fmla="*/ 1083 w 1083" name="T12"/>
                <a:gd fmla="*/ 95 h 1132" name="T13"/>
                <a:gd fmla="*/ 705 w 1083" name="T14"/>
                <a:gd fmla="*/ 47 h 1132" name="T15"/>
                <a:gd fmla="*/ 326 w 1083" name="T16"/>
                <a:gd fmla="*/ 0 h 1132" name="T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b="b" l="0" r="r" t="0"/>
              <a:pathLst>
                <a:path h="1132" w="1083">
                  <a:moveTo>
                    <a:pt x="326" y="0"/>
                  </a:moveTo>
                  <a:cubicBezTo>
                    <a:pt x="272" y="165"/>
                    <a:pt x="217" y="331"/>
                    <a:pt x="163" y="496"/>
                  </a:cubicBezTo>
                  <a:cubicBezTo>
                    <a:pt x="108" y="661"/>
                    <a:pt x="54" y="827"/>
                    <a:pt x="0" y="992"/>
                  </a:cubicBezTo>
                  <a:cubicBezTo>
                    <a:pt x="165" y="1015"/>
                    <a:pt x="331" y="1038"/>
                    <a:pt x="497" y="1062"/>
                  </a:cubicBezTo>
                  <a:cubicBezTo>
                    <a:pt x="662" y="1085"/>
                    <a:pt x="828" y="1108"/>
                    <a:pt x="993" y="1132"/>
                  </a:cubicBezTo>
                  <a:cubicBezTo>
                    <a:pt x="1008" y="959"/>
                    <a:pt x="1023" y="786"/>
                    <a:pt x="1038" y="614"/>
                  </a:cubicBezTo>
                  <a:cubicBezTo>
                    <a:pt x="1053" y="441"/>
                    <a:pt x="1068" y="268"/>
                    <a:pt x="1083" y="95"/>
                  </a:cubicBezTo>
                  <a:cubicBezTo>
                    <a:pt x="957" y="79"/>
                    <a:pt x="831" y="63"/>
                    <a:pt x="705" y="47"/>
                  </a:cubicBezTo>
                  <a:cubicBezTo>
                    <a:pt x="579" y="32"/>
                    <a:pt x="452" y="16"/>
                    <a:pt x="326" y="0"/>
                  </a:cubicBezTo>
                  <a:close/>
                </a:path>
              </a:pathLst>
            </a:custGeom>
            <a:solidFill>
              <a:srgbClr val="FFFFFF"/>
            </a:solidFill>
            <a:ln>
              <a:noFill/>
            </a:ln>
            <a:extLst>
              <a:ext uri="{91240B29-F687-4F45-9708-019B960494DF}">
                <a14:hiddenLine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72" name="iSļíďè">
              <a:extLst>
                <a:ext uri="{FF2B5EF4-FFF2-40B4-BE49-F238E27FC236}">
                  <a16:creationId xmlns:a16="http://schemas.microsoft.com/office/drawing/2014/main" id="{4BFD04DB-71F5-4997-A5B3-C7CC741D5CCE}"/>
                </a:ext>
              </a:extLst>
            </p:cNvPr>
            <p:cNvSpPr/>
            <p:nvPr/>
          </p:nvSpPr>
          <p:spPr bwMode="auto">
            <a:xfrm>
              <a:off x="-6759569" y="6877826"/>
              <a:ext cx="2320926" cy="2444752"/>
            </a:xfrm>
            <a:custGeom>
              <a:gdLst>
                <a:gd fmla="*/ 296 w 1017" name="T0"/>
                <a:gd fmla="*/ 0 h 1070" name="T1"/>
                <a:gd fmla="*/ 148 w 1017" name="T2"/>
                <a:gd fmla="*/ 470 h 1070" name="T3"/>
                <a:gd fmla="*/ 0 w 1017" name="T4"/>
                <a:gd fmla="*/ 940 h 1070" name="T5"/>
                <a:gd fmla="*/ 466 w 1017" name="T6"/>
                <a:gd fmla="*/ 1005 h 1070" name="T7"/>
                <a:gd fmla="*/ 932 w 1017" name="T8"/>
                <a:gd fmla="*/ 1070 h 1070" name="T9"/>
                <a:gd fmla="*/ 974 w 1017" name="T10"/>
                <a:gd fmla="*/ 581 h 1070" name="T11"/>
                <a:gd fmla="*/ 1017 w 1017" name="T12"/>
                <a:gd fmla="*/ 91 h 1070" name="T13"/>
                <a:gd fmla="*/ 656 w 1017" name="T14"/>
                <a:gd fmla="*/ 45 h 1070" name="T15"/>
                <a:gd fmla="*/ 296 w 1017" name="T16"/>
                <a:gd fmla="*/ 0 h 1070" name="T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b="b" l="0" r="r" t="0"/>
              <a:pathLst>
                <a:path h="1070" w="1017">
                  <a:moveTo>
                    <a:pt x="296" y="0"/>
                  </a:moveTo>
                  <a:cubicBezTo>
                    <a:pt x="247" y="156"/>
                    <a:pt x="197" y="313"/>
                    <a:pt x="148" y="470"/>
                  </a:cubicBezTo>
                  <a:cubicBezTo>
                    <a:pt x="99" y="626"/>
                    <a:pt x="49" y="783"/>
                    <a:pt x="0" y="940"/>
                  </a:cubicBezTo>
                  <a:cubicBezTo>
                    <a:pt x="155" y="961"/>
                    <a:pt x="311" y="983"/>
                    <a:pt x="466" y="1005"/>
                  </a:cubicBezTo>
                  <a:cubicBezTo>
                    <a:pt x="621" y="1027"/>
                    <a:pt x="777" y="1049"/>
                    <a:pt x="932" y="1070"/>
                  </a:cubicBezTo>
                  <a:cubicBezTo>
                    <a:pt x="946" y="907"/>
                    <a:pt x="960" y="744"/>
                    <a:pt x="974" y="581"/>
                  </a:cubicBezTo>
                  <a:cubicBezTo>
                    <a:pt x="988" y="417"/>
                    <a:pt x="1003" y="254"/>
                    <a:pt x="1017" y="91"/>
                  </a:cubicBezTo>
                  <a:cubicBezTo>
                    <a:pt x="897" y="76"/>
                    <a:pt x="777" y="60"/>
                    <a:pt x="656" y="45"/>
                  </a:cubicBezTo>
                  <a:cubicBezTo>
                    <a:pt x="536" y="30"/>
                    <a:pt x="416" y="15"/>
                    <a:pt x="296" y="0"/>
                  </a:cubicBezTo>
                  <a:close/>
                </a:path>
              </a:pathLst>
            </a:custGeom>
            <a:solidFill>
              <a:srgbClr val="E4DDD7"/>
            </a:solidFill>
            <a:ln>
              <a:noFill/>
            </a:ln>
            <a:extLst>
              <a:ext uri="{91240B29-F687-4F45-9708-019B960494DF}">
                <a14:hiddenLine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73" name="îşḷîďe">
              <a:extLst>
                <a:ext uri="{FF2B5EF4-FFF2-40B4-BE49-F238E27FC236}">
                  <a16:creationId xmlns:a16="http://schemas.microsoft.com/office/drawing/2014/main" id="{98C1957B-9861-414C-B958-BF38672E75C8}"/>
                </a:ext>
              </a:extLst>
            </p:cNvPr>
            <p:cNvSpPr/>
            <p:nvPr/>
          </p:nvSpPr>
          <p:spPr bwMode="auto">
            <a:xfrm>
              <a:off x="-5278432" y="6977838"/>
              <a:ext cx="684212" cy="1152527"/>
            </a:xfrm>
            <a:custGeom>
              <a:gdLst>
                <a:gd fmla="*/ 58 w 300" name="T0"/>
                <a:gd fmla="*/ 8 h 504" name="T1"/>
                <a:gd fmla="*/ 169 w 300" name="T2"/>
                <a:gd fmla="*/ 251 h 504" name="T3"/>
                <a:gd fmla="*/ 300 w 300" name="T4"/>
                <a:gd fmla="*/ 499 h 504" name="T5"/>
                <a:gd fmla="*/ 242 w 300" name="T6"/>
                <a:gd fmla="*/ 504 h 504" name="T7"/>
                <a:gd fmla="*/ 111 w 300" name="T8"/>
                <a:gd fmla="*/ 250 h 504" name="T9"/>
                <a:gd fmla="*/ 0 w 300" name="T10"/>
                <a:gd fmla="*/ 0 h 504" name="T11"/>
                <a:gd fmla="*/ 58 w 300" name="T12"/>
                <a:gd fmla="*/ 8 h 504" name="T13"/>
              </a:gdLst>
              <a:cxnLst>
                <a:cxn ang="0">
                  <a:pos x="T0" y="T1"/>
                </a:cxn>
                <a:cxn ang="0">
                  <a:pos x="T2" y="T3"/>
                </a:cxn>
                <a:cxn ang="0">
                  <a:pos x="T4" y="T5"/>
                </a:cxn>
                <a:cxn ang="0">
                  <a:pos x="T6" y="T7"/>
                </a:cxn>
                <a:cxn ang="0">
                  <a:pos x="T8" y="T9"/>
                </a:cxn>
                <a:cxn ang="0">
                  <a:pos x="T10" y="T11"/>
                </a:cxn>
                <a:cxn ang="0">
                  <a:pos x="T12" y="T13"/>
                </a:cxn>
              </a:cxnLst>
              <a:rect b="b" l="0" r="r" t="0"/>
              <a:pathLst>
                <a:path h="503" w="300">
                  <a:moveTo>
                    <a:pt x="58" y="8"/>
                  </a:moveTo>
                  <a:cubicBezTo>
                    <a:pt x="93" y="88"/>
                    <a:pt x="129" y="170"/>
                    <a:pt x="169" y="251"/>
                  </a:cubicBezTo>
                  <a:cubicBezTo>
                    <a:pt x="210" y="334"/>
                    <a:pt x="254" y="416"/>
                    <a:pt x="300" y="499"/>
                  </a:cubicBezTo>
                  <a:cubicBezTo>
                    <a:pt x="281" y="500"/>
                    <a:pt x="261" y="502"/>
                    <a:pt x="242" y="504"/>
                  </a:cubicBezTo>
                  <a:cubicBezTo>
                    <a:pt x="196" y="419"/>
                    <a:pt x="152" y="335"/>
                    <a:pt x="111" y="250"/>
                  </a:cubicBezTo>
                  <a:cubicBezTo>
                    <a:pt x="71" y="167"/>
                    <a:pt x="35" y="83"/>
                    <a:pt x="0" y="0"/>
                  </a:cubicBezTo>
                  <a:cubicBezTo>
                    <a:pt x="20" y="3"/>
                    <a:pt x="39" y="5"/>
                    <a:pt x="58" y="8"/>
                  </a:cubicBezTo>
                  <a:close/>
                </a:path>
              </a:pathLst>
            </a:custGeom>
            <a:solidFill>
              <a:srgbClr val="FFFFFF"/>
            </a:solidFill>
            <a:ln>
              <a:noFill/>
            </a:ln>
            <a:extLst>
              <a:ext uri="{91240B29-F687-4F45-9708-019B960494DF}">
                <a14:hiddenLine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74" name="iślíḋè">
              <a:extLst>
                <a:ext uri="{FF2B5EF4-FFF2-40B4-BE49-F238E27FC236}">
                  <a16:creationId xmlns:a16="http://schemas.microsoft.com/office/drawing/2014/main" id="{310C121A-EC34-49AB-83CF-2E7C1A45450A}"/>
                </a:ext>
              </a:extLst>
            </p:cNvPr>
            <p:cNvSpPr/>
            <p:nvPr/>
          </p:nvSpPr>
          <p:spPr bwMode="auto">
            <a:xfrm>
              <a:off x="-6751632" y="8033526"/>
              <a:ext cx="2052637" cy="966789"/>
            </a:xfrm>
            <a:custGeom>
              <a:gdLst>
                <a:gd fmla="*/ 837 w 900" name="T0"/>
                <a:gd fmla="*/ 0 h 423" name="T1"/>
                <a:gd fmla="*/ 639 w 900" name="T2"/>
                <a:gd fmla="*/ 213 h 423" name="T3"/>
                <a:gd fmla="*/ 400 w 900" name="T4"/>
                <a:gd fmla="*/ 314 h 423" name="T5"/>
                <a:gd fmla="*/ 13 w 900" name="T6"/>
                <a:gd fmla="*/ 384 h 423" name="T7"/>
                <a:gd fmla="*/ 0 w 900" name="T8"/>
                <a:gd fmla="*/ 423 h 423" name="T9"/>
                <a:gd fmla="*/ 433 w 900" name="T10"/>
                <a:gd fmla="*/ 351 h 423" name="T11"/>
                <a:gd fmla="*/ 694 w 900" name="T12"/>
                <a:gd fmla="*/ 241 h 423" name="T13"/>
                <a:gd fmla="*/ 900 w 900" name="T14"/>
                <a:gd fmla="*/ 15 h 423" name="T15"/>
                <a:gd fmla="*/ 837 w 900" name="T16"/>
                <a:gd fmla="*/ 0 h 423" name="T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b="b" l="0" r="r" t="0"/>
              <a:pathLst>
                <a:path h="422" w="900">
                  <a:moveTo>
                    <a:pt x="837" y="0"/>
                  </a:moveTo>
                  <a:cubicBezTo>
                    <a:pt x="814" y="47"/>
                    <a:pt x="766" y="133"/>
                    <a:pt x="639" y="213"/>
                  </a:cubicBezTo>
                  <a:cubicBezTo>
                    <a:pt x="579" y="249"/>
                    <a:pt x="501" y="285"/>
                    <a:pt x="400" y="314"/>
                  </a:cubicBezTo>
                  <a:cubicBezTo>
                    <a:pt x="297" y="344"/>
                    <a:pt x="170" y="368"/>
                    <a:pt x="13" y="384"/>
                  </a:cubicBezTo>
                  <a:cubicBezTo>
                    <a:pt x="8" y="397"/>
                    <a:pt x="4" y="410"/>
                    <a:pt x="0" y="423"/>
                  </a:cubicBezTo>
                  <a:cubicBezTo>
                    <a:pt x="176" y="408"/>
                    <a:pt x="319" y="383"/>
                    <a:pt x="433" y="351"/>
                  </a:cubicBezTo>
                  <a:cubicBezTo>
                    <a:pt x="544" y="319"/>
                    <a:pt x="629" y="280"/>
                    <a:pt x="694" y="241"/>
                  </a:cubicBezTo>
                  <a:cubicBezTo>
                    <a:pt x="828" y="155"/>
                    <a:pt x="876" y="65"/>
                    <a:pt x="900" y="15"/>
                  </a:cubicBezTo>
                  <a:cubicBezTo>
                    <a:pt x="879" y="10"/>
                    <a:pt x="858" y="5"/>
                    <a:pt x="837" y="0"/>
                  </a:cubicBezTo>
                  <a:close/>
                </a:path>
              </a:pathLst>
            </a:custGeom>
            <a:solidFill>
              <a:srgbClr val="FFFFFF"/>
            </a:solidFill>
            <a:ln>
              <a:noFill/>
            </a:ln>
            <a:extLst>
              <a:ext uri="{91240B29-F687-4F45-9708-019B960494DF}">
                <a14:hiddenLine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75" name="iṩḻiḓé">
              <a:extLst>
                <a:ext uri="{FF2B5EF4-FFF2-40B4-BE49-F238E27FC236}">
                  <a16:creationId xmlns:a16="http://schemas.microsoft.com/office/drawing/2014/main" id="{BF71062D-E381-45F4-BE55-299D14B6B463}"/>
                </a:ext>
              </a:extLst>
            </p:cNvPr>
            <p:cNvSpPr/>
            <p:nvPr/>
          </p:nvSpPr>
          <p:spPr bwMode="auto">
            <a:xfrm>
              <a:off x="-6162670" y="7038162"/>
              <a:ext cx="1635125" cy="1162052"/>
            </a:xfrm>
            <a:custGeom>
              <a:gdLst>
                <a:gd fmla="*/ 13 w 717" name="T0"/>
                <a:gd fmla="*/ 0 h 509" name="T1"/>
                <a:gd fmla="*/ 345 w 717" name="T2"/>
                <a:gd fmla="*/ 229 h 509" name="T3"/>
                <a:gd fmla="*/ 717 w 717" name="T4"/>
                <a:gd fmla="*/ 465 h 509" name="T5"/>
                <a:gd fmla="*/ 713 w 717" name="T6"/>
                <a:gd fmla="*/ 509 h 509" name="T7"/>
                <a:gd fmla="*/ 337 w 717" name="T8"/>
                <a:gd fmla="*/ 272 h 509" name="T9"/>
                <a:gd fmla="*/ 0 w 717" name="T10"/>
                <a:gd fmla="*/ 42 h 509" name="T11"/>
                <a:gd fmla="*/ 13 w 717" name="T12"/>
                <a:gd fmla="*/ 0 h 509" name="T13"/>
              </a:gdLst>
              <a:cxnLst>
                <a:cxn ang="0">
                  <a:pos x="T0" y="T1"/>
                </a:cxn>
                <a:cxn ang="0">
                  <a:pos x="T2" y="T3"/>
                </a:cxn>
                <a:cxn ang="0">
                  <a:pos x="T4" y="T5"/>
                </a:cxn>
                <a:cxn ang="0">
                  <a:pos x="T6" y="T7"/>
                </a:cxn>
                <a:cxn ang="0">
                  <a:pos x="T8" y="T9"/>
                </a:cxn>
                <a:cxn ang="0">
                  <a:pos x="T10" y="T11"/>
                </a:cxn>
                <a:cxn ang="0">
                  <a:pos x="T12" y="T13"/>
                </a:cxn>
              </a:cxnLst>
              <a:rect b="b" l="0" r="r" t="0"/>
              <a:pathLst>
                <a:path h="509" w="717">
                  <a:moveTo>
                    <a:pt x="13" y="0"/>
                  </a:moveTo>
                  <a:cubicBezTo>
                    <a:pt x="119" y="75"/>
                    <a:pt x="230" y="153"/>
                    <a:pt x="345" y="229"/>
                  </a:cubicBezTo>
                  <a:cubicBezTo>
                    <a:pt x="464" y="308"/>
                    <a:pt x="589" y="385"/>
                    <a:pt x="717" y="465"/>
                  </a:cubicBezTo>
                  <a:cubicBezTo>
                    <a:pt x="716" y="480"/>
                    <a:pt x="715" y="494"/>
                    <a:pt x="713" y="509"/>
                  </a:cubicBezTo>
                  <a:cubicBezTo>
                    <a:pt x="583" y="429"/>
                    <a:pt x="457" y="351"/>
                    <a:pt x="337" y="272"/>
                  </a:cubicBezTo>
                  <a:cubicBezTo>
                    <a:pt x="219" y="196"/>
                    <a:pt x="107" y="118"/>
                    <a:pt x="0" y="42"/>
                  </a:cubicBezTo>
                  <a:cubicBezTo>
                    <a:pt x="4" y="28"/>
                    <a:pt x="8" y="14"/>
                    <a:pt x="13" y="0"/>
                  </a:cubicBezTo>
                  <a:close/>
                </a:path>
              </a:pathLst>
            </a:custGeom>
            <a:solidFill>
              <a:srgbClr val="FFFFFF"/>
            </a:solidFill>
            <a:ln>
              <a:noFill/>
            </a:ln>
            <a:extLst>
              <a:ext uri="{91240B29-F687-4F45-9708-019B960494DF}">
                <a14:hiddenLine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76" name="íṧliďe">
              <a:extLst>
                <a:ext uri="{FF2B5EF4-FFF2-40B4-BE49-F238E27FC236}">
                  <a16:creationId xmlns:a16="http://schemas.microsoft.com/office/drawing/2014/main" id="{8348BB0F-A1FE-4FE2-A138-3D1FAB3923DD}"/>
                </a:ext>
              </a:extLst>
            </p:cNvPr>
            <p:cNvSpPr/>
            <p:nvPr/>
          </p:nvSpPr>
          <p:spPr bwMode="auto">
            <a:xfrm>
              <a:off x="-4862506" y="7061977"/>
              <a:ext cx="366712" cy="2251078"/>
            </a:xfrm>
            <a:custGeom>
              <a:gdLst>
                <a:gd fmla="*/ 0 w 161" name="T0"/>
                <a:gd fmla="*/ 975 h 985" name="T1"/>
                <a:gd fmla="*/ 54 w 161" name="T2"/>
                <a:gd fmla="*/ 488 h 985" name="T3"/>
                <a:gd fmla="*/ 108 w 161" name="T4"/>
                <a:gd fmla="*/ 0 h 985" name="T5"/>
                <a:gd fmla="*/ 161 w 161" name="T6"/>
                <a:gd fmla="*/ 7 h 985" name="T7"/>
                <a:gd fmla="*/ 115 w 161" name="T8"/>
                <a:gd fmla="*/ 496 h 985" name="T9"/>
                <a:gd fmla="*/ 69 w 161" name="T10"/>
                <a:gd fmla="*/ 985 h 985" name="T11"/>
                <a:gd fmla="*/ 0 w 161" name="T12"/>
                <a:gd fmla="*/ 975 h 985" name="T13"/>
              </a:gdLst>
              <a:cxnLst>
                <a:cxn ang="0">
                  <a:pos x="T0" y="T1"/>
                </a:cxn>
                <a:cxn ang="0">
                  <a:pos x="T2" y="T3"/>
                </a:cxn>
                <a:cxn ang="0">
                  <a:pos x="T4" y="T5"/>
                </a:cxn>
                <a:cxn ang="0">
                  <a:pos x="T6" y="T7"/>
                </a:cxn>
                <a:cxn ang="0">
                  <a:pos x="T8" y="T9"/>
                </a:cxn>
                <a:cxn ang="0">
                  <a:pos x="T10" y="T11"/>
                </a:cxn>
                <a:cxn ang="0">
                  <a:pos x="T12" y="T13"/>
                </a:cxn>
              </a:cxnLst>
              <a:rect b="b" l="0" r="r" t="0"/>
              <a:pathLst>
                <a:path h="984" w="161">
                  <a:moveTo>
                    <a:pt x="0" y="975"/>
                  </a:moveTo>
                  <a:cubicBezTo>
                    <a:pt x="18" y="813"/>
                    <a:pt x="36" y="650"/>
                    <a:pt x="54" y="488"/>
                  </a:cubicBezTo>
                  <a:cubicBezTo>
                    <a:pt x="72" y="325"/>
                    <a:pt x="90" y="162"/>
                    <a:pt x="108" y="0"/>
                  </a:cubicBezTo>
                  <a:cubicBezTo>
                    <a:pt x="125" y="2"/>
                    <a:pt x="143" y="4"/>
                    <a:pt x="161" y="7"/>
                  </a:cubicBezTo>
                  <a:cubicBezTo>
                    <a:pt x="146" y="170"/>
                    <a:pt x="130" y="333"/>
                    <a:pt x="115" y="496"/>
                  </a:cubicBezTo>
                  <a:cubicBezTo>
                    <a:pt x="100" y="659"/>
                    <a:pt x="84" y="822"/>
                    <a:pt x="69" y="985"/>
                  </a:cubicBezTo>
                  <a:cubicBezTo>
                    <a:pt x="46" y="982"/>
                    <a:pt x="23" y="978"/>
                    <a:pt x="0" y="975"/>
                  </a:cubicBezTo>
                  <a:close/>
                </a:path>
              </a:pathLst>
            </a:custGeom>
            <a:solidFill>
              <a:srgbClr val="FFFFFF"/>
            </a:solidFill>
            <a:ln>
              <a:noFill/>
            </a:ln>
            <a:extLst>
              <a:ext uri="{91240B29-F687-4F45-9708-019B960494DF}">
                <a14:hiddenLine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77" name="íṩlîḋê">
              <a:extLst>
                <a:ext uri="{FF2B5EF4-FFF2-40B4-BE49-F238E27FC236}">
                  <a16:creationId xmlns:a16="http://schemas.microsoft.com/office/drawing/2014/main" id="{CE595D84-2D95-4B1F-B561-CF91F0685B7E}"/>
                </a:ext>
              </a:extLst>
            </p:cNvPr>
            <p:cNvSpPr/>
            <p:nvPr/>
          </p:nvSpPr>
          <p:spPr bwMode="auto">
            <a:xfrm>
              <a:off x="-6399208" y="7803340"/>
              <a:ext cx="1876426" cy="327025"/>
            </a:xfrm>
            <a:custGeom>
              <a:gdLst>
                <a:gd fmla="*/ 10 w 822" name="T0"/>
                <a:gd fmla="*/ 0 h 143" name="T1"/>
                <a:gd fmla="*/ 416 w 822" name="T2"/>
                <a:gd fmla="*/ 54 h 143" name="T3"/>
                <a:gd fmla="*/ 822 w 822" name="T4"/>
                <a:gd fmla="*/ 108 h 143" name="T5"/>
                <a:gd fmla="*/ 819 w 822" name="T6"/>
                <a:gd fmla="*/ 143 h 143" name="T7"/>
                <a:gd fmla="*/ 410 w 822" name="T8"/>
                <a:gd fmla="*/ 88 h 143" name="T9"/>
                <a:gd fmla="*/ 0 w 822" name="T10"/>
                <a:gd fmla="*/ 33 h 143" name="T11"/>
                <a:gd fmla="*/ 10 w 822" name="T12"/>
                <a:gd fmla="*/ 0 h 143" name="T13"/>
              </a:gdLst>
              <a:cxnLst>
                <a:cxn ang="0">
                  <a:pos x="T0" y="T1"/>
                </a:cxn>
                <a:cxn ang="0">
                  <a:pos x="T2" y="T3"/>
                </a:cxn>
                <a:cxn ang="0">
                  <a:pos x="T4" y="T5"/>
                </a:cxn>
                <a:cxn ang="0">
                  <a:pos x="T6" y="T7"/>
                </a:cxn>
                <a:cxn ang="0">
                  <a:pos x="T8" y="T9"/>
                </a:cxn>
                <a:cxn ang="0">
                  <a:pos x="T10" y="T11"/>
                </a:cxn>
                <a:cxn ang="0">
                  <a:pos x="T12" y="T13"/>
                </a:cxn>
              </a:cxnLst>
              <a:rect b="b" l="0" r="r" t="0"/>
              <a:pathLst>
                <a:path h="143" w="822">
                  <a:moveTo>
                    <a:pt x="10" y="0"/>
                  </a:moveTo>
                  <a:cubicBezTo>
                    <a:pt x="146" y="18"/>
                    <a:pt x="281" y="36"/>
                    <a:pt x="416" y="54"/>
                  </a:cubicBezTo>
                  <a:cubicBezTo>
                    <a:pt x="552" y="72"/>
                    <a:pt x="687" y="90"/>
                    <a:pt x="822" y="108"/>
                  </a:cubicBezTo>
                  <a:cubicBezTo>
                    <a:pt x="821" y="120"/>
                    <a:pt x="820" y="131"/>
                    <a:pt x="819" y="143"/>
                  </a:cubicBezTo>
                  <a:cubicBezTo>
                    <a:pt x="683" y="125"/>
                    <a:pt x="546" y="106"/>
                    <a:pt x="410" y="88"/>
                  </a:cubicBezTo>
                  <a:cubicBezTo>
                    <a:pt x="273" y="70"/>
                    <a:pt x="137" y="51"/>
                    <a:pt x="0" y="33"/>
                  </a:cubicBezTo>
                  <a:cubicBezTo>
                    <a:pt x="3" y="22"/>
                    <a:pt x="7" y="11"/>
                    <a:pt x="10" y="0"/>
                  </a:cubicBezTo>
                  <a:close/>
                </a:path>
              </a:pathLst>
            </a:custGeom>
            <a:solidFill>
              <a:srgbClr val="FFFFFF"/>
            </a:solidFill>
            <a:ln>
              <a:noFill/>
            </a:ln>
            <a:extLst>
              <a:ext uri="{91240B29-F687-4F45-9708-019B960494DF}">
                <a14:hiddenLine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78" name="îŝ1ïḋê">
              <a:extLst>
                <a:ext uri="{FF2B5EF4-FFF2-40B4-BE49-F238E27FC236}">
                  <a16:creationId xmlns:a16="http://schemas.microsoft.com/office/drawing/2014/main" id="{12F00BDA-86B7-425F-A99E-916F9A2D3EA8}"/>
                </a:ext>
              </a:extLst>
            </p:cNvPr>
            <p:cNvSpPr/>
            <p:nvPr/>
          </p:nvSpPr>
          <p:spPr bwMode="auto">
            <a:xfrm>
              <a:off x="-5086344" y="7823977"/>
              <a:ext cx="584199" cy="498476"/>
            </a:xfrm>
            <a:custGeom>
              <a:gdLst>
                <a:gd fmla="*/ 198 w 256" name="T0"/>
                <a:gd fmla="*/ 8 h 218" name="T1"/>
                <a:gd fmla="*/ 9 w 256" name="T2"/>
                <a:gd fmla="*/ 85 h 218" name="T3"/>
                <a:gd fmla="*/ 177 w 256" name="T4"/>
                <a:gd fmla="*/ 210 h 218" name="T5"/>
                <a:gd fmla="*/ 237 w 256" name="T6"/>
                <a:gd fmla="*/ 212 h 218" name="T7"/>
                <a:gd fmla="*/ 254 w 256" name="T8"/>
                <a:gd fmla="*/ 21 h 218" name="T9"/>
                <a:gd fmla="*/ 198 w 256" name="T10"/>
                <a:gd fmla="*/ 8 h 218" name="T11"/>
              </a:gdLst>
              <a:cxnLst>
                <a:cxn ang="0">
                  <a:pos x="T0" y="T1"/>
                </a:cxn>
                <a:cxn ang="0">
                  <a:pos x="T2" y="T3"/>
                </a:cxn>
                <a:cxn ang="0">
                  <a:pos x="T4" y="T5"/>
                </a:cxn>
                <a:cxn ang="0">
                  <a:pos x="T6" y="T7"/>
                </a:cxn>
                <a:cxn ang="0">
                  <a:pos x="T8" y="T9"/>
                </a:cxn>
                <a:cxn ang="0">
                  <a:pos x="T10" y="T11"/>
                </a:cxn>
              </a:cxnLst>
              <a:rect b="b" l="0" r="r" t="0"/>
              <a:pathLst>
                <a:path h="218" w="256">
                  <a:moveTo>
                    <a:pt x="198" y="8"/>
                  </a:moveTo>
                  <a:cubicBezTo>
                    <a:pt x="140" y="0"/>
                    <a:pt x="17" y="30"/>
                    <a:pt x="9" y="85"/>
                  </a:cubicBezTo>
                  <a:cubicBezTo>
                    <a:pt x="0" y="140"/>
                    <a:pt x="116" y="201"/>
                    <a:pt x="177" y="210"/>
                  </a:cubicBezTo>
                  <a:cubicBezTo>
                    <a:pt x="238" y="218"/>
                    <a:pt x="218" y="213"/>
                    <a:pt x="237" y="212"/>
                  </a:cubicBezTo>
                  <a:cubicBezTo>
                    <a:pt x="243" y="148"/>
                    <a:pt x="248" y="85"/>
                    <a:pt x="254" y="21"/>
                  </a:cubicBezTo>
                  <a:cubicBezTo>
                    <a:pt x="237" y="15"/>
                    <a:pt x="256" y="15"/>
                    <a:pt x="198" y="8"/>
                  </a:cubicBezTo>
                  <a:close/>
                </a:path>
              </a:pathLst>
            </a:custGeom>
            <a:solidFill>
              <a:srgbClr val="FDB836"/>
            </a:solidFill>
            <a:ln>
              <a:noFill/>
            </a:ln>
            <a:extLst>
              <a:ext uri="{91240B29-F687-4F45-9708-019B960494DF}">
                <a14:hiddenLine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79" name="íṧliḓé">
              <a:extLst>
                <a:ext uri="{FF2B5EF4-FFF2-40B4-BE49-F238E27FC236}">
                  <a16:creationId xmlns:a16="http://schemas.microsoft.com/office/drawing/2014/main" id="{91D70B0A-582C-4699-9B56-699294B3B260}"/>
                </a:ext>
              </a:extLst>
            </p:cNvPr>
            <p:cNvSpPr/>
            <p:nvPr/>
          </p:nvSpPr>
          <p:spPr bwMode="auto">
            <a:xfrm>
              <a:off x="-4945056" y="7903353"/>
              <a:ext cx="439738" cy="338138"/>
            </a:xfrm>
            <a:custGeom>
              <a:gdLst>
                <a:gd fmla="*/ 135 w 193" name="T0"/>
                <a:gd fmla="*/ 6 h 148" name="T1"/>
                <a:gd fmla="*/ 5 w 193" name="T2"/>
                <a:gd fmla="*/ 58 h 148" name="T3"/>
                <a:gd fmla="*/ 121 w 193" name="T4"/>
                <a:gd fmla="*/ 142 h 148" name="T5"/>
                <a:gd fmla="*/ 183 w 193" name="T6"/>
                <a:gd fmla="*/ 141 h 148" name="T7"/>
                <a:gd fmla="*/ 193 w 193" name="T8"/>
                <a:gd fmla="*/ 22 h 148" name="T9"/>
                <a:gd fmla="*/ 135 w 193" name="T10"/>
                <a:gd fmla="*/ 6 h 148" name="T11"/>
              </a:gdLst>
              <a:cxnLst>
                <a:cxn ang="0">
                  <a:pos x="T0" y="T1"/>
                </a:cxn>
                <a:cxn ang="0">
                  <a:pos x="T2" y="T3"/>
                </a:cxn>
                <a:cxn ang="0">
                  <a:pos x="T4" y="T5"/>
                </a:cxn>
                <a:cxn ang="0">
                  <a:pos x="T6" y="T7"/>
                </a:cxn>
                <a:cxn ang="0">
                  <a:pos x="T8" y="T9"/>
                </a:cxn>
                <a:cxn ang="0">
                  <a:pos x="T10" y="T11"/>
                </a:cxn>
              </a:cxnLst>
              <a:rect b="b" l="0" r="r" t="0"/>
              <a:pathLst>
                <a:path h="148" w="193">
                  <a:moveTo>
                    <a:pt x="135" y="6"/>
                  </a:moveTo>
                  <a:cubicBezTo>
                    <a:pt x="91" y="0"/>
                    <a:pt x="10" y="20"/>
                    <a:pt x="5" y="58"/>
                  </a:cubicBezTo>
                  <a:cubicBezTo>
                    <a:pt x="0" y="95"/>
                    <a:pt x="75" y="136"/>
                    <a:pt x="121" y="142"/>
                  </a:cubicBezTo>
                  <a:cubicBezTo>
                    <a:pt x="167" y="148"/>
                    <a:pt x="164" y="144"/>
                    <a:pt x="183" y="141"/>
                  </a:cubicBezTo>
                  <a:cubicBezTo>
                    <a:pt x="186" y="101"/>
                    <a:pt x="190" y="62"/>
                    <a:pt x="193" y="22"/>
                  </a:cubicBezTo>
                  <a:cubicBezTo>
                    <a:pt x="176" y="14"/>
                    <a:pt x="180" y="12"/>
                    <a:pt x="135" y="6"/>
                  </a:cubicBezTo>
                  <a:close/>
                </a:path>
              </a:pathLst>
            </a:custGeom>
            <a:solidFill>
              <a:srgbClr val="808080"/>
            </a:solidFill>
            <a:ln>
              <a:noFill/>
            </a:ln>
            <a:extLst>
              <a:ext uri="{91240B29-F687-4F45-9708-019B960494DF}">
                <a14:hiddenLine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80" name="íṣḷiḍé">
              <a:extLst>
                <a:ext uri="{FF2B5EF4-FFF2-40B4-BE49-F238E27FC236}">
                  <a16:creationId xmlns:a16="http://schemas.microsoft.com/office/drawing/2014/main" id="{04E99B94-17A4-463C-88FA-4475883FD443}"/>
                </a:ext>
              </a:extLst>
            </p:cNvPr>
            <p:cNvSpPr/>
            <p:nvPr/>
          </p:nvSpPr>
          <p:spPr bwMode="auto">
            <a:xfrm>
              <a:off x="-4621206" y="7628715"/>
              <a:ext cx="134937" cy="80963"/>
            </a:xfrm>
            <a:custGeom>
              <a:gdLst>
                <a:gd fmla="*/ 0 w 59" name="T0"/>
                <a:gd fmla="*/ 35 h 35" name="T1"/>
                <a:gd fmla="*/ 2 w 59" name="T2"/>
                <a:gd fmla="*/ 0 h 35" name="T3"/>
                <a:gd fmla="*/ 59 w 59" name="T4"/>
                <a:gd fmla="*/ 1 h 35" name="T5"/>
                <a:gd fmla="*/ 56 w 59" name="T6"/>
                <a:gd fmla="*/ 35 h 35" name="T7"/>
                <a:gd fmla="*/ 0 w 59" name="T8"/>
                <a:gd fmla="*/ 35 h 35" name="T9"/>
              </a:gdLst>
              <a:cxnLst>
                <a:cxn ang="0">
                  <a:pos x="T0" y="T1"/>
                </a:cxn>
                <a:cxn ang="0">
                  <a:pos x="T2" y="T3"/>
                </a:cxn>
                <a:cxn ang="0">
                  <a:pos x="T4" y="T5"/>
                </a:cxn>
                <a:cxn ang="0">
                  <a:pos x="T6" y="T7"/>
                </a:cxn>
                <a:cxn ang="0">
                  <a:pos x="T8" y="T9"/>
                </a:cxn>
              </a:cxnLst>
              <a:rect b="b" l="0" r="r" t="0"/>
              <a:pathLst>
                <a:path h="35" w="59">
                  <a:moveTo>
                    <a:pt x="0" y="35"/>
                  </a:moveTo>
                  <a:cubicBezTo>
                    <a:pt x="1" y="23"/>
                    <a:pt x="1" y="12"/>
                    <a:pt x="2" y="0"/>
                  </a:cubicBezTo>
                  <a:cubicBezTo>
                    <a:pt x="21" y="1"/>
                    <a:pt x="40" y="1"/>
                    <a:pt x="59" y="1"/>
                  </a:cubicBezTo>
                  <a:cubicBezTo>
                    <a:pt x="58" y="12"/>
                    <a:pt x="57" y="24"/>
                    <a:pt x="56" y="35"/>
                  </a:cubicBezTo>
                  <a:cubicBezTo>
                    <a:pt x="37" y="35"/>
                    <a:pt x="19" y="35"/>
                    <a:pt x="0" y="35"/>
                  </a:cubicBezTo>
                  <a:close/>
                </a:path>
              </a:pathLst>
            </a:custGeom>
            <a:solidFill>
              <a:srgbClr val="FFFFFF"/>
            </a:solidFill>
            <a:ln>
              <a:noFill/>
            </a:ln>
            <a:extLst>
              <a:ext uri="{91240B29-F687-4F45-9708-019B960494DF}">
                <a14:hiddenLine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81" name="ísľïḋe">
              <a:extLst>
                <a:ext uri="{FF2B5EF4-FFF2-40B4-BE49-F238E27FC236}">
                  <a16:creationId xmlns:a16="http://schemas.microsoft.com/office/drawing/2014/main" id="{653461FA-AE07-4968-8252-E2A75CD926DA}"/>
                </a:ext>
              </a:extLst>
            </p:cNvPr>
            <p:cNvSpPr/>
            <p:nvPr/>
          </p:nvSpPr>
          <p:spPr bwMode="auto">
            <a:xfrm>
              <a:off x="-4664069" y="7695390"/>
              <a:ext cx="171450" cy="109538"/>
            </a:xfrm>
            <a:custGeom>
              <a:gdLst>
                <a:gd fmla="*/ 3 w 75" name="T0"/>
                <a:gd fmla="*/ 40 h 48" name="T1"/>
                <a:gd fmla="*/ 0 w 75" name="T2"/>
                <a:gd fmla="*/ 0 h 48" name="T3"/>
                <a:gd fmla="*/ 75 w 75" name="T4"/>
                <a:gd fmla="*/ 9 h 48" name="T5"/>
                <a:gd fmla="*/ 71 w 75" name="T6"/>
                <a:gd fmla="*/ 48 h 48" name="T7"/>
                <a:gd fmla="*/ 3 w 75" name="T8"/>
                <a:gd fmla="*/ 40 h 48" name="T9"/>
              </a:gdLst>
              <a:cxnLst>
                <a:cxn ang="0">
                  <a:pos x="T0" y="T1"/>
                </a:cxn>
                <a:cxn ang="0">
                  <a:pos x="T2" y="T3"/>
                </a:cxn>
                <a:cxn ang="0">
                  <a:pos x="T4" y="T5"/>
                </a:cxn>
                <a:cxn ang="0">
                  <a:pos x="T6" y="T7"/>
                </a:cxn>
                <a:cxn ang="0">
                  <a:pos x="T8" y="T9"/>
                </a:cxn>
              </a:cxnLst>
              <a:rect b="b" l="0" r="r" t="0"/>
              <a:pathLst>
                <a:path h="48" w="75">
                  <a:moveTo>
                    <a:pt x="3" y="40"/>
                  </a:moveTo>
                  <a:cubicBezTo>
                    <a:pt x="2" y="27"/>
                    <a:pt x="1" y="14"/>
                    <a:pt x="0" y="0"/>
                  </a:cubicBezTo>
                  <a:cubicBezTo>
                    <a:pt x="25" y="3"/>
                    <a:pt x="50" y="6"/>
                    <a:pt x="75" y="9"/>
                  </a:cubicBezTo>
                  <a:cubicBezTo>
                    <a:pt x="74" y="22"/>
                    <a:pt x="73" y="35"/>
                    <a:pt x="71" y="48"/>
                  </a:cubicBezTo>
                  <a:cubicBezTo>
                    <a:pt x="48" y="46"/>
                    <a:pt x="26" y="43"/>
                    <a:pt x="3" y="40"/>
                  </a:cubicBezTo>
                  <a:close/>
                </a:path>
              </a:pathLst>
            </a:custGeom>
            <a:solidFill>
              <a:srgbClr val="FFFFFF"/>
            </a:solidFill>
            <a:ln>
              <a:noFill/>
            </a:ln>
            <a:extLst>
              <a:ext uri="{91240B29-F687-4F45-9708-019B960494DF}">
                <a14:hiddenLine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82" name="iṥ1îḋè">
              <a:extLst>
                <a:ext uri="{FF2B5EF4-FFF2-40B4-BE49-F238E27FC236}">
                  <a16:creationId xmlns:a16="http://schemas.microsoft.com/office/drawing/2014/main" id="{4F9638CB-FBFF-4687-ADE7-3C8F2771BB05}"/>
                </a:ext>
              </a:extLst>
            </p:cNvPr>
            <p:cNvSpPr/>
            <p:nvPr/>
          </p:nvSpPr>
          <p:spPr bwMode="auto">
            <a:xfrm>
              <a:off x="-4776781" y="8790767"/>
              <a:ext cx="190500" cy="88900"/>
            </a:xfrm>
            <a:custGeom>
              <a:gdLst>
                <a:gd fmla="*/ 0 w 83" name="T0"/>
                <a:gd fmla="*/ 34 h 39" name="T1"/>
                <a:gd fmla="*/ 7 w 83" name="T2"/>
                <a:gd fmla="*/ 0 h 39" name="T3"/>
                <a:gd fmla="*/ 83 w 83" name="T4"/>
                <a:gd fmla="*/ 5 h 39" name="T5"/>
                <a:gd fmla="*/ 80 w 83" name="T6"/>
                <a:gd fmla="*/ 39 h 39" name="T7"/>
                <a:gd fmla="*/ 0 w 83" name="T8"/>
                <a:gd fmla="*/ 34 h 39" name="T9"/>
              </a:gdLst>
              <a:cxnLst>
                <a:cxn ang="0">
                  <a:pos x="T0" y="T1"/>
                </a:cxn>
                <a:cxn ang="0">
                  <a:pos x="T2" y="T3"/>
                </a:cxn>
                <a:cxn ang="0">
                  <a:pos x="T4" y="T5"/>
                </a:cxn>
                <a:cxn ang="0">
                  <a:pos x="T6" y="T7"/>
                </a:cxn>
                <a:cxn ang="0">
                  <a:pos x="T8" y="T9"/>
                </a:cxn>
              </a:cxnLst>
              <a:rect b="b" l="0" r="r" t="0"/>
              <a:pathLst>
                <a:path h="39" w="83">
                  <a:moveTo>
                    <a:pt x="0" y="34"/>
                  </a:moveTo>
                  <a:cubicBezTo>
                    <a:pt x="3" y="23"/>
                    <a:pt x="5" y="11"/>
                    <a:pt x="7" y="0"/>
                  </a:cubicBezTo>
                  <a:cubicBezTo>
                    <a:pt x="32" y="2"/>
                    <a:pt x="57" y="3"/>
                    <a:pt x="83" y="5"/>
                  </a:cubicBezTo>
                  <a:cubicBezTo>
                    <a:pt x="82" y="16"/>
                    <a:pt x="81" y="28"/>
                    <a:pt x="80" y="39"/>
                  </a:cubicBezTo>
                  <a:cubicBezTo>
                    <a:pt x="53" y="37"/>
                    <a:pt x="27" y="36"/>
                    <a:pt x="0" y="34"/>
                  </a:cubicBezTo>
                  <a:close/>
                </a:path>
              </a:pathLst>
            </a:custGeom>
            <a:solidFill>
              <a:srgbClr val="FFFFFF"/>
            </a:solidFill>
            <a:ln>
              <a:noFill/>
            </a:ln>
            <a:extLst>
              <a:ext uri="{91240B29-F687-4F45-9708-019B960494DF}">
                <a14:hiddenLine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83" name="ïṡ1íḓé">
              <a:extLst>
                <a:ext uri="{FF2B5EF4-FFF2-40B4-BE49-F238E27FC236}">
                  <a16:creationId xmlns:a16="http://schemas.microsoft.com/office/drawing/2014/main" id="{F2671267-6FC0-4AE0-8F87-F71AC06373E8}"/>
                </a:ext>
              </a:extLst>
            </p:cNvPr>
            <p:cNvSpPr/>
            <p:nvPr/>
          </p:nvSpPr>
          <p:spPr bwMode="auto">
            <a:xfrm>
              <a:off x="-5924544" y="7908115"/>
              <a:ext cx="687387" cy="696913"/>
            </a:xfrm>
            <a:custGeom>
              <a:gdLst>
                <a:gd fmla="*/ 301 w 301" name="T0"/>
                <a:gd fmla="*/ 298 h 305" name="T1"/>
                <a:gd fmla="*/ 231 w 301" name="T2"/>
                <a:gd fmla="*/ 305 h 305" name="T3"/>
                <a:gd fmla="*/ 110 w 301" name="T4"/>
                <a:gd fmla="*/ 155 h 305" name="T5"/>
                <a:gd fmla="*/ 0 w 301" name="T6"/>
                <a:gd fmla="*/ 8 h 305" name="T7"/>
                <a:gd fmla="*/ 66 w 301" name="T8"/>
                <a:gd fmla="*/ 0 h 305" name="T9"/>
                <a:gd fmla="*/ 179 w 301" name="T10"/>
                <a:gd fmla="*/ 148 h 305" name="T11"/>
                <a:gd fmla="*/ 301 w 301" name="T12"/>
                <a:gd fmla="*/ 298 h 305" name="T13"/>
              </a:gdLst>
              <a:cxnLst>
                <a:cxn ang="0">
                  <a:pos x="T0" y="T1"/>
                </a:cxn>
                <a:cxn ang="0">
                  <a:pos x="T2" y="T3"/>
                </a:cxn>
                <a:cxn ang="0">
                  <a:pos x="T4" y="T5"/>
                </a:cxn>
                <a:cxn ang="0">
                  <a:pos x="T6" y="T7"/>
                </a:cxn>
                <a:cxn ang="0">
                  <a:pos x="T8" y="T9"/>
                </a:cxn>
                <a:cxn ang="0">
                  <a:pos x="T10" y="T11"/>
                </a:cxn>
                <a:cxn ang="0">
                  <a:pos x="T12" y="T13"/>
                </a:cxn>
              </a:cxnLst>
              <a:rect b="b" l="0" r="r" t="0"/>
              <a:pathLst>
                <a:path h="305" w="301">
                  <a:moveTo>
                    <a:pt x="301" y="298"/>
                  </a:moveTo>
                  <a:cubicBezTo>
                    <a:pt x="277" y="300"/>
                    <a:pt x="254" y="303"/>
                    <a:pt x="231" y="305"/>
                  </a:cubicBezTo>
                  <a:cubicBezTo>
                    <a:pt x="190" y="255"/>
                    <a:pt x="149" y="205"/>
                    <a:pt x="110" y="155"/>
                  </a:cubicBezTo>
                  <a:cubicBezTo>
                    <a:pt x="72" y="106"/>
                    <a:pt x="36" y="57"/>
                    <a:pt x="0" y="8"/>
                  </a:cubicBezTo>
                  <a:cubicBezTo>
                    <a:pt x="22" y="5"/>
                    <a:pt x="44" y="3"/>
                    <a:pt x="66" y="0"/>
                  </a:cubicBezTo>
                  <a:cubicBezTo>
                    <a:pt x="103" y="49"/>
                    <a:pt x="140" y="99"/>
                    <a:pt x="179" y="148"/>
                  </a:cubicBezTo>
                  <a:cubicBezTo>
                    <a:pt x="218" y="198"/>
                    <a:pt x="259" y="248"/>
                    <a:pt x="301" y="298"/>
                  </a:cubicBezTo>
                  <a:close/>
                </a:path>
              </a:pathLst>
            </a:custGeom>
            <a:solidFill>
              <a:srgbClr val="FFFFFF"/>
            </a:solidFill>
            <a:ln>
              <a:noFill/>
            </a:ln>
            <a:extLst>
              <a:ext uri="{91240B29-F687-4F45-9708-019B960494DF}">
                <a14:hiddenLine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84" name="í$1ïḑê">
              <a:extLst>
                <a:ext uri="{FF2B5EF4-FFF2-40B4-BE49-F238E27FC236}">
                  <a16:creationId xmlns:a16="http://schemas.microsoft.com/office/drawing/2014/main" id="{0EDAA537-1E1A-493D-9115-C8558340D45F}"/>
                </a:ext>
              </a:extLst>
            </p:cNvPr>
            <p:cNvSpPr/>
            <p:nvPr/>
          </p:nvSpPr>
          <p:spPr bwMode="auto">
            <a:xfrm>
              <a:off x="-5554656" y="8552640"/>
              <a:ext cx="373063" cy="665163"/>
            </a:xfrm>
            <a:custGeom>
              <a:gdLst>
                <a:gd fmla="*/ 0 w 163" name="T0"/>
                <a:gd fmla="*/ 281 h 291" name="T1"/>
                <a:gd fmla="*/ 47 w 163" name="T2"/>
                <a:gd fmla="*/ 141 h 291" name="T3"/>
                <a:gd fmla="*/ 93 w 163" name="T4"/>
                <a:gd fmla="*/ 0 h 291" name="T5"/>
                <a:gd fmla="*/ 163 w 163" name="T6"/>
                <a:gd fmla="*/ 13 h 291" name="T7"/>
                <a:gd fmla="*/ 121 w 163" name="T8"/>
                <a:gd fmla="*/ 153 h 291" name="T9"/>
                <a:gd fmla="*/ 76 w 163" name="T10"/>
                <a:gd fmla="*/ 291 h 291" name="T11"/>
                <a:gd fmla="*/ 0 w 163" name="T12"/>
                <a:gd fmla="*/ 281 h 291" name="T13"/>
              </a:gdLst>
              <a:cxnLst>
                <a:cxn ang="0">
                  <a:pos x="T0" y="T1"/>
                </a:cxn>
                <a:cxn ang="0">
                  <a:pos x="T2" y="T3"/>
                </a:cxn>
                <a:cxn ang="0">
                  <a:pos x="T4" y="T5"/>
                </a:cxn>
                <a:cxn ang="0">
                  <a:pos x="T6" y="T7"/>
                </a:cxn>
                <a:cxn ang="0">
                  <a:pos x="T8" y="T9"/>
                </a:cxn>
                <a:cxn ang="0">
                  <a:pos x="T10" y="T11"/>
                </a:cxn>
                <a:cxn ang="0">
                  <a:pos x="T12" y="T13"/>
                </a:cxn>
              </a:cxnLst>
              <a:rect b="b" l="0" r="r" t="0"/>
              <a:pathLst>
                <a:path h="291" w="163">
                  <a:moveTo>
                    <a:pt x="0" y="281"/>
                  </a:moveTo>
                  <a:cubicBezTo>
                    <a:pt x="16" y="234"/>
                    <a:pt x="32" y="187"/>
                    <a:pt x="47" y="141"/>
                  </a:cubicBezTo>
                  <a:cubicBezTo>
                    <a:pt x="62" y="94"/>
                    <a:pt x="78" y="47"/>
                    <a:pt x="93" y="0"/>
                  </a:cubicBezTo>
                  <a:cubicBezTo>
                    <a:pt x="116" y="4"/>
                    <a:pt x="140" y="9"/>
                    <a:pt x="163" y="13"/>
                  </a:cubicBezTo>
                  <a:cubicBezTo>
                    <a:pt x="149" y="60"/>
                    <a:pt x="135" y="106"/>
                    <a:pt x="121" y="153"/>
                  </a:cubicBezTo>
                  <a:cubicBezTo>
                    <a:pt x="106" y="199"/>
                    <a:pt x="91" y="245"/>
                    <a:pt x="76" y="291"/>
                  </a:cubicBezTo>
                  <a:cubicBezTo>
                    <a:pt x="51" y="288"/>
                    <a:pt x="25" y="284"/>
                    <a:pt x="0" y="281"/>
                  </a:cubicBezTo>
                  <a:close/>
                </a:path>
              </a:pathLst>
            </a:custGeom>
            <a:solidFill>
              <a:srgbClr val="FFFFFF"/>
            </a:solidFill>
            <a:ln>
              <a:noFill/>
            </a:ln>
            <a:extLst>
              <a:ext uri="{91240B29-F687-4F45-9708-019B960494DF}">
                <a14:hiddenLine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85" name="íśḻïḑè">
              <a:extLst>
                <a:ext uri="{FF2B5EF4-FFF2-40B4-BE49-F238E27FC236}">
                  <a16:creationId xmlns:a16="http://schemas.microsoft.com/office/drawing/2014/main" id="{D28ACC7C-F033-43FC-9AB1-72D8EAA286BC}"/>
                </a:ext>
              </a:extLst>
            </p:cNvPr>
            <p:cNvSpPr/>
            <p:nvPr/>
          </p:nvSpPr>
          <p:spPr bwMode="auto">
            <a:xfrm>
              <a:off x="-5319707" y="8525653"/>
              <a:ext cx="619126" cy="349250"/>
            </a:xfrm>
            <a:custGeom>
              <a:gdLst>
                <a:gd fmla="*/ 0 w 271" name="T0"/>
                <a:gd fmla="*/ 47 h 153" name="T1"/>
                <a:gd fmla="*/ 10 w 271" name="T2"/>
                <a:gd fmla="*/ 0 h 153" name="T3"/>
                <a:gd fmla="*/ 140 w 271" name="T4"/>
                <a:gd fmla="*/ 53 h 153" name="T5"/>
                <a:gd fmla="*/ 271 w 271" name="T6"/>
                <a:gd fmla="*/ 105 h 153" name="T7"/>
                <a:gd fmla="*/ 264 w 271" name="T8"/>
                <a:gd fmla="*/ 153 h 153" name="T9"/>
                <a:gd fmla="*/ 131 w 271" name="T10"/>
                <a:gd fmla="*/ 100 h 153" name="T11"/>
                <a:gd fmla="*/ 0 w 271" name="T12"/>
                <a:gd fmla="*/ 47 h 153" name="T13"/>
              </a:gdLst>
              <a:cxnLst>
                <a:cxn ang="0">
                  <a:pos x="T0" y="T1"/>
                </a:cxn>
                <a:cxn ang="0">
                  <a:pos x="T2" y="T3"/>
                </a:cxn>
                <a:cxn ang="0">
                  <a:pos x="T4" y="T5"/>
                </a:cxn>
                <a:cxn ang="0">
                  <a:pos x="T6" y="T7"/>
                </a:cxn>
                <a:cxn ang="0">
                  <a:pos x="T8" y="T9"/>
                </a:cxn>
                <a:cxn ang="0">
                  <a:pos x="T10" y="T11"/>
                </a:cxn>
                <a:cxn ang="0">
                  <a:pos x="T12" y="T13"/>
                </a:cxn>
              </a:cxnLst>
              <a:rect b="b" l="0" r="r" t="0"/>
              <a:pathLst>
                <a:path h="153" w="271">
                  <a:moveTo>
                    <a:pt x="0" y="47"/>
                  </a:moveTo>
                  <a:cubicBezTo>
                    <a:pt x="3" y="32"/>
                    <a:pt x="7" y="16"/>
                    <a:pt x="10" y="0"/>
                  </a:cubicBezTo>
                  <a:cubicBezTo>
                    <a:pt x="53" y="18"/>
                    <a:pt x="96" y="35"/>
                    <a:pt x="140" y="53"/>
                  </a:cubicBezTo>
                  <a:cubicBezTo>
                    <a:pt x="183" y="70"/>
                    <a:pt x="227" y="88"/>
                    <a:pt x="271" y="105"/>
                  </a:cubicBezTo>
                  <a:cubicBezTo>
                    <a:pt x="269" y="121"/>
                    <a:pt x="266" y="137"/>
                    <a:pt x="264" y="153"/>
                  </a:cubicBezTo>
                  <a:cubicBezTo>
                    <a:pt x="219" y="135"/>
                    <a:pt x="175" y="117"/>
                    <a:pt x="131" y="100"/>
                  </a:cubicBezTo>
                  <a:cubicBezTo>
                    <a:pt x="87" y="82"/>
                    <a:pt x="43" y="65"/>
                    <a:pt x="0" y="47"/>
                  </a:cubicBezTo>
                  <a:close/>
                </a:path>
              </a:pathLst>
            </a:custGeom>
            <a:solidFill>
              <a:srgbClr val="FFFFFF"/>
            </a:solidFill>
            <a:ln>
              <a:noFill/>
            </a:ln>
            <a:extLst>
              <a:ext uri="{91240B29-F687-4F45-9708-019B960494DF}">
                <a14:hiddenLine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86" name="íś1îḍe">
              <a:extLst>
                <a:ext uri="{FF2B5EF4-FFF2-40B4-BE49-F238E27FC236}">
                  <a16:creationId xmlns:a16="http://schemas.microsoft.com/office/drawing/2014/main" id="{496AC221-3DFB-452C-A67C-41926E9D0BD8}"/>
                </a:ext>
              </a:extLst>
            </p:cNvPr>
            <p:cNvSpPr/>
            <p:nvPr/>
          </p:nvSpPr>
          <p:spPr bwMode="auto">
            <a:xfrm>
              <a:off x="-4760907" y="8419290"/>
              <a:ext cx="203200" cy="114300"/>
            </a:xfrm>
            <a:custGeom>
              <a:gdLst>
                <a:gd fmla="*/ 13 w 89" name="T0"/>
                <a:gd fmla="*/ 40 h 50" name="T1"/>
                <a:gd fmla="*/ 0 w 89" name="T2"/>
                <a:gd fmla="*/ 0 h 50" name="T3"/>
                <a:gd fmla="*/ 89 w 89" name="T4"/>
                <a:gd fmla="*/ 12 h 50" name="T5"/>
                <a:gd fmla="*/ 86 w 89" name="T6"/>
                <a:gd fmla="*/ 50 h 50" name="T7"/>
                <a:gd fmla="*/ 13 w 89" name="T8"/>
                <a:gd fmla="*/ 40 h 50" name="T9"/>
              </a:gdLst>
              <a:cxnLst>
                <a:cxn ang="0">
                  <a:pos x="T0" y="T1"/>
                </a:cxn>
                <a:cxn ang="0">
                  <a:pos x="T2" y="T3"/>
                </a:cxn>
                <a:cxn ang="0">
                  <a:pos x="T4" y="T5"/>
                </a:cxn>
                <a:cxn ang="0">
                  <a:pos x="T6" y="T7"/>
                </a:cxn>
                <a:cxn ang="0">
                  <a:pos x="T8" y="T9"/>
                </a:cxn>
              </a:cxnLst>
              <a:rect b="b" l="0" r="r" t="0"/>
              <a:pathLst>
                <a:path h="50" w="89">
                  <a:moveTo>
                    <a:pt x="13" y="40"/>
                  </a:moveTo>
                  <a:cubicBezTo>
                    <a:pt x="9" y="26"/>
                    <a:pt x="5" y="13"/>
                    <a:pt x="0" y="0"/>
                  </a:cubicBezTo>
                  <a:cubicBezTo>
                    <a:pt x="30" y="4"/>
                    <a:pt x="60" y="8"/>
                    <a:pt x="89" y="12"/>
                  </a:cubicBezTo>
                  <a:cubicBezTo>
                    <a:pt x="88" y="24"/>
                    <a:pt x="87" y="37"/>
                    <a:pt x="86" y="50"/>
                  </a:cubicBezTo>
                  <a:cubicBezTo>
                    <a:pt x="62" y="46"/>
                    <a:pt x="37" y="43"/>
                    <a:pt x="13" y="40"/>
                  </a:cubicBezTo>
                  <a:close/>
                </a:path>
              </a:pathLst>
            </a:custGeom>
            <a:solidFill>
              <a:srgbClr val="FFFFFF"/>
            </a:solidFill>
            <a:ln>
              <a:noFill/>
            </a:ln>
            <a:extLst>
              <a:ext uri="{91240B29-F687-4F45-9708-019B960494DF}">
                <a14:hiddenLine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87" name="îṧļïďé">
              <a:extLst>
                <a:ext uri="{FF2B5EF4-FFF2-40B4-BE49-F238E27FC236}">
                  <a16:creationId xmlns:a16="http://schemas.microsoft.com/office/drawing/2014/main" id="{338C5460-D07C-44D2-AE6E-7173504CDB1A}"/>
                </a:ext>
              </a:extLst>
            </p:cNvPr>
            <p:cNvSpPr/>
            <p:nvPr/>
          </p:nvSpPr>
          <p:spPr bwMode="auto">
            <a:xfrm>
              <a:off x="-6042019" y="7165163"/>
              <a:ext cx="944562" cy="153988"/>
            </a:xfrm>
            <a:custGeom>
              <a:gdLst>
                <a:gd fmla="*/ 414 w 414" name="T0"/>
                <a:gd fmla="*/ 29 h 67" name="T1"/>
                <a:gd fmla="*/ 404 w 414" name="T2"/>
                <a:gd fmla="*/ 67 h 67" name="T3"/>
                <a:gd fmla="*/ 222 w 414" name="T4"/>
                <a:gd fmla="*/ 52 h 67" name="T5"/>
                <a:gd fmla="*/ 39 w 414" name="T6"/>
                <a:gd fmla="*/ 37 h 67" name="T7"/>
                <a:gd fmla="*/ 0 w 414" name="T8"/>
                <a:gd fmla="*/ 0 h 67" name="T9"/>
                <a:gd fmla="*/ 208 w 414" name="T10"/>
                <a:gd fmla="*/ 15 h 67" name="T11"/>
                <a:gd fmla="*/ 414 w 414" name="T12"/>
                <a:gd fmla="*/ 29 h 67" name="T13"/>
              </a:gdLst>
              <a:cxnLst>
                <a:cxn ang="0">
                  <a:pos x="T0" y="T1"/>
                </a:cxn>
                <a:cxn ang="0">
                  <a:pos x="T2" y="T3"/>
                </a:cxn>
                <a:cxn ang="0">
                  <a:pos x="T4" y="T5"/>
                </a:cxn>
                <a:cxn ang="0">
                  <a:pos x="T6" y="T7"/>
                </a:cxn>
                <a:cxn ang="0">
                  <a:pos x="T8" y="T9"/>
                </a:cxn>
                <a:cxn ang="0">
                  <a:pos x="T10" y="T11"/>
                </a:cxn>
                <a:cxn ang="0">
                  <a:pos x="T12" y="T13"/>
                </a:cxn>
              </a:cxnLst>
              <a:rect b="b" l="0" r="r" t="0"/>
              <a:pathLst>
                <a:path h="67" w="413">
                  <a:moveTo>
                    <a:pt x="414" y="29"/>
                  </a:moveTo>
                  <a:cubicBezTo>
                    <a:pt x="411" y="42"/>
                    <a:pt x="407" y="54"/>
                    <a:pt x="404" y="67"/>
                  </a:cubicBezTo>
                  <a:cubicBezTo>
                    <a:pt x="343" y="62"/>
                    <a:pt x="283" y="57"/>
                    <a:pt x="222" y="52"/>
                  </a:cubicBezTo>
                  <a:cubicBezTo>
                    <a:pt x="161" y="47"/>
                    <a:pt x="100" y="42"/>
                    <a:pt x="39" y="37"/>
                  </a:cubicBezTo>
                  <a:cubicBezTo>
                    <a:pt x="26" y="24"/>
                    <a:pt x="13" y="12"/>
                    <a:pt x="0" y="0"/>
                  </a:cubicBezTo>
                  <a:cubicBezTo>
                    <a:pt x="69" y="5"/>
                    <a:pt x="139" y="10"/>
                    <a:pt x="208" y="15"/>
                  </a:cubicBezTo>
                  <a:cubicBezTo>
                    <a:pt x="276" y="20"/>
                    <a:pt x="345" y="25"/>
                    <a:pt x="414" y="29"/>
                  </a:cubicBezTo>
                  <a:close/>
                </a:path>
              </a:pathLst>
            </a:custGeom>
            <a:solidFill>
              <a:srgbClr val="FFFFFF"/>
            </a:solidFill>
            <a:ln>
              <a:noFill/>
            </a:ln>
            <a:extLst>
              <a:ext uri="{91240B29-F687-4F45-9708-019B960494DF}">
                <a14:hiddenLine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88" name="ïṧļïḋè">
              <a:extLst>
                <a:ext uri="{FF2B5EF4-FFF2-40B4-BE49-F238E27FC236}">
                  <a16:creationId xmlns:a16="http://schemas.microsoft.com/office/drawing/2014/main" id="{1F8C83A7-28C4-4797-918F-55EAC0E1AEB3}"/>
                </a:ext>
              </a:extLst>
            </p:cNvPr>
            <p:cNvSpPr/>
            <p:nvPr/>
          </p:nvSpPr>
          <p:spPr bwMode="auto">
            <a:xfrm>
              <a:off x="-5718170" y="6923863"/>
              <a:ext cx="328612" cy="319088"/>
            </a:xfrm>
            <a:custGeom>
              <a:gdLst>
                <a:gd fmla="*/ 144 w 144" name="T0"/>
                <a:gd fmla="*/ 137 h 140" name="T1"/>
                <a:gd fmla="*/ 71 w 144" name="T2"/>
                <a:gd fmla="*/ 140 h 140" name="T3"/>
                <a:gd fmla="*/ 0 w 144" name="T4"/>
                <a:gd fmla="*/ 0 h 140" name="T5"/>
                <a:gd fmla="*/ 78 w 144" name="T6"/>
                <a:gd fmla="*/ 10 h 140" name="T7"/>
                <a:gd fmla="*/ 144 w 144" name="T8"/>
                <a:gd fmla="*/ 137 h 140" name="T9"/>
              </a:gdLst>
              <a:cxnLst>
                <a:cxn ang="0">
                  <a:pos x="T0" y="T1"/>
                </a:cxn>
                <a:cxn ang="0">
                  <a:pos x="T2" y="T3"/>
                </a:cxn>
                <a:cxn ang="0">
                  <a:pos x="T4" y="T5"/>
                </a:cxn>
                <a:cxn ang="0">
                  <a:pos x="T6" y="T7"/>
                </a:cxn>
                <a:cxn ang="0">
                  <a:pos x="T8" y="T9"/>
                </a:cxn>
              </a:cxnLst>
              <a:rect b="b" l="0" r="r" t="0"/>
              <a:pathLst>
                <a:path h="140" w="144">
                  <a:moveTo>
                    <a:pt x="144" y="137"/>
                  </a:moveTo>
                  <a:cubicBezTo>
                    <a:pt x="119" y="138"/>
                    <a:pt x="95" y="139"/>
                    <a:pt x="71" y="140"/>
                  </a:cubicBezTo>
                  <a:cubicBezTo>
                    <a:pt x="46" y="93"/>
                    <a:pt x="23" y="46"/>
                    <a:pt x="0" y="0"/>
                  </a:cubicBezTo>
                  <a:cubicBezTo>
                    <a:pt x="26" y="3"/>
                    <a:pt x="52" y="6"/>
                    <a:pt x="78" y="10"/>
                  </a:cubicBezTo>
                  <a:cubicBezTo>
                    <a:pt x="99" y="52"/>
                    <a:pt x="121" y="94"/>
                    <a:pt x="144" y="137"/>
                  </a:cubicBezTo>
                  <a:close/>
                </a:path>
              </a:pathLst>
            </a:custGeom>
            <a:solidFill>
              <a:srgbClr val="FFFFFF"/>
            </a:solidFill>
            <a:ln>
              <a:noFill/>
            </a:ln>
            <a:extLst>
              <a:ext uri="{91240B29-F687-4F45-9708-019B960494DF}">
                <a14:hiddenLine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89" name="í$ḻiḓe">
              <a:extLst>
                <a:ext uri="{FF2B5EF4-FFF2-40B4-BE49-F238E27FC236}">
                  <a16:creationId xmlns:a16="http://schemas.microsoft.com/office/drawing/2014/main" id="{29EF640A-4115-4C64-B730-7317629D4045}"/>
                </a:ext>
              </a:extLst>
            </p:cNvPr>
            <p:cNvSpPr/>
            <p:nvPr/>
          </p:nvSpPr>
          <p:spPr bwMode="auto">
            <a:xfrm>
              <a:off x="-5576882" y="7487427"/>
              <a:ext cx="666751" cy="171450"/>
            </a:xfrm>
            <a:custGeom>
              <a:gdLst>
                <a:gd fmla="*/ 292 w 292" name="T0"/>
                <a:gd fmla="*/ 37 h 75" name="T1"/>
                <a:gd fmla="*/ 283 w 292" name="T2"/>
                <a:gd fmla="*/ 75 h 75" name="T3"/>
                <a:gd fmla="*/ 163 w 292" name="T4"/>
                <a:gd fmla="*/ 56 h 75" name="T5"/>
                <a:gd fmla="*/ 43 w 292" name="T6"/>
                <a:gd fmla="*/ 37 h 75" name="T7"/>
                <a:gd fmla="*/ 0 w 292" name="T8"/>
                <a:gd fmla="*/ 0 h 75" name="T9"/>
                <a:gd fmla="*/ 146 w 292" name="T10"/>
                <a:gd fmla="*/ 19 h 75" name="T11"/>
                <a:gd fmla="*/ 292 w 292" name="T12"/>
                <a:gd fmla="*/ 37 h 75" name="T13"/>
              </a:gdLst>
              <a:cxnLst>
                <a:cxn ang="0">
                  <a:pos x="T0" y="T1"/>
                </a:cxn>
                <a:cxn ang="0">
                  <a:pos x="T2" y="T3"/>
                </a:cxn>
                <a:cxn ang="0">
                  <a:pos x="T4" y="T5"/>
                </a:cxn>
                <a:cxn ang="0">
                  <a:pos x="T6" y="T7"/>
                </a:cxn>
                <a:cxn ang="0">
                  <a:pos x="T8" y="T9"/>
                </a:cxn>
                <a:cxn ang="0">
                  <a:pos x="T10" y="T11"/>
                </a:cxn>
                <a:cxn ang="0">
                  <a:pos x="T12" y="T13"/>
                </a:cxn>
              </a:cxnLst>
              <a:rect b="b" l="0" r="r" t="0"/>
              <a:pathLst>
                <a:path h="75" w="292">
                  <a:moveTo>
                    <a:pt x="292" y="37"/>
                  </a:moveTo>
                  <a:cubicBezTo>
                    <a:pt x="289" y="50"/>
                    <a:pt x="286" y="62"/>
                    <a:pt x="283" y="75"/>
                  </a:cubicBezTo>
                  <a:cubicBezTo>
                    <a:pt x="243" y="69"/>
                    <a:pt x="203" y="62"/>
                    <a:pt x="163" y="56"/>
                  </a:cubicBezTo>
                  <a:cubicBezTo>
                    <a:pt x="123" y="50"/>
                    <a:pt x="83" y="43"/>
                    <a:pt x="43" y="37"/>
                  </a:cubicBezTo>
                  <a:cubicBezTo>
                    <a:pt x="28" y="24"/>
                    <a:pt x="14" y="12"/>
                    <a:pt x="0" y="0"/>
                  </a:cubicBezTo>
                  <a:cubicBezTo>
                    <a:pt x="49" y="6"/>
                    <a:pt x="97" y="12"/>
                    <a:pt x="146" y="19"/>
                  </a:cubicBezTo>
                  <a:cubicBezTo>
                    <a:pt x="194" y="25"/>
                    <a:pt x="243" y="31"/>
                    <a:pt x="292" y="37"/>
                  </a:cubicBezTo>
                  <a:close/>
                </a:path>
              </a:pathLst>
            </a:custGeom>
            <a:solidFill>
              <a:srgbClr val="FFFFFF"/>
            </a:solidFill>
            <a:ln>
              <a:noFill/>
            </a:ln>
            <a:extLst>
              <a:ext uri="{91240B29-F687-4F45-9708-019B960494DF}">
                <a14:hiddenLine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90" name="îṩļíḑê">
              <a:extLst>
                <a:ext uri="{FF2B5EF4-FFF2-40B4-BE49-F238E27FC236}">
                  <a16:creationId xmlns:a16="http://schemas.microsoft.com/office/drawing/2014/main" id="{863B15F3-9DF1-4DB1-A93D-AE9EF4F27658}"/>
                </a:ext>
              </a:extLst>
            </p:cNvPr>
            <p:cNvSpPr/>
            <p:nvPr/>
          </p:nvSpPr>
          <p:spPr bwMode="auto">
            <a:xfrm>
              <a:off x="-5540368" y="6946088"/>
              <a:ext cx="366712" cy="280987"/>
            </a:xfrm>
            <a:custGeom>
              <a:gdLst>
                <a:gd fmla="*/ 115 w 161" name="T0"/>
                <a:gd fmla="*/ 14 h 123" name="T1"/>
                <a:gd fmla="*/ 161 w 161" name="T2"/>
                <a:gd fmla="*/ 123 h 123" name="T3"/>
                <a:gd fmla="*/ 60 w 161" name="T4"/>
                <a:gd fmla="*/ 116 h 123" name="T5"/>
                <a:gd fmla="*/ 0 w 161" name="T6"/>
                <a:gd fmla="*/ 0 h 123" name="T7"/>
                <a:gd fmla="*/ 115 w 161" name="T8"/>
                <a:gd fmla="*/ 14 h 123" name="T9"/>
              </a:gdLst>
              <a:cxnLst>
                <a:cxn ang="0">
                  <a:pos x="T0" y="T1"/>
                </a:cxn>
                <a:cxn ang="0">
                  <a:pos x="T2" y="T3"/>
                </a:cxn>
                <a:cxn ang="0">
                  <a:pos x="T4" y="T5"/>
                </a:cxn>
                <a:cxn ang="0">
                  <a:pos x="T6" y="T7"/>
                </a:cxn>
                <a:cxn ang="0">
                  <a:pos x="T8" y="T9"/>
                </a:cxn>
              </a:cxnLst>
              <a:rect b="b" l="0" r="r" t="0"/>
              <a:pathLst>
                <a:path h="123" w="161">
                  <a:moveTo>
                    <a:pt x="115" y="14"/>
                  </a:moveTo>
                  <a:cubicBezTo>
                    <a:pt x="130" y="50"/>
                    <a:pt x="146" y="87"/>
                    <a:pt x="161" y="123"/>
                  </a:cubicBezTo>
                  <a:cubicBezTo>
                    <a:pt x="128" y="121"/>
                    <a:pt x="94" y="119"/>
                    <a:pt x="60" y="116"/>
                  </a:cubicBezTo>
                  <a:cubicBezTo>
                    <a:pt x="39" y="77"/>
                    <a:pt x="19" y="38"/>
                    <a:pt x="0" y="0"/>
                  </a:cubicBezTo>
                  <a:cubicBezTo>
                    <a:pt x="38" y="5"/>
                    <a:pt x="77" y="9"/>
                    <a:pt x="115" y="14"/>
                  </a:cubicBezTo>
                  <a:close/>
                </a:path>
              </a:pathLst>
            </a:custGeom>
            <a:solidFill>
              <a:srgbClr val="D4CBBA"/>
            </a:solidFill>
            <a:ln>
              <a:noFill/>
            </a:ln>
            <a:extLst>
              <a:ext uri="{91240B29-F687-4F45-9708-019B960494DF}">
                <a14:hiddenLine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91" name="iśḻïḍê">
              <a:extLst>
                <a:ext uri="{FF2B5EF4-FFF2-40B4-BE49-F238E27FC236}">
                  <a16:creationId xmlns:a16="http://schemas.microsoft.com/office/drawing/2014/main" id="{E3A2051C-3F96-4F31-9B18-A688CD06D81D}"/>
                </a:ext>
              </a:extLst>
            </p:cNvPr>
            <p:cNvSpPr/>
            <p:nvPr/>
          </p:nvSpPr>
          <p:spPr bwMode="auto">
            <a:xfrm>
              <a:off x="-6564307" y="8173227"/>
              <a:ext cx="996951" cy="233363"/>
            </a:xfrm>
            <a:custGeom>
              <a:gdLst>
                <a:gd fmla="*/ 12 w 437" name="T0"/>
                <a:gd fmla="*/ 63 h 102" name="T1"/>
                <a:gd fmla="*/ 215 w 437" name="T2"/>
                <a:gd fmla="*/ 32 h 102" name="T3"/>
                <a:gd fmla="*/ 413 w 437" name="T4"/>
                <a:gd fmla="*/ 0 h 102" name="T5"/>
                <a:gd fmla="*/ 437 w 437" name="T6"/>
                <a:gd fmla="*/ 34 h 102" name="T7"/>
                <a:gd fmla="*/ 222 w 437" name="T8"/>
                <a:gd fmla="*/ 68 h 102" name="T9"/>
                <a:gd fmla="*/ 0 w 437" name="T10"/>
                <a:gd fmla="*/ 102 h 102" name="T11"/>
                <a:gd fmla="*/ 12 w 437" name="T12"/>
                <a:gd fmla="*/ 63 h 102" name="T13"/>
              </a:gdLst>
              <a:cxnLst>
                <a:cxn ang="0">
                  <a:pos x="T0" y="T1"/>
                </a:cxn>
                <a:cxn ang="0">
                  <a:pos x="T2" y="T3"/>
                </a:cxn>
                <a:cxn ang="0">
                  <a:pos x="T4" y="T5"/>
                </a:cxn>
                <a:cxn ang="0">
                  <a:pos x="T6" y="T7"/>
                </a:cxn>
                <a:cxn ang="0">
                  <a:pos x="T8" y="T9"/>
                </a:cxn>
                <a:cxn ang="0">
                  <a:pos x="T10" y="T11"/>
                </a:cxn>
                <a:cxn ang="0">
                  <a:pos x="T12" y="T13"/>
                </a:cxn>
              </a:cxnLst>
              <a:rect b="b" l="0" r="r" t="0"/>
              <a:pathLst>
                <a:path h="102" w="437">
                  <a:moveTo>
                    <a:pt x="12" y="63"/>
                  </a:moveTo>
                  <a:cubicBezTo>
                    <a:pt x="80" y="53"/>
                    <a:pt x="148" y="43"/>
                    <a:pt x="215" y="32"/>
                  </a:cubicBezTo>
                  <a:cubicBezTo>
                    <a:pt x="282" y="22"/>
                    <a:pt x="347" y="11"/>
                    <a:pt x="413" y="0"/>
                  </a:cubicBezTo>
                  <a:cubicBezTo>
                    <a:pt x="421" y="11"/>
                    <a:pt x="429" y="23"/>
                    <a:pt x="437" y="34"/>
                  </a:cubicBezTo>
                  <a:cubicBezTo>
                    <a:pt x="366" y="45"/>
                    <a:pt x="294" y="57"/>
                    <a:pt x="222" y="68"/>
                  </a:cubicBezTo>
                  <a:cubicBezTo>
                    <a:pt x="149" y="80"/>
                    <a:pt x="75" y="91"/>
                    <a:pt x="0" y="102"/>
                  </a:cubicBezTo>
                  <a:cubicBezTo>
                    <a:pt x="4" y="89"/>
                    <a:pt x="8" y="76"/>
                    <a:pt x="12" y="63"/>
                  </a:cubicBezTo>
                  <a:close/>
                </a:path>
              </a:pathLst>
            </a:custGeom>
            <a:solidFill>
              <a:srgbClr val="FFFFFF"/>
            </a:solidFill>
            <a:ln>
              <a:noFill/>
            </a:ln>
            <a:extLst>
              <a:ext uri="{91240B29-F687-4F45-9708-019B960494DF}">
                <a14:hiddenLine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92" name="i$ḻïḓê">
              <a:extLst>
                <a:ext uri="{FF2B5EF4-FFF2-40B4-BE49-F238E27FC236}">
                  <a16:creationId xmlns:a16="http://schemas.microsoft.com/office/drawing/2014/main" id="{D9E55AC9-10F8-4C7F-AEDF-3B0B10093866}"/>
                </a:ext>
              </a:extLst>
            </p:cNvPr>
            <p:cNvSpPr/>
            <p:nvPr/>
          </p:nvSpPr>
          <p:spPr bwMode="auto">
            <a:xfrm>
              <a:off x="-6296019" y="8293877"/>
              <a:ext cx="498474" cy="550863"/>
            </a:xfrm>
            <a:custGeom>
              <a:gdLst>
                <a:gd fmla="*/ 218 w 218" name="T0"/>
                <a:gd fmla="*/ 230 h 241" name="T1"/>
                <a:gd fmla="*/ 158 w 218" name="T2"/>
                <a:gd fmla="*/ 241 h 241" name="T3"/>
                <a:gd fmla="*/ 0 w 218" name="T4"/>
                <a:gd fmla="*/ 11 h 241" name="T5"/>
                <a:gd fmla="*/ 59 w 218" name="T6"/>
                <a:gd fmla="*/ 0 h 241" name="T7"/>
                <a:gd fmla="*/ 218 w 218" name="T8"/>
                <a:gd fmla="*/ 230 h 241" name="T9"/>
              </a:gdLst>
              <a:cxnLst>
                <a:cxn ang="0">
                  <a:pos x="T0" y="T1"/>
                </a:cxn>
                <a:cxn ang="0">
                  <a:pos x="T2" y="T3"/>
                </a:cxn>
                <a:cxn ang="0">
                  <a:pos x="T4" y="T5"/>
                </a:cxn>
                <a:cxn ang="0">
                  <a:pos x="T6" y="T7"/>
                </a:cxn>
                <a:cxn ang="0">
                  <a:pos x="T8" y="T9"/>
                </a:cxn>
              </a:cxnLst>
              <a:rect b="b" l="0" r="r" t="0"/>
              <a:pathLst>
                <a:path h="241" w="218">
                  <a:moveTo>
                    <a:pt x="218" y="230"/>
                  </a:moveTo>
                  <a:cubicBezTo>
                    <a:pt x="198" y="234"/>
                    <a:pt x="178" y="238"/>
                    <a:pt x="158" y="241"/>
                  </a:cubicBezTo>
                  <a:cubicBezTo>
                    <a:pt x="103" y="164"/>
                    <a:pt x="50" y="87"/>
                    <a:pt x="0" y="11"/>
                  </a:cubicBezTo>
                  <a:cubicBezTo>
                    <a:pt x="20" y="8"/>
                    <a:pt x="39" y="4"/>
                    <a:pt x="59" y="0"/>
                  </a:cubicBezTo>
                  <a:cubicBezTo>
                    <a:pt x="110" y="76"/>
                    <a:pt x="163" y="153"/>
                    <a:pt x="218" y="230"/>
                  </a:cubicBezTo>
                  <a:close/>
                </a:path>
              </a:pathLst>
            </a:custGeom>
            <a:solidFill>
              <a:srgbClr val="FFFFFF"/>
            </a:solidFill>
            <a:ln>
              <a:noFill/>
            </a:ln>
            <a:extLst>
              <a:ext uri="{91240B29-F687-4F45-9708-019B960494DF}">
                <a14:hiddenLine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93" name="ïṡľídé">
              <a:extLst>
                <a:ext uri="{FF2B5EF4-FFF2-40B4-BE49-F238E27FC236}">
                  <a16:creationId xmlns:a16="http://schemas.microsoft.com/office/drawing/2014/main" id="{9C0EB913-2551-4E9C-900B-7BB1AFF46A28}"/>
                </a:ext>
              </a:extLst>
            </p:cNvPr>
            <p:cNvSpPr/>
            <p:nvPr/>
          </p:nvSpPr>
          <p:spPr bwMode="auto">
            <a:xfrm>
              <a:off x="-6656382" y="8500253"/>
              <a:ext cx="615951" cy="196850"/>
            </a:xfrm>
            <a:custGeom>
              <a:gdLst>
                <a:gd fmla="*/ 14 w 270" name="T0"/>
                <a:gd fmla="*/ 42 h 86" name="T1"/>
                <a:gd fmla="*/ 239 w 270" name="T2"/>
                <a:gd fmla="*/ 0 h 86" name="T3"/>
                <a:gd fmla="*/ 270 w 270" name="T4"/>
                <a:gd fmla="*/ 36 h 86" name="T5"/>
                <a:gd fmla="*/ 137 w 270" name="T6"/>
                <a:gd fmla="*/ 61 h 86" name="T7"/>
                <a:gd fmla="*/ 0 w 270" name="T8"/>
                <a:gd fmla="*/ 86 h 86" name="T9"/>
                <a:gd fmla="*/ 14 w 270" name="T10"/>
                <a:gd fmla="*/ 42 h 86" name="T11"/>
              </a:gdLst>
              <a:cxnLst>
                <a:cxn ang="0">
                  <a:pos x="T0" y="T1"/>
                </a:cxn>
                <a:cxn ang="0">
                  <a:pos x="T2" y="T3"/>
                </a:cxn>
                <a:cxn ang="0">
                  <a:pos x="T4" y="T5"/>
                </a:cxn>
                <a:cxn ang="0">
                  <a:pos x="T6" y="T7"/>
                </a:cxn>
                <a:cxn ang="0">
                  <a:pos x="T8" y="T9"/>
                </a:cxn>
                <a:cxn ang="0">
                  <a:pos x="T10" y="T11"/>
                </a:cxn>
              </a:cxnLst>
              <a:rect b="b" l="0" r="r" t="0"/>
              <a:pathLst>
                <a:path h="86" w="270">
                  <a:moveTo>
                    <a:pt x="14" y="42"/>
                  </a:moveTo>
                  <a:cubicBezTo>
                    <a:pt x="90" y="28"/>
                    <a:pt x="164" y="14"/>
                    <a:pt x="239" y="0"/>
                  </a:cubicBezTo>
                  <a:cubicBezTo>
                    <a:pt x="249" y="12"/>
                    <a:pt x="260" y="24"/>
                    <a:pt x="270" y="36"/>
                  </a:cubicBezTo>
                  <a:cubicBezTo>
                    <a:pt x="226" y="45"/>
                    <a:pt x="181" y="53"/>
                    <a:pt x="137" y="61"/>
                  </a:cubicBezTo>
                  <a:cubicBezTo>
                    <a:pt x="91" y="70"/>
                    <a:pt x="46" y="78"/>
                    <a:pt x="0" y="86"/>
                  </a:cubicBezTo>
                  <a:cubicBezTo>
                    <a:pt x="5" y="71"/>
                    <a:pt x="9" y="57"/>
                    <a:pt x="14" y="42"/>
                  </a:cubicBezTo>
                  <a:close/>
                </a:path>
              </a:pathLst>
            </a:custGeom>
            <a:solidFill>
              <a:srgbClr val="FFFFFF"/>
            </a:solidFill>
            <a:ln>
              <a:noFill/>
            </a:ln>
            <a:extLst>
              <a:ext uri="{91240B29-F687-4F45-9708-019B960494DF}">
                <a14:hiddenLine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94" name="íṩ1îḋè">
              <a:extLst>
                <a:ext uri="{FF2B5EF4-FFF2-40B4-BE49-F238E27FC236}">
                  <a16:creationId xmlns:a16="http://schemas.microsoft.com/office/drawing/2014/main" id="{29E104EC-95F1-483C-9D46-C9411A3F41D7}"/>
                </a:ext>
              </a:extLst>
            </p:cNvPr>
            <p:cNvSpPr/>
            <p:nvPr/>
          </p:nvSpPr>
          <p:spPr bwMode="auto">
            <a:xfrm>
              <a:off x="-6561132" y="8579628"/>
              <a:ext cx="384175" cy="346075"/>
            </a:xfrm>
            <a:custGeom>
              <a:gdLst>
                <a:gd fmla="*/ 168 w 168" name="T0"/>
                <a:gd fmla="*/ 143 h 151" name="T1"/>
                <a:gd fmla="*/ 104 w 168" name="T2"/>
                <a:gd fmla="*/ 151 h 151" name="T3"/>
                <a:gd fmla="*/ 0 w 168" name="T4"/>
                <a:gd fmla="*/ 8 h 151" name="T5"/>
                <a:gd fmla="*/ 63 w 168" name="T6"/>
                <a:gd fmla="*/ 0 h 151" name="T7"/>
                <a:gd fmla="*/ 168 w 168" name="T8"/>
                <a:gd fmla="*/ 143 h 151" name="T9"/>
              </a:gdLst>
              <a:cxnLst>
                <a:cxn ang="0">
                  <a:pos x="T0" y="T1"/>
                </a:cxn>
                <a:cxn ang="0">
                  <a:pos x="T2" y="T3"/>
                </a:cxn>
                <a:cxn ang="0">
                  <a:pos x="T4" y="T5"/>
                </a:cxn>
                <a:cxn ang="0">
                  <a:pos x="T6" y="T7"/>
                </a:cxn>
                <a:cxn ang="0">
                  <a:pos x="T8" y="T9"/>
                </a:cxn>
              </a:cxnLst>
              <a:rect b="b" l="0" r="r" t="0"/>
              <a:pathLst>
                <a:path h="151" w="168">
                  <a:moveTo>
                    <a:pt x="168" y="143"/>
                  </a:moveTo>
                  <a:cubicBezTo>
                    <a:pt x="146" y="146"/>
                    <a:pt x="125" y="148"/>
                    <a:pt x="104" y="151"/>
                  </a:cubicBezTo>
                  <a:cubicBezTo>
                    <a:pt x="68" y="103"/>
                    <a:pt x="34" y="55"/>
                    <a:pt x="0" y="8"/>
                  </a:cubicBezTo>
                  <a:cubicBezTo>
                    <a:pt x="21" y="5"/>
                    <a:pt x="42" y="3"/>
                    <a:pt x="63" y="0"/>
                  </a:cubicBezTo>
                  <a:cubicBezTo>
                    <a:pt x="97" y="48"/>
                    <a:pt x="132" y="95"/>
                    <a:pt x="168" y="143"/>
                  </a:cubicBezTo>
                  <a:close/>
                </a:path>
              </a:pathLst>
            </a:custGeom>
            <a:solidFill>
              <a:srgbClr val="FFFFFF"/>
            </a:solidFill>
            <a:ln>
              <a:noFill/>
            </a:ln>
            <a:extLst>
              <a:ext uri="{91240B29-F687-4F45-9708-019B960494DF}">
                <a14:hiddenLine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95" name="ísľïďê">
              <a:extLst>
                <a:ext uri="{FF2B5EF4-FFF2-40B4-BE49-F238E27FC236}">
                  <a16:creationId xmlns:a16="http://schemas.microsoft.com/office/drawing/2014/main" id="{2CEB7189-9437-4A56-BA32-BD14372C6753}"/>
                </a:ext>
              </a:extLst>
            </p:cNvPr>
            <p:cNvSpPr/>
            <p:nvPr/>
          </p:nvSpPr>
          <p:spPr bwMode="auto">
            <a:xfrm>
              <a:off x="-6370633" y="8595503"/>
              <a:ext cx="393700" cy="247650"/>
            </a:xfrm>
            <a:custGeom>
              <a:gdLst>
                <a:gd fmla="*/ 114 w 173" name="T0"/>
                <a:gd fmla="*/ 0 h 108" name="T1"/>
                <a:gd fmla="*/ 173 w 173" name="T2"/>
                <a:gd fmla="*/ 85 h 108" name="T3"/>
                <a:gd fmla="*/ 120 w 173" name="T4"/>
                <a:gd fmla="*/ 97 h 108" name="T5"/>
                <a:gd fmla="*/ 64 w 173" name="T6"/>
                <a:gd fmla="*/ 108 h 108" name="T7"/>
                <a:gd fmla="*/ 0 w 173" name="T8"/>
                <a:gd fmla="*/ 21 h 108" name="T9"/>
                <a:gd fmla="*/ 114 w 173" name="T10"/>
                <a:gd fmla="*/ 0 h 108" name="T11"/>
              </a:gdLst>
              <a:cxnLst>
                <a:cxn ang="0">
                  <a:pos x="T0" y="T1"/>
                </a:cxn>
                <a:cxn ang="0">
                  <a:pos x="T2" y="T3"/>
                </a:cxn>
                <a:cxn ang="0">
                  <a:pos x="T4" y="T5"/>
                </a:cxn>
                <a:cxn ang="0">
                  <a:pos x="T6" y="T7"/>
                </a:cxn>
                <a:cxn ang="0">
                  <a:pos x="T8" y="T9"/>
                </a:cxn>
                <a:cxn ang="0">
                  <a:pos x="T10" y="T11"/>
                </a:cxn>
              </a:cxnLst>
              <a:rect b="b" l="0" r="r" t="0"/>
              <a:pathLst>
                <a:path h="108" w="173">
                  <a:moveTo>
                    <a:pt x="114" y="0"/>
                  </a:moveTo>
                  <a:cubicBezTo>
                    <a:pt x="133" y="28"/>
                    <a:pt x="153" y="56"/>
                    <a:pt x="173" y="85"/>
                  </a:cubicBezTo>
                  <a:cubicBezTo>
                    <a:pt x="173" y="85"/>
                    <a:pt x="144" y="92"/>
                    <a:pt x="120" y="97"/>
                  </a:cubicBezTo>
                  <a:cubicBezTo>
                    <a:pt x="95" y="102"/>
                    <a:pt x="64" y="108"/>
                    <a:pt x="64" y="108"/>
                  </a:cubicBezTo>
                  <a:cubicBezTo>
                    <a:pt x="42" y="79"/>
                    <a:pt x="21" y="50"/>
                    <a:pt x="0" y="21"/>
                  </a:cubicBezTo>
                  <a:cubicBezTo>
                    <a:pt x="38" y="14"/>
                    <a:pt x="76" y="7"/>
                    <a:pt x="114" y="0"/>
                  </a:cubicBezTo>
                  <a:close/>
                </a:path>
              </a:pathLst>
            </a:custGeom>
            <a:solidFill>
              <a:srgbClr val="808080"/>
            </a:solidFill>
            <a:ln>
              <a:noFill/>
            </a:ln>
            <a:extLst>
              <a:ext uri="{91240B29-F687-4F45-9708-019B960494DF}">
                <a14:hiddenLine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96" name="îs1îḓé">
              <a:extLst>
                <a:ext uri="{FF2B5EF4-FFF2-40B4-BE49-F238E27FC236}">
                  <a16:creationId xmlns:a16="http://schemas.microsoft.com/office/drawing/2014/main" id="{5A8A6BC5-52F9-44EC-9439-59B4AE583AA0}"/>
                </a:ext>
              </a:extLst>
            </p:cNvPr>
            <p:cNvSpPr/>
            <p:nvPr/>
          </p:nvSpPr>
          <p:spPr bwMode="auto">
            <a:xfrm>
              <a:off x="-4552945" y="7709678"/>
              <a:ext cx="60325" cy="6350"/>
            </a:xfrm>
            <a:custGeom>
              <a:gdLst>
                <a:gd fmla="*/ 0 w 26" name="T0"/>
                <a:gd fmla="*/ 0 h 3" name="T1"/>
                <a:gd fmla="*/ 26 w 26" name="T2"/>
                <a:gd fmla="*/ 3 h 3" name="T3"/>
                <a:gd fmla="*/ 26 w 26" name="T4"/>
                <a:gd fmla="*/ 0 h 3" name="T5"/>
                <a:gd fmla="*/ 0 w 26" name="T6"/>
                <a:gd fmla="*/ 0 h 3" name="T7"/>
              </a:gdLst>
              <a:cxnLst>
                <a:cxn ang="0">
                  <a:pos x="T0" y="T1"/>
                </a:cxn>
                <a:cxn ang="0">
                  <a:pos x="T2" y="T3"/>
                </a:cxn>
                <a:cxn ang="0">
                  <a:pos x="T4" y="T5"/>
                </a:cxn>
                <a:cxn ang="0">
                  <a:pos x="T6" y="T7"/>
                </a:cxn>
              </a:cxnLst>
              <a:rect b="b" l="0" r="r" t="0"/>
              <a:pathLst>
                <a:path h="3" w="26">
                  <a:moveTo>
                    <a:pt x="0" y="0"/>
                  </a:moveTo>
                  <a:cubicBezTo>
                    <a:pt x="9" y="1"/>
                    <a:pt x="17" y="2"/>
                    <a:pt x="26" y="3"/>
                  </a:cubicBezTo>
                  <a:cubicBezTo>
                    <a:pt x="26" y="2"/>
                    <a:pt x="26" y="1"/>
                    <a:pt x="26" y="0"/>
                  </a:cubicBezTo>
                  <a:cubicBezTo>
                    <a:pt x="17" y="0"/>
                    <a:pt x="9" y="0"/>
                    <a:pt x="0" y="0"/>
                  </a:cubicBezTo>
                  <a:close/>
                </a:path>
              </a:pathLst>
            </a:custGeom>
            <a:solidFill>
              <a:srgbClr val="D4CBBA"/>
            </a:solidFill>
            <a:ln>
              <a:noFill/>
            </a:ln>
            <a:extLst>
              <a:ext uri="{91240B29-F687-4F45-9708-019B960494DF}">
                <a14:hiddenLine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97" name="ï$ľîḑe">
              <a:extLst>
                <a:ext uri="{FF2B5EF4-FFF2-40B4-BE49-F238E27FC236}">
                  <a16:creationId xmlns:a16="http://schemas.microsoft.com/office/drawing/2014/main" id="{BD325418-2AB0-4312-A7FC-C5D4A07990BE}"/>
                </a:ext>
              </a:extLst>
            </p:cNvPr>
            <p:cNvSpPr/>
            <p:nvPr/>
          </p:nvSpPr>
          <p:spPr bwMode="auto">
            <a:xfrm>
              <a:off x="-6375394" y="7133414"/>
              <a:ext cx="704851" cy="752476"/>
            </a:xfrm>
            <a:custGeom>
              <a:gdLst>
                <a:gd fmla="*/ 134 w 444" name="T0"/>
                <a:gd fmla="*/ 0 h 474" name="T1"/>
                <a:gd fmla="*/ 444 w 444" name="T2"/>
                <a:gd fmla="*/ 216 h 474" name="T3"/>
                <a:gd fmla="*/ 382 w 444" name="T4"/>
                <a:gd fmla="*/ 474 h 474" name="T5"/>
                <a:gd fmla="*/ 0 w 444" name="T6"/>
                <a:gd fmla="*/ 422 h 474" name="T7"/>
                <a:gd fmla="*/ 134 w 444" name="T8"/>
                <a:gd fmla="*/ 0 h 474" name="T9"/>
              </a:gdLst>
              <a:cxnLst>
                <a:cxn ang="0">
                  <a:pos x="T0" y="T1"/>
                </a:cxn>
                <a:cxn ang="0">
                  <a:pos x="T2" y="T3"/>
                </a:cxn>
                <a:cxn ang="0">
                  <a:pos x="T4" y="T5"/>
                </a:cxn>
                <a:cxn ang="0">
                  <a:pos x="T6" y="T7"/>
                </a:cxn>
                <a:cxn ang="0">
                  <a:pos x="T8" y="T9"/>
                </a:cxn>
              </a:cxnLst>
              <a:rect b="b" l="0" r="r" t="0"/>
              <a:pathLst>
                <a:path h="473" w="443">
                  <a:moveTo>
                    <a:pt x="134" y="0"/>
                  </a:moveTo>
                  <a:lnTo>
                    <a:pt x="444" y="216"/>
                  </a:lnTo>
                  <a:lnTo>
                    <a:pt x="382" y="474"/>
                  </a:lnTo>
                  <a:lnTo>
                    <a:pt x="0" y="422"/>
                  </a:lnTo>
                  <a:lnTo>
                    <a:pt x="134" y="0"/>
                  </a:lnTo>
                  <a:close/>
                </a:path>
              </a:pathLst>
            </a:custGeom>
            <a:solidFill>
              <a:srgbClr val="B2B2B2"/>
            </a:solidFill>
            <a:ln>
              <a:noFill/>
            </a:ln>
            <a:extLst>
              <a:ext uri="{91240B29-F687-4F45-9708-019B960494DF}">
                <a14:hiddenLine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98" name="íṥľiḋè">
              <a:extLst>
                <a:ext uri="{FF2B5EF4-FFF2-40B4-BE49-F238E27FC236}">
                  <a16:creationId xmlns:a16="http://schemas.microsoft.com/office/drawing/2014/main" id="{918AC052-1404-4D17-9D9C-7954EA6A2337}"/>
                </a:ext>
              </a:extLst>
            </p:cNvPr>
            <p:cNvSpPr/>
            <p:nvPr/>
          </p:nvSpPr>
          <p:spPr bwMode="auto">
            <a:xfrm>
              <a:off x="-5784845" y="7449327"/>
              <a:ext cx="192088" cy="458788"/>
            </a:xfrm>
            <a:custGeom>
              <a:gdLst>
                <a:gd fmla="*/ 121 w 121" name="T0"/>
                <a:gd fmla="*/ 31 h 289" name="T1"/>
                <a:gd fmla="*/ 50 w 121" name="T2"/>
                <a:gd fmla="*/ 289 h 289" name="T3"/>
                <a:gd fmla="*/ 0 w 121" name="T4"/>
                <a:gd fmla="*/ 280 h 289" name="T5"/>
                <a:gd fmla="*/ 75 w 121" name="T6"/>
                <a:gd fmla="*/ 0 h 289" name="T7"/>
                <a:gd fmla="*/ 121 w 121" name="T8"/>
                <a:gd fmla="*/ 31 h 289" name="T9"/>
              </a:gdLst>
              <a:cxnLst>
                <a:cxn ang="0">
                  <a:pos x="T0" y="T1"/>
                </a:cxn>
                <a:cxn ang="0">
                  <a:pos x="T2" y="T3"/>
                </a:cxn>
                <a:cxn ang="0">
                  <a:pos x="T4" y="T5"/>
                </a:cxn>
                <a:cxn ang="0">
                  <a:pos x="T6" y="T7"/>
                </a:cxn>
                <a:cxn ang="0">
                  <a:pos x="T8" y="T9"/>
                </a:cxn>
              </a:cxnLst>
              <a:rect b="b" l="0" r="r" t="0"/>
              <a:pathLst>
                <a:path h="289" w="120">
                  <a:moveTo>
                    <a:pt x="121" y="31"/>
                  </a:moveTo>
                  <a:lnTo>
                    <a:pt x="50" y="289"/>
                  </a:lnTo>
                  <a:lnTo>
                    <a:pt x="0" y="280"/>
                  </a:lnTo>
                  <a:lnTo>
                    <a:pt x="75" y="0"/>
                  </a:lnTo>
                  <a:lnTo>
                    <a:pt x="121" y="31"/>
                  </a:lnTo>
                  <a:close/>
                </a:path>
              </a:pathLst>
            </a:custGeom>
            <a:solidFill>
              <a:srgbClr val="FFFFFF"/>
            </a:solidFill>
            <a:ln>
              <a:noFill/>
            </a:ln>
            <a:extLst>
              <a:ext uri="{91240B29-F687-4F45-9708-019B960494DF}">
                <a14:hiddenLine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99" name="ïsľïde">
              <a:extLst>
                <a:ext uri="{FF2B5EF4-FFF2-40B4-BE49-F238E27FC236}">
                  <a16:creationId xmlns:a16="http://schemas.microsoft.com/office/drawing/2014/main" id="{7514D84C-2823-44BB-9140-334E7BB8594D}"/>
                </a:ext>
              </a:extLst>
            </p:cNvPr>
            <p:cNvSpPr/>
            <p:nvPr/>
          </p:nvSpPr>
          <p:spPr bwMode="auto">
            <a:xfrm>
              <a:off x="-6162670" y="7038163"/>
              <a:ext cx="1368425" cy="941388"/>
            </a:xfrm>
            <a:custGeom>
              <a:gdLst>
                <a:gd fmla="*/ 13 w 600" name="T0"/>
                <a:gd fmla="*/ 0 h 412" name="T1"/>
                <a:gd fmla="*/ 0 w 600" name="T2"/>
                <a:gd fmla="*/ 42 h 412" name="T3"/>
                <a:gd fmla="*/ 555 w 600" name="T4"/>
                <a:gd fmla="*/ 412 h 412" name="T5"/>
                <a:gd fmla="*/ 600 w 600" name="T6"/>
                <a:gd fmla="*/ 391 h 412" name="T7"/>
                <a:gd fmla="*/ 13 w 600" name="T8"/>
                <a:gd fmla="*/ 0 h 412" name="T9"/>
              </a:gdLst>
              <a:cxnLst>
                <a:cxn ang="0">
                  <a:pos x="T0" y="T1"/>
                </a:cxn>
                <a:cxn ang="0">
                  <a:pos x="T2" y="T3"/>
                </a:cxn>
                <a:cxn ang="0">
                  <a:pos x="T4" y="T5"/>
                </a:cxn>
                <a:cxn ang="0">
                  <a:pos x="T6" y="T7"/>
                </a:cxn>
                <a:cxn ang="0">
                  <a:pos x="T8" y="T9"/>
                </a:cxn>
              </a:cxnLst>
              <a:rect b="b" l="0" r="r" t="0"/>
              <a:pathLst>
                <a:path h="412" w="600">
                  <a:moveTo>
                    <a:pt x="13" y="0"/>
                  </a:moveTo>
                  <a:cubicBezTo>
                    <a:pt x="0" y="42"/>
                    <a:pt x="0" y="42"/>
                    <a:pt x="0" y="42"/>
                  </a:cubicBezTo>
                  <a:cubicBezTo>
                    <a:pt x="181" y="172"/>
                    <a:pt x="366" y="295"/>
                    <a:pt x="555" y="412"/>
                  </a:cubicBezTo>
                  <a:cubicBezTo>
                    <a:pt x="566" y="403"/>
                    <a:pt x="583" y="396"/>
                    <a:pt x="600" y="391"/>
                  </a:cubicBezTo>
                  <a:cubicBezTo>
                    <a:pt x="400" y="263"/>
                    <a:pt x="204" y="132"/>
                    <a:pt x="13" y="0"/>
                  </a:cubicBezTo>
                  <a:close/>
                </a:path>
              </a:pathLst>
            </a:custGeom>
            <a:solidFill>
              <a:srgbClr val="FDB836"/>
            </a:solidFill>
            <a:ln>
              <a:noFill/>
            </a:ln>
            <a:extLst>
              <a:ext uri="{91240B29-F687-4F45-9708-019B960494DF}">
                <a14:hiddenLine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100" name="ïṣ1íḍè">
              <a:extLst>
                <a:ext uri="{FF2B5EF4-FFF2-40B4-BE49-F238E27FC236}">
                  <a16:creationId xmlns:a16="http://schemas.microsoft.com/office/drawing/2014/main" id="{6937669A-7661-4B4A-86EC-E51B90A3A1E5}"/>
                </a:ext>
              </a:extLst>
            </p:cNvPr>
            <p:cNvSpPr/>
            <p:nvPr/>
          </p:nvSpPr>
          <p:spPr bwMode="auto">
            <a:xfrm>
              <a:off x="-6162670" y="7038163"/>
              <a:ext cx="1276351" cy="881064"/>
            </a:xfrm>
            <a:custGeom>
              <a:gdLst>
                <a:gd fmla="*/ 0 w 560" name="T0"/>
                <a:gd fmla="*/ 42 h 386" name="T1"/>
                <a:gd fmla="*/ 56 w 560" name="T2"/>
                <a:gd fmla="*/ 82 h 386" name="T3"/>
                <a:gd fmla="*/ 56 w 560" name="T4"/>
                <a:gd fmla="*/ 82 h 386" name="T5"/>
                <a:gd fmla="*/ 0 w 560" name="T6"/>
                <a:gd fmla="*/ 42 h 386" name="T7"/>
                <a:gd fmla="*/ 56 w 560" name="T8"/>
                <a:gd fmla="*/ 31 h 386" name="T9"/>
                <a:gd fmla="*/ 56 w 560" name="T10"/>
                <a:gd fmla="*/ 30 h 386" name="T11"/>
                <a:gd fmla="*/ 13 w 560" name="T12"/>
                <a:gd fmla="*/ 0 h 386" name="T13"/>
                <a:gd fmla="*/ 56 w 560" name="T14"/>
                <a:gd fmla="*/ 31 h 386" name="T15"/>
                <a:gd fmla="*/ 56 w 560" name="T16"/>
                <a:gd fmla="*/ 82 h 386" name="T17"/>
                <a:gd fmla="*/ 233 w 560" name="T18"/>
                <a:gd fmla="*/ 204 h 386" name="T19"/>
                <a:gd fmla="*/ 233 w 560" name="T20"/>
                <a:gd fmla="*/ 203 h 386" name="T21"/>
                <a:gd fmla="*/ 56 w 560" name="T22"/>
                <a:gd fmla="*/ 82 h 386" name="T23"/>
                <a:gd fmla="*/ 56 w 560" name="T24"/>
                <a:gd fmla="*/ 82 h 386" name="T25"/>
                <a:gd fmla="*/ 56 w 560" name="T26"/>
                <a:gd fmla="*/ 30 h 386" name="T27"/>
                <a:gd fmla="*/ 56 w 560" name="T28"/>
                <a:gd fmla="*/ 31 h 386" name="T29"/>
                <a:gd fmla="*/ 97 w 560" name="T30"/>
                <a:gd fmla="*/ 60 h 386" name="T31"/>
                <a:gd fmla="*/ 100 w 560" name="T32"/>
                <a:gd fmla="*/ 60 h 386" name="T33"/>
                <a:gd fmla="*/ 56 w 560" name="T34"/>
                <a:gd fmla="*/ 30 h 386" name="T35"/>
                <a:gd fmla="*/ 233 w 560" name="T36"/>
                <a:gd fmla="*/ 153 h 386" name="T37"/>
                <a:gd fmla="*/ 151 w 560" name="T38"/>
                <a:gd fmla="*/ 97 h 386" name="T39"/>
                <a:gd fmla="*/ 155 w 560" name="T40"/>
                <a:gd fmla="*/ 98 h 386" name="T41"/>
                <a:gd fmla="*/ 233 w 560" name="T42"/>
                <a:gd fmla="*/ 150 h 386" name="T43"/>
                <a:gd fmla="*/ 233 w 560" name="T44"/>
                <a:gd fmla="*/ 153 h 386" name="T45"/>
                <a:gd fmla="*/ 233 w 560" name="T46"/>
                <a:gd fmla="*/ 204 h 386" name="T47"/>
                <a:gd fmla="*/ 442 w 560" name="T48"/>
                <a:gd fmla="*/ 341 h 386" name="T49"/>
                <a:gd fmla="*/ 442 w 560" name="T50"/>
                <a:gd fmla="*/ 340 h 386" name="T51"/>
                <a:gd fmla="*/ 337 w 560" name="T52"/>
                <a:gd fmla="*/ 272 h 386" name="T53"/>
                <a:gd fmla="*/ 233 w 560" name="T54"/>
                <a:gd fmla="*/ 203 h 386" name="T55"/>
                <a:gd fmla="*/ 233 w 560" name="T56"/>
                <a:gd fmla="*/ 204 h 386" name="T57"/>
                <a:gd fmla="*/ 233 w 560" name="T58"/>
                <a:gd fmla="*/ 150 h 386" name="T59"/>
                <a:gd fmla="*/ 314 w 560" name="T60"/>
                <a:gd fmla="*/ 204 h 386" name="T61"/>
                <a:gd fmla="*/ 307 w 560" name="T62"/>
                <a:gd fmla="*/ 203 h 386" name="T63"/>
                <a:gd fmla="*/ 233 w 560" name="T64"/>
                <a:gd fmla="*/ 153 h 386" name="T65"/>
                <a:gd fmla="*/ 233 w 560" name="T66"/>
                <a:gd fmla="*/ 150 h 386" name="T67"/>
                <a:gd fmla="*/ 442 w 560" name="T68"/>
                <a:gd fmla="*/ 292 h 386" name="T69"/>
                <a:gd fmla="*/ 370 w 560" name="T70"/>
                <a:gd fmla="*/ 245 h 386" name="T71"/>
                <a:gd fmla="*/ 377 w 560" name="T72"/>
                <a:gd fmla="*/ 246 h 386" name="T73"/>
                <a:gd fmla="*/ 442 w 560" name="T74"/>
                <a:gd fmla="*/ 289 h 386" name="T75"/>
                <a:gd fmla="*/ 442 w 560" name="T76"/>
                <a:gd fmla="*/ 292 h 386" name="T77"/>
                <a:gd fmla="*/ 442 w 560" name="T78"/>
                <a:gd fmla="*/ 341 h 386" name="T79"/>
                <a:gd fmla="*/ 514 w 560" name="T80"/>
                <a:gd fmla="*/ 386 h 386" name="T81"/>
                <a:gd fmla="*/ 515 w 560" name="T82"/>
                <a:gd fmla="*/ 386 h 386" name="T83"/>
                <a:gd fmla="*/ 442 w 560" name="T84"/>
                <a:gd fmla="*/ 340 h 386" name="T85"/>
                <a:gd fmla="*/ 442 w 560" name="T86"/>
                <a:gd fmla="*/ 341 h 386" name="T87"/>
                <a:gd fmla="*/ 442 w 560" name="T88"/>
                <a:gd fmla="*/ 289 h 386" name="T89"/>
                <a:gd fmla="*/ 560 w 560" name="T90"/>
                <a:gd fmla="*/ 365 h 386" name="T91"/>
                <a:gd fmla="*/ 559 w 560" name="T92"/>
                <a:gd fmla="*/ 366 h 386" name="T93"/>
                <a:gd fmla="*/ 442 w 560" name="T94"/>
                <a:gd fmla="*/ 292 h 386" name="T95"/>
                <a:gd fmla="*/ 442 w 560" name="T96"/>
                <a:gd fmla="*/ 289 h 386" name="T9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b="b" l="0" r="r" t="0"/>
              <a:pathLst>
                <a:path h="386" w="560">
                  <a:moveTo>
                    <a:pt x="0" y="42"/>
                  </a:moveTo>
                  <a:cubicBezTo>
                    <a:pt x="18" y="56"/>
                    <a:pt x="37" y="69"/>
                    <a:pt x="56" y="82"/>
                  </a:cubicBezTo>
                  <a:cubicBezTo>
                    <a:pt x="56" y="82"/>
                    <a:pt x="56" y="82"/>
                    <a:pt x="56" y="82"/>
                  </a:cubicBezTo>
                  <a:cubicBezTo>
                    <a:pt x="37" y="69"/>
                    <a:pt x="18" y="55"/>
                    <a:pt x="0" y="42"/>
                  </a:cubicBezTo>
                  <a:close/>
                  <a:moveTo>
                    <a:pt x="56" y="31"/>
                  </a:moveTo>
                  <a:cubicBezTo>
                    <a:pt x="56" y="30"/>
                    <a:pt x="56" y="30"/>
                    <a:pt x="56" y="30"/>
                  </a:cubicBezTo>
                  <a:cubicBezTo>
                    <a:pt x="42" y="20"/>
                    <a:pt x="27" y="10"/>
                    <a:pt x="13" y="0"/>
                  </a:cubicBezTo>
                  <a:cubicBezTo>
                    <a:pt x="27" y="10"/>
                    <a:pt x="42" y="20"/>
                    <a:pt x="56" y="31"/>
                  </a:cubicBezTo>
                  <a:close/>
                  <a:moveTo>
                    <a:pt x="56" y="82"/>
                  </a:moveTo>
                  <a:cubicBezTo>
                    <a:pt x="115" y="123"/>
                    <a:pt x="173" y="164"/>
                    <a:pt x="233" y="204"/>
                  </a:cubicBezTo>
                  <a:cubicBezTo>
                    <a:pt x="233" y="203"/>
                    <a:pt x="233" y="203"/>
                    <a:pt x="233" y="203"/>
                  </a:cubicBezTo>
                  <a:cubicBezTo>
                    <a:pt x="173" y="163"/>
                    <a:pt x="114" y="122"/>
                    <a:pt x="56" y="82"/>
                  </a:cubicBezTo>
                  <a:cubicBezTo>
                    <a:pt x="56" y="82"/>
                    <a:pt x="56" y="82"/>
                    <a:pt x="56" y="82"/>
                  </a:cubicBezTo>
                  <a:close/>
                  <a:moveTo>
                    <a:pt x="56" y="30"/>
                  </a:moveTo>
                  <a:cubicBezTo>
                    <a:pt x="56" y="31"/>
                    <a:pt x="56" y="31"/>
                    <a:pt x="56" y="31"/>
                  </a:cubicBezTo>
                  <a:cubicBezTo>
                    <a:pt x="70" y="40"/>
                    <a:pt x="83" y="50"/>
                    <a:pt x="97" y="60"/>
                  </a:cubicBezTo>
                  <a:cubicBezTo>
                    <a:pt x="100" y="60"/>
                    <a:pt x="100" y="60"/>
                    <a:pt x="100" y="60"/>
                  </a:cubicBezTo>
                  <a:cubicBezTo>
                    <a:pt x="85" y="50"/>
                    <a:pt x="71" y="40"/>
                    <a:pt x="56" y="30"/>
                  </a:cubicBezTo>
                  <a:close/>
                  <a:moveTo>
                    <a:pt x="233" y="153"/>
                  </a:moveTo>
                  <a:cubicBezTo>
                    <a:pt x="205" y="135"/>
                    <a:pt x="178" y="116"/>
                    <a:pt x="151" y="97"/>
                  </a:cubicBezTo>
                  <a:cubicBezTo>
                    <a:pt x="155" y="98"/>
                    <a:pt x="155" y="98"/>
                    <a:pt x="155" y="98"/>
                  </a:cubicBezTo>
                  <a:cubicBezTo>
                    <a:pt x="181" y="115"/>
                    <a:pt x="207" y="133"/>
                    <a:pt x="233" y="150"/>
                  </a:cubicBezTo>
                  <a:lnTo>
                    <a:pt x="233" y="153"/>
                  </a:lnTo>
                  <a:close/>
                  <a:moveTo>
                    <a:pt x="233" y="204"/>
                  </a:moveTo>
                  <a:cubicBezTo>
                    <a:pt x="302" y="250"/>
                    <a:pt x="372" y="296"/>
                    <a:pt x="442" y="341"/>
                  </a:cubicBezTo>
                  <a:cubicBezTo>
                    <a:pt x="442" y="340"/>
                    <a:pt x="442" y="340"/>
                    <a:pt x="442" y="340"/>
                  </a:cubicBezTo>
                  <a:cubicBezTo>
                    <a:pt x="407" y="318"/>
                    <a:pt x="371" y="295"/>
                    <a:pt x="337" y="272"/>
                  </a:cubicBezTo>
                  <a:cubicBezTo>
                    <a:pt x="301" y="249"/>
                    <a:pt x="267" y="226"/>
                    <a:pt x="233" y="203"/>
                  </a:cubicBezTo>
                  <a:cubicBezTo>
                    <a:pt x="233" y="204"/>
                    <a:pt x="233" y="204"/>
                    <a:pt x="233" y="204"/>
                  </a:cubicBezTo>
                  <a:close/>
                  <a:moveTo>
                    <a:pt x="233" y="150"/>
                  </a:moveTo>
                  <a:cubicBezTo>
                    <a:pt x="260" y="168"/>
                    <a:pt x="287" y="186"/>
                    <a:pt x="314" y="204"/>
                  </a:cubicBezTo>
                  <a:cubicBezTo>
                    <a:pt x="307" y="203"/>
                    <a:pt x="307" y="203"/>
                    <a:pt x="307" y="203"/>
                  </a:cubicBezTo>
                  <a:cubicBezTo>
                    <a:pt x="282" y="187"/>
                    <a:pt x="257" y="170"/>
                    <a:pt x="233" y="153"/>
                  </a:cubicBezTo>
                  <a:cubicBezTo>
                    <a:pt x="233" y="150"/>
                    <a:pt x="233" y="150"/>
                    <a:pt x="233" y="150"/>
                  </a:cubicBezTo>
                  <a:close/>
                  <a:moveTo>
                    <a:pt x="442" y="292"/>
                  </a:moveTo>
                  <a:cubicBezTo>
                    <a:pt x="418" y="276"/>
                    <a:pt x="394" y="261"/>
                    <a:pt x="370" y="245"/>
                  </a:cubicBezTo>
                  <a:cubicBezTo>
                    <a:pt x="377" y="246"/>
                    <a:pt x="377" y="246"/>
                    <a:pt x="377" y="246"/>
                  </a:cubicBezTo>
                  <a:cubicBezTo>
                    <a:pt x="399" y="260"/>
                    <a:pt x="420" y="275"/>
                    <a:pt x="442" y="289"/>
                  </a:cubicBezTo>
                  <a:lnTo>
                    <a:pt x="442" y="292"/>
                  </a:lnTo>
                  <a:close/>
                  <a:moveTo>
                    <a:pt x="442" y="341"/>
                  </a:moveTo>
                  <a:cubicBezTo>
                    <a:pt x="466" y="356"/>
                    <a:pt x="490" y="371"/>
                    <a:pt x="514" y="386"/>
                  </a:cubicBezTo>
                  <a:cubicBezTo>
                    <a:pt x="515" y="386"/>
                    <a:pt x="515" y="386"/>
                    <a:pt x="515" y="386"/>
                  </a:cubicBezTo>
                  <a:cubicBezTo>
                    <a:pt x="490" y="371"/>
                    <a:pt x="466" y="355"/>
                    <a:pt x="442" y="340"/>
                  </a:cubicBezTo>
                  <a:cubicBezTo>
                    <a:pt x="442" y="341"/>
                    <a:pt x="442" y="341"/>
                    <a:pt x="442" y="341"/>
                  </a:cubicBezTo>
                  <a:close/>
                  <a:moveTo>
                    <a:pt x="442" y="289"/>
                  </a:moveTo>
                  <a:cubicBezTo>
                    <a:pt x="481" y="314"/>
                    <a:pt x="521" y="340"/>
                    <a:pt x="560" y="365"/>
                  </a:cubicBezTo>
                  <a:cubicBezTo>
                    <a:pt x="559" y="366"/>
                    <a:pt x="559" y="366"/>
                    <a:pt x="559" y="366"/>
                  </a:cubicBezTo>
                  <a:cubicBezTo>
                    <a:pt x="519" y="341"/>
                    <a:pt x="481" y="317"/>
                    <a:pt x="442" y="292"/>
                  </a:cubicBezTo>
                  <a:lnTo>
                    <a:pt x="442" y="289"/>
                  </a:lnTo>
                  <a:close/>
                </a:path>
              </a:pathLst>
            </a:custGeom>
            <a:solidFill>
              <a:srgbClr val="FDB836"/>
            </a:solidFill>
            <a:ln>
              <a:noFill/>
            </a:ln>
            <a:extLst>
              <a:ext uri="{91240B29-F687-4F45-9708-019B960494DF}">
                <a14:hiddenLine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101" name="íśliḍé">
              <a:extLst>
                <a:ext uri="{FF2B5EF4-FFF2-40B4-BE49-F238E27FC236}">
                  <a16:creationId xmlns:a16="http://schemas.microsoft.com/office/drawing/2014/main" id="{CBE2E9EE-796A-49D2-9DF7-17A3A7AD91FC}"/>
                </a:ext>
              </a:extLst>
            </p:cNvPr>
            <p:cNvSpPr/>
            <p:nvPr/>
          </p:nvSpPr>
          <p:spPr bwMode="auto">
            <a:xfrm>
              <a:off x="-4527544" y="8100202"/>
              <a:ext cx="1649413" cy="438151"/>
            </a:xfrm>
            <a:custGeom>
              <a:gdLst>
                <a:gd fmla="*/ 0 w 723" name="T0"/>
                <a:gd fmla="*/ 0 h 192" name="T1"/>
                <a:gd fmla="*/ 0 w 723" name="T2"/>
                <a:gd fmla="*/ 0 h 192" name="T3"/>
                <a:gd fmla="*/ 0 w 723" name="T4"/>
                <a:gd fmla="*/ 4 h 192" name="T5"/>
                <a:gd fmla="*/ 0 w 723" name="T6"/>
                <a:gd fmla="*/ 0 h 192" name="T7"/>
                <a:gd fmla="*/ 39 w 723" name="T8"/>
                <a:gd fmla="*/ 10 h 192" name="T9"/>
                <a:gd fmla="*/ 719 w 723" name="T10"/>
                <a:gd fmla="*/ 149 h 192" name="T11"/>
                <a:gd fmla="*/ 723 w 723" name="T12"/>
                <a:gd fmla="*/ 192 h 192" name="T13"/>
                <a:gd fmla="*/ 7 w 723" name="T14"/>
                <a:gd fmla="*/ 46 h 192" name="T15"/>
                <a:gd fmla="*/ 39 w 723" name="T16"/>
                <a:gd fmla="*/ 10 h 192" name="T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b="b" l="0" r="r" t="0"/>
              <a:pathLst>
                <a:path h="192" w="723">
                  <a:moveTo>
                    <a:pt x="0" y="0"/>
                  </a:moveTo>
                  <a:cubicBezTo>
                    <a:pt x="0" y="0"/>
                    <a:pt x="0" y="0"/>
                    <a:pt x="0" y="0"/>
                  </a:cubicBezTo>
                  <a:cubicBezTo>
                    <a:pt x="0" y="4"/>
                    <a:pt x="0" y="4"/>
                    <a:pt x="0" y="4"/>
                  </a:cubicBezTo>
                  <a:cubicBezTo>
                    <a:pt x="0" y="0"/>
                    <a:pt x="0" y="0"/>
                    <a:pt x="0" y="0"/>
                  </a:cubicBezTo>
                  <a:close/>
                  <a:moveTo>
                    <a:pt x="39" y="10"/>
                  </a:moveTo>
                  <a:cubicBezTo>
                    <a:pt x="265" y="63"/>
                    <a:pt x="492" y="109"/>
                    <a:pt x="719" y="149"/>
                  </a:cubicBezTo>
                  <a:cubicBezTo>
                    <a:pt x="723" y="192"/>
                    <a:pt x="723" y="192"/>
                    <a:pt x="723" y="192"/>
                  </a:cubicBezTo>
                  <a:cubicBezTo>
                    <a:pt x="487" y="151"/>
                    <a:pt x="248" y="103"/>
                    <a:pt x="7" y="46"/>
                  </a:cubicBezTo>
                  <a:cubicBezTo>
                    <a:pt x="20" y="35"/>
                    <a:pt x="31" y="22"/>
                    <a:pt x="39" y="10"/>
                  </a:cubicBezTo>
                  <a:close/>
                </a:path>
              </a:pathLst>
            </a:custGeom>
            <a:solidFill>
              <a:srgbClr val="CB952F"/>
            </a:solidFill>
            <a:ln>
              <a:noFill/>
            </a:ln>
            <a:extLst>
              <a:ext uri="{91240B29-F687-4F45-9708-019B960494DF}">
                <a14:hiddenLine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102" name="ïṡļïḑê">
              <a:extLst>
                <a:ext uri="{FF2B5EF4-FFF2-40B4-BE49-F238E27FC236}">
                  <a16:creationId xmlns:a16="http://schemas.microsoft.com/office/drawing/2014/main" id="{046BCBC2-BB9F-44A3-8486-3CA2CD007F66}"/>
                </a:ext>
              </a:extLst>
            </p:cNvPr>
            <p:cNvSpPr/>
            <p:nvPr/>
          </p:nvSpPr>
          <p:spPr bwMode="auto">
            <a:xfrm>
              <a:off x="-2887656" y="8439928"/>
              <a:ext cx="774701" cy="487363"/>
            </a:xfrm>
            <a:custGeom>
              <a:gdLst>
                <a:gd fmla="*/ 0 w 488" name="T0"/>
                <a:gd fmla="*/ 0 h 307" name="T1"/>
                <a:gd fmla="*/ 6 w 488" name="T2"/>
                <a:gd fmla="*/ 62 h 307" name="T3"/>
                <a:gd fmla="*/ 344 w 488" name="T4"/>
                <a:gd fmla="*/ 274 h 307" name="T5"/>
                <a:gd fmla="*/ 488 w 488" name="T6"/>
                <a:gd fmla="*/ 307 h 307" name="T7"/>
                <a:gd fmla="*/ 0 w 488" name="T8"/>
                <a:gd fmla="*/ 0 h 307" name="T9"/>
              </a:gdLst>
              <a:cxnLst>
                <a:cxn ang="0">
                  <a:pos x="T0" y="T1"/>
                </a:cxn>
                <a:cxn ang="0">
                  <a:pos x="T2" y="T3"/>
                </a:cxn>
                <a:cxn ang="0">
                  <a:pos x="T4" y="T5"/>
                </a:cxn>
                <a:cxn ang="0">
                  <a:pos x="T6" y="T7"/>
                </a:cxn>
                <a:cxn ang="0">
                  <a:pos x="T8" y="T9"/>
                </a:cxn>
              </a:cxnLst>
              <a:rect b="b" l="0" r="r" t="0"/>
              <a:pathLst>
                <a:path h="307" w="488">
                  <a:moveTo>
                    <a:pt x="0" y="0"/>
                  </a:moveTo>
                  <a:lnTo>
                    <a:pt x="6" y="62"/>
                  </a:lnTo>
                  <a:lnTo>
                    <a:pt x="344" y="274"/>
                  </a:lnTo>
                  <a:lnTo>
                    <a:pt x="488" y="307"/>
                  </a:lnTo>
                  <a:lnTo>
                    <a:pt x="0" y="0"/>
                  </a:lnTo>
                  <a:close/>
                </a:path>
              </a:pathLst>
            </a:custGeom>
            <a:solidFill>
              <a:srgbClr val="FDB836"/>
            </a:solidFill>
            <a:ln>
              <a:noFill/>
            </a:ln>
            <a:extLst>
              <a:ext uri="{91240B29-F687-4F45-9708-019B960494DF}">
                <a14:hiddenLine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103" name="íṣḷidê">
              <a:extLst>
                <a:ext uri="{FF2B5EF4-FFF2-40B4-BE49-F238E27FC236}">
                  <a16:creationId xmlns:a16="http://schemas.microsoft.com/office/drawing/2014/main" id="{BD63F224-DAF7-4862-9D3B-9B6B54087633}"/>
                </a:ext>
              </a:extLst>
            </p:cNvPr>
            <p:cNvSpPr/>
            <p:nvPr/>
          </p:nvSpPr>
          <p:spPr bwMode="auto">
            <a:xfrm>
              <a:off x="-2992431" y="7519176"/>
              <a:ext cx="1668463" cy="512763"/>
            </a:xfrm>
            <a:custGeom>
              <a:gdLst>
                <a:gd fmla="*/ 1031 w 1051" name="T0"/>
                <a:gd fmla="*/ 274 h 323" name="T1"/>
                <a:gd fmla="*/ 1051 w 1051" name="T2"/>
                <a:gd fmla="*/ 323 h 323" name="T3"/>
                <a:gd fmla="*/ 9 w 1051" name="T4"/>
                <a:gd fmla="*/ 48 h 323" name="T5"/>
                <a:gd fmla="*/ 0 w 1051" name="T6"/>
                <a:gd fmla="*/ 0 h 323" name="T7"/>
                <a:gd fmla="*/ 1031 w 1051" name="T8"/>
                <a:gd fmla="*/ 274 h 323" name="T9"/>
              </a:gdLst>
              <a:cxnLst>
                <a:cxn ang="0">
                  <a:pos x="T0" y="T1"/>
                </a:cxn>
                <a:cxn ang="0">
                  <a:pos x="T2" y="T3"/>
                </a:cxn>
                <a:cxn ang="0">
                  <a:pos x="T4" y="T5"/>
                </a:cxn>
                <a:cxn ang="0">
                  <a:pos x="T6" y="T7"/>
                </a:cxn>
                <a:cxn ang="0">
                  <a:pos x="T8" y="T9"/>
                </a:cxn>
              </a:cxnLst>
              <a:rect b="b" l="0" r="r" t="0"/>
              <a:pathLst>
                <a:path h="323" w="1051">
                  <a:moveTo>
                    <a:pt x="1031" y="274"/>
                  </a:moveTo>
                  <a:lnTo>
                    <a:pt x="1051" y="323"/>
                  </a:lnTo>
                  <a:lnTo>
                    <a:pt x="9" y="48"/>
                  </a:lnTo>
                  <a:lnTo>
                    <a:pt x="0" y="0"/>
                  </a:lnTo>
                  <a:lnTo>
                    <a:pt x="1031" y="274"/>
                  </a:lnTo>
                  <a:close/>
                </a:path>
              </a:pathLst>
            </a:custGeom>
            <a:solidFill>
              <a:srgbClr val="FDB836"/>
            </a:solidFill>
            <a:ln>
              <a:noFill/>
            </a:ln>
            <a:extLst>
              <a:ext uri="{91240B29-F687-4F45-9708-019B960494DF}">
                <a14:hiddenLine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104" name="i$ḻidê">
              <a:extLst>
                <a:ext uri="{FF2B5EF4-FFF2-40B4-BE49-F238E27FC236}">
                  <a16:creationId xmlns:a16="http://schemas.microsoft.com/office/drawing/2014/main" id="{2BE2613C-E969-47F6-B8DB-67695C1AAB6B}"/>
                </a:ext>
              </a:extLst>
            </p:cNvPr>
            <p:cNvSpPr/>
            <p:nvPr/>
          </p:nvSpPr>
          <p:spPr bwMode="auto">
            <a:xfrm>
              <a:off x="-4330694" y="7519176"/>
              <a:ext cx="1352551" cy="538163"/>
            </a:xfrm>
            <a:custGeom>
              <a:gdLst>
                <a:gd fmla="*/ 843 w 852" name="T0"/>
                <a:gd fmla="*/ 0 h 339" name="T1"/>
                <a:gd fmla="*/ 852 w 852" name="T2"/>
                <a:gd fmla="*/ 46 h 339" name="T3"/>
                <a:gd fmla="*/ 5 w 852" name="T4"/>
                <a:gd fmla="*/ 339 h 339" name="T5"/>
                <a:gd fmla="*/ 0 w 852" name="T6"/>
                <a:gd fmla="*/ 293 h 339" name="T7"/>
                <a:gd fmla="*/ 843 w 852" name="T8"/>
                <a:gd fmla="*/ 0 h 339" name="T9"/>
              </a:gdLst>
              <a:cxnLst>
                <a:cxn ang="0">
                  <a:pos x="T0" y="T1"/>
                </a:cxn>
                <a:cxn ang="0">
                  <a:pos x="T2" y="T3"/>
                </a:cxn>
                <a:cxn ang="0">
                  <a:pos x="T4" y="T5"/>
                </a:cxn>
                <a:cxn ang="0">
                  <a:pos x="T6" y="T7"/>
                </a:cxn>
                <a:cxn ang="0">
                  <a:pos x="T8" y="T9"/>
                </a:cxn>
              </a:cxnLst>
              <a:rect b="b" l="0" r="r" t="0"/>
              <a:pathLst>
                <a:path h="339" w="852">
                  <a:moveTo>
                    <a:pt x="843" y="0"/>
                  </a:moveTo>
                  <a:lnTo>
                    <a:pt x="852" y="46"/>
                  </a:lnTo>
                  <a:lnTo>
                    <a:pt x="5" y="339"/>
                  </a:lnTo>
                  <a:lnTo>
                    <a:pt x="0" y="293"/>
                  </a:lnTo>
                  <a:lnTo>
                    <a:pt x="843" y="0"/>
                  </a:lnTo>
                  <a:close/>
                </a:path>
              </a:pathLst>
            </a:custGeom>
            <a:solidFill>
              <a:srgbClr val="CB952F"/>
            </a:solidFill>
            <a:ln>
              <a:noFill/>
            </a:ln>
            <a:extLst>
              <a:ext uri="{91240B29-F687-4F45-9708-019B960494DF}">
                <a14:hiddenLine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105" name="îṣ1ïḓe">
              <a:extLst>
                <a:ext uri="{FF2B5EF4-FFF2-40B4-BE49-F238E27FC236}">
                  <a16:creationId xmlns:a16="http://schemas.microsoft.com/office/drawing/2014/main" id="{B68540E2-3B4A-44A0-A28B-74F4A9ABF4C8}"/>
                </a:ext>
              </a:extLst>
            </p:cNvPr>
            <p:cNvSpPr/>
            <p:nvPr/>
          </p:nvSpPr>
          <p:spPr bwMode="auto">
            <a:xfrm>
              <a:off x="-6399208" y="7803339"/>
              <a:ext cx="1392238" cy="269875"/>
            </a:xfrm>
            <a:custGeom>
              <a:gdLst>
                <a:gd fmla="*/ 590 w 610" name="T0"/>
                <a:gd fmla="*/ 77 h 118" name="T1"/>
                <a:gd fmla="*/ 10 w 610" name="T2"/>
                <a:gd fmla="*/ 0 h 118" name="T3"/>
                <a:gd fmla="*/ 0 w 610" name="T4"/>
                <a:gd fmla="*/ 33 h 118" name="T5"/>
                <a:gd fmla="*/ 587 w 610" name="T6"/>
                <a:gd fmla="*/ 112 h 118" name="T7"/>
                <a:gd fmla="*/ 590 w 610" name="T8"/>
                <a:gd fmla="*/ 77 h 118" name="T9"/>
              </a:gdLst>
              <a:cxnLst>
                <a:cxn ang="0">
                  <a:pos x="T0" y="T1"/>
                </a:cxn>
                <a:cxn ang="0">
                  <a:pos x="T2" y="T3"/>
                </a:cxn>
                <a:cxn ang="0">
                  <a:pos x="T4" y="T5"/>
                </a:cxn>
                <a:cxn ang="0">
                  <a:pos x="T6" y="T7"/>
                </a:cxn>
                <a:cxn ang="0">
                  <a:pos x="T8" y="T9"/>
                </a:cxn>
              </a:cxnLst>
              <a:rect b="b" l="0" r="r" t="0"/>
              <a:pathLst>
                <a:path h="118" w="610">
                  <a:moveTo>
                    <a:pt x="590" y="77"/>
                  </a:moveTo>
                  <a:cubicBezTo>
                    <a:pt x="10" y="0"/>
                    <a:pt x="10" y="0"/>
                    <a:pt x="10" y="0"/>
                  </a:cubicBezTo>
                  <a:cubicBezTo>
                    <a:pt x="0" y="33"/>
                    <a:pt x="0" y="33"/>
                    <a:pt x="0" y="33"/>
                  </a:cubicBezTo>
                  <a:cubicBezTo>
                    <a:pt x="0" y="33"/>
                    <a:pt x="577" y="118"/>
                    <a:pt x="587" y="112"/>
                  </a:cubicBezTo>
                  <a:cubicBezTo>
                    <a:pt x="596" y="105"/>
                    <a:pt x="610" y="80"/>
                    <a:pt x="590" y="77"/>
                  </a:cubicBezTo>
                  <a:close/>
                </a:path>
              </a:pathLst>
            </a:custGeom>
            <a:solidFill>
              <a:srgbClr val="FDB836"/>
            </a:solidFill>
            <a:ln>
              <a:noFill/>
            </a:ln>
            <a:extLst>
              <a:ext uri="{91240B29-F687-4F45-9708-019B960494DF}">
                <a14:hiddenLine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106" name="îṡḷiḋè">
              <a:extLst>
                <a:ext uri="{FF2B5EF4-FFF2-40B4-BE49-F238E27FC236}">
                  <a16:creationId xmlns:a16="http://schemas.microsoft.com/office/drawing/2014/main" id="{956B6309-4701-4A5C-AA6B-319C64D0960A}"/>
                </a:ext>
              </a:extLst>
            </p:cNvPr>
            <p:cNvSpPr/>
            <p:nvPr/>
          </p:nvSpPr>
          <p:spPr bwMode="auto">
            <a:xfrm>
              <a:off x="-4703756" y="7061977"/>
              <a:ext cx="207963" cy="788989"/>
            </a:xfrm>
            <a:custGeom>
              <a:gdLst>
                <a:gd fmla="*/ 91 w 91" name="T0"/>
                <a:gd fmla="*/ 7 h 345" name="T1"/>
                <a:gd fmla="*/ 38 w 91" name="T2"/>
                <a:gd fmla="*/ 0 h 345" name="T3"/>
                <a:gd fmla="*/ 0 w 91" name="T4"/>
                <a:gd fmla="*/ 340 h 345" name="T5"/>
                <a:gd fmla="*/ 30 w 91" name="T6"/>
                <a:gd fmla="*/ 341 h 345" name="T7"/>
                <a:gd fmla="*/ 59 w 91" name="T8"/>
                <a:gd fmla="*/ 345 h 345" name="T9"/>
                <a:gd fmla="*/ 91 w 91" name="T10"/>
                <a:gd fmla="*/ 7 h 345" name="T11"/>
              </a:gdLst>
              <a:cxnLst>
                <a:cxn ang="0">
                  <a:pos x="T0" y="T1"/>
                </a:cxn>
                <a:cxn ang="0">
                  <a:pos x="T2" y="T3"/>
                </a:cxn>
                <a:cxn ang="0">
                  <a:pos x="T4" y="T5"/>
                </a:cxn>
                <a:cxn ang="0">
                  <a:pos x="T6" y="T7"/>
                </a:cxn>
                <a:cxn ang="0">
                  <a:pos x="T8" y="T9"/>
                </a:cxn>
                <a:cxn ang="0">
                  <a:pos x="T10" y="T11"/>
                </a:cxn>
              </a:cxnLst>
              <a:rect b="b" l="0" r="r" t="0"/>
              <a:pathLst>
                <a:path h="345" w="91">
                  <a:moveTo>
                    <a:pt x="91" y="7"/>
                  </a:moveTo>
                  <a:cubicBezTo>
                    <a:pt x="38" y="0"/>
                    <a:pt x="38" y="0"/>
                    <a:pt x="38" y="0"/>
                  </a:cubicBezTo>
                  <a:cubicBezTo>
                    <a:pt x="0" y="340"/>
                    <a:pt x="0" y="340"/>
                    <a:pt x="0" y="340"/>
                  </a:cubicBezTo>
                  <a:cubicBezTo>
                    <a:pt x="11" y="339"/>
                    <a:pt x="21" y="340"/>
                    <a:pt x="30" y="341"/>
                  </a:cubicBezTo>
                  <a:cubicBezTo>
                    <a:pt x="43" y="343"/>
                    <a:pt x="53" y="344"/>
                    <a:pt x="59" y="345"/>
                  </a:cubicBezTo>
                  <a:lnTo>
                    <a:pt x="91" y="7"/>
                  </a:lnTo>
                  <a:close/>
                </a:path>
              </a:pathLst>
            </a:custGeom>
            <a:solidFill>
              <a:srgbClr val="FDB836"/>
            </a:solidFill>
            <a:ln>
              <a:noFill/>
            </a:ln>
            <a:extLst>
              <a:ext uri="{91240B29-F687-4F45-9708-019B960494DF}">
                <a14:hiddenLine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107" name="îṡ1ïḋê">
              <a:extLst>
                <a:ext uri="{FF2B5EF4-FFF2-40B4-BE49-F238E27FC236}">
                  <a16:creationId xmlns:a16="http://schemas.microsoft.com/office/drawing/2014/main" id="{C89C9969-1ECE-44B9-8433-5773B122610F}"/>
                </a:ext>
              </a:extLst>
            </p:cNvPr>
            <p:cNvSpPr/>
            <p:nvPr/>
          </p:nvSpPr>
          <p:spPr bwMode="auto">
            <a:xfrm>
              <a:off x="-6751632" y="8122427"/>
              <a:ext cx="1982788" cy="877889"/>
            </a:xfrm>
            <a:custGeom>
              <a:gdLst>
                <a:gd fmla="*/ 816 w 869" name="T0"/>
                <a:gd fmla="*/ 0 h 384" name="T1"/>
                <a:gd fmla="*/ 639 w 869" name="T2"/>
                <a:gd fmla="*/ 174 h 384" name="T3"/>
                <a:gd fmla="*/ 400 w 869" name="T4"/>
                <a:gd fmla="*/ 275 h 384" name="T5"/>
                <a:gd fmla="*/ 13 w 869" name="T6"/>
                <a:gd fmla="*/ 345 h 384" name="T7"/>
                <a:gd fmla="*/ 0 w 869" name="T8"/>
                <a:gd fmla="*/ 384 h 384" name="T9"/>
                <a:gd fmla="*/ 433 w 869" name="T10"/>
                <a:gd fmla="*/ 312 h 384" name="T11"/>
                <a:gd fmla="*/ 694 w 869" name="T12"/>
                <a:gd fmla="*/ 202 h 384" name="T13"/>
                <a:gd fmla="*/ 869 w 869" name="T14"/>
                <a:gd fmla="*/ 33 h 384" name="T15"/>
                <a:gd fmla="*/ 816 w 869" name="T16"/>
                <a:gd fmla="*/ 0 h 384" name="T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b="b" l="0" r="r" t="0"/>
              <a:pathLst>
                <a:path h="384" w="869">
                  <a:moveTo>
                    <a:pt x="816" y="0"/>
                  </a:moveTo>
                  <a:cubicBezTo>
                    <a:pt x="787" y="48"/>
                    <a:pt x="736" y="113"/>
                    <a:pt x="639" y="174"/>
                  </a:cubicBezTo>
                  <a:cubicBezTo>
                    <a:pt x="579" y="210"/>
                    <a:pt x="501" y="246"/>
                    <a:pt x="400" y="275"/>
                  </a:cubicBezTo>
                  <a:cubicBezTo>
                    <a:pt x="297" y="305"/>
                    <a:pt x="170" y="329"/>
                    <a:pt x="13" y="345"/>
                  </a:cubicBezTo>
                  <a:cubicBezTo>
                    <a:pt x="8" y="358"/>
                    <a:pt x="4" y="371"/>
                    <a:pt x="0" y="384"/>
                  </a:cubicBezTo>
                  <a:cubicBezTo>
                    <a:pt x="176" y="369"/>
                    <a:pt x="319" y="344"/>
                    <a:pt x="433" y="312"/>
                  </a:cubicBezTo>
                  <a:cubicBezTo>
                    <a:pt x="544" y="280"/>
                    <a:pt x="629" y="241"/>
                    <a:pt x="694" y="202"/>
                  </a:cubicBezTo>
                  <a:cubicBezTo>
                    <a:pt x="786" y="143"/>
                    <a:pt x="838" y="82"/>
                    <a:pt x="869" y="33"/>
                  </a:cubicBezTo>
                  <a:cubicBezTo>
                    <a:pt x="849" y="25"/>
                    <a:pt x="829" y="13"/>
                    <a:pt x="816" y="0"/>
                  </a:cubicBezTo>
                  <a:close/>
                </a:path>
              </a:pathLst>
            </a:custGeom>
            <a:solidFill>
              <a:srgbClr val="FDB836"/>
            </a:solidFill>
            <a:ln>
              <a:noFill/>
            </a:ln>
            <a:extLst>
              <a:ext uri="{91240B29-F687-4F45-9708-019B960494DF}">
                <a14:hiddenLine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108" name="îSļîḍè">
              <a:extLst>
                <a:ext uri="{FF2B5EF4-FFF2-40B4-BE49-F238E27FC236}">
                  <a16:creationId xmlns:a16="http://schemas.microsoft.com/office/drawing/2014/main" id="{61C22494-C030-4FAE-AA25-E0D3DD5DDB70}"/>
                </a:ext>
              </a:extLst>
            </p:cNvPr>
            <p:cNvSpPr/>
            <p:nvPr/>
          </p:nvSpPr>
          <p:spPr bwMode="auto">
            <a:xfrm>
              <a:off x="-3044818" y="6968314"/>
              <a:ext cx="860426" cy="766763"/>
            </a:xfrm>
            <a:custGeom>
              <a:gdLst>
                <a:gd fmla="*/ 542 w 542" name="T0"/>
                <a:gd fmla="*/ 483 h 483" name="T1"/>
                <a:gd fmla="*/ 0 w 542" name="T2"/>
                <a:gd fmla="*/ 0 h 483" name="T3"/>
                <a:gd fmla="*/ 6 w 542" name="T4"/>
                <a:gd fmla="*/ 64 h 483" name="T5"/>
                <a:gd fmla="*/ 429 w 542" name="T6"/>
                <a:gd fmla="*/ 452 h 483" name="T7"/>
                <a:gd fmla="*/ 542 w 542" name="T8"/>
                <a:gd fmla="*/ 483 h 483" name="T9"/>
              </a:gdLst>
              <a:cxnLst>
                <a:cxn ang="0">
                  <a:pos x="T0" y="T1"/>
                </a:cxn>
                <a:cxn ang="0">
                  <a:pos x="T2" y="T3"/>
                </a:cxn>
                <a:cxn ang="0">
                  <a:pos x="T4" y="T5"/>
                </a:cxn>
                <a:cxn ang="0">
                  <a:pos x="T6" y="T7"/>
                </a:cxn>
                <a:cxn ang="0">
                  <a:pos x="T8" y="T9"/>
                </a:cxn>
              </a:cxnLst>
              <a:rect b="b" l="0" r="r" t="0"/>
              <a:pathLst>
                <a:path h="482" w="542">
                  <a:moveTo>
                    <a:pt x="542" y="483"/>
                  </a:moveTo>
                  <a:lnTo>
                    <a:pt x="0" y="0"/>
                  </a:lnTo>
                  <a:lnTo>
                    <a:pt x="6" y="64"/>
                  </a:lnTo>
                  <a:lnTo>
                    <a:pt x="429" y="452"/>
                  </a:lnTo>
                  <a:lnTo>
                    <a:pt x="542" y="483"/>
                  </a:lnTo>
                  <a:close/>
                </a:path>
              </a:pathLst>
            </a:custGeom>
            <a:solidFill>
              <a:srgbClr val="FDB836"/>
            </a:solidFill>
            <a:ln>
              <a:noFill/>
            </a:ln>
            <a:extLst>
              <a:ext uri="{91240B29-F687-4F45-9708-019B960494DF}">
                <a14:hiddenLine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109" name="íšļiḍè">
              <a:extLst>
                <a:ext uri="{FF2B5EF4-FFF2-40B4-BE49-F238E27FC236}">
                  <a16:creationId xmlns:a16="http://schemas.microsoft.com/office/drawing/2014/main" id="{71B54F27-2931-434A-92B6-8C6AAB55FCC7}"/>
                </a:ext>
              </a:extLst>
            </p:cNvPr>
            <p:cNvSpPr/>
            <p:nvPr/>
          </p:nvSpPr>
          <p:spPr bwMode="auto">
            <a:xfrm>
              <a:off x="-3484556" y="6695265"/>
              <a:ext cx="449263" cy="374651"/>
            </a:xfrm>
            <a:custGeom>
              <a:gdLst>
                <a:gd fmla="*/ 50 w 283" name="T0"/>
                <a:gd fmla="*/ 0 h 236" name="T1"/>
                <a:gd fmla="*/ 277 w 283" name="T2"/>
                <a:gd fmla="*/ 172 h 236" name="T3"/>
                <a:gd fmla="*/ 283 w 283" name="T4"/>
                <a:gd fmla="*/ 236 h 236" name="T5"/>
                <a:gd fmla="*/ 0 w 283" name="T6"/>
                <a:gd fmla="*/ 18 h 236" name="T7"/>
                <a:gd fmla="*/ 50 w 283" name="T8"/>
                <a:gd fmla="*/ 0 h 236" name="T9"/>
              </a:gdLst>
              <a:cxnLst>
                <a:cxn ang="0">
                  <a:pos x="T0" y="T1"/>
                </a:cxn>
                <a:cxn ang="0">
                  <a:pos x="T2" y="T3"/>
                </a:cxn>
                <a:cxn ang="0">
                  <a:pos x="T4" y="T5"/>
                </a:cxn>
                <a:cxn ang="0">
                  <a:pos x="T6" y="T7"/>
                </a:cxn>
                <a:cxn ang="0">
                  <a:pos x="T8" y="T9"/>
                </a:cxn>
              </a:cxnLst>
              <a:rect b="b" l="0" r="r" t="0"/>
              <a:pathLst>
                <a:path h="236" w="283">
                  <a:moveTo>
                    <a:pt x="50" y="0"/>
                  </a:moveTo>
                  <a:lnTo>
                    <a:pt x="277" y="172"/>
                  </a:lnTo>
                  <a:lnTo>
                    <a:pt x="283" y="236"/>
                  </a:lnTo>
                  <a:lnTo>
                    <a:pt x="0" y="18"/>
                  </a:lnTo>
                  <a:lnTo>
                    <a:pt x="50" y="0"/>
                  </a:lnTo>
                  <a:close/>
                </a:path>
              </a:pathLst>
            </a:custGeom>
            <a:solidFill>
              <a:srgbClr val="CB952F"/>
            </a:solidFill>
            <a:ln>
              <a:noFill/>
            </a:ln>
            <a:extLst>
              <a:ext uri="{91240B29-F687-4F45-9708-019B960494DF}">
                <a14:hiddenLine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110" name="íṡ1íḑê">
              <a:extLst>
                <a:ext uri="{FF2B5EF4-FFF2-40B4-BE49-F238E27FC236}">
                  <a16:creationId xmlns:a16="http://schemas.microsoft.com/office/drawing/2014/main" id="{FCE7F6EE-BC3F-4786-AA81-7D479DACC435}"/>
                </a:ext>
              </a:extLst>
            </p:cNvPr>
            <p:cNvSpPr/>
            <p:nvPr/>
          </p:nvSpPr>
          <p:spPr bwMode="auto">
            <a:xfrm>
              <a:off x="-3052756" y="6890527"/>
              <a:ext cx="1450975" cy="311150"/>
            </a:xfrm>
            <a:custGeom>
              <a:gdLst>
                <a:gd fmla="*/ 0 w 914" name="T0"/>
                <a:gd fmla="*/ 0 h 196" name="T1"/>
                <a:gd fmla="*/ 896 w 914" name="T2"/>
                <a:gd fmla="*/ 147 h 196" name="T3"/>
                <a:gd fmla="*/ 914 w 914" name="T4"/>
                <a:gd fmla="*/ 196 h 196" name="T5"/>
                <a:gd fmla="*/ 4 w 914" name="T6"/>
                <a:gd fmla="*/ 48 h 196" name="T7"/>
                <a:gd fmla="*/ 0 w 914" name="T8"/>
                <a:gd fmla="*/ 0 h 196" name="T9"/>
              </a:gdLst>
              <a:cxnLst>
                <a:cxn ang="0">
                  <a:pos x="T0" y="T1"/>
                </a:cxn>
                <a:cxn ang="0">
                  <a:pos x="T2" y="T3"/>
                </a:cxn>
                <a:cxn ang="0">
                  <a:pos x="T4" y="T5"/>
                </a:cxn>
                <a:cxn ang="0">
                  <a:pos x="T6" y="T7"/>
                </a:cxn>
                <a:cxn ang="0">
                  <a:pos x="T8" y="T9"/>
                </a:cxn>
              </a:cxnLst>
              <a:rect b="b" l="0" r="r" t="0"/>
              <a:pathLst>
                <a:path h="196" w="914">
                  <a:moveTo>
                    <a:pt x="0" y="0"/>
                  </a:moveTo>
                  <a:lnTo>
                    <a:pt x="896" y="147"/>
                  </a:lnTo>
                  <a:lnTo>
                    <a:pt x="914" y="196"/>
                  </a:lnTo>
                  <a:lnTo>
                    <a:pt x="4" y="48"/>
                  </a:lnTo>
                  <a:lnTo>
                    <a:pt x="0" y="0"/>
                  </a:lnTo>
                  <a:close/>
                </a:path>
              </a:pathLst>
            </a:custGeom>
            <a:solidFill>
              <a:srgbClr val="FDB836"/>
            </a:solidFill>
            <a:ln>
              <a:noFill/>
            </a:ln>
            <a:extLst>
              <a:ext uri="{91240B29-F687-4F45-9708-019B960494DF}">
                <a14:hiddenLine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111" name="îṧļîḋe">
              <a:extLst>
                <a:ext uri="{FF2B5EF4-FFF2-40B4-BE49-F238E27FC236}">
                  <a16:creationId xmlns:a16="http://schemas.microsoft.com/office/drawing/2014/main" id="{37135B0D-8C04-464C-AE07-2ED567EA01AD}"/>
                </a:ext>
              </a:extLst>
            </p:cNvPr>
            <p:cNvSpPr/>
            <p:nvPr/>
          </p:nvSpPr>
          <p:spPr bwMode="auto">
            <a:xfrm>
              <a:off x="-4491032" y="6890527"/>
              <a:ext cx="1449388" cy="819151"/>
            </a:xfrm>
            <a:custGeom>
              <a:gdLst>
                <a:gd fmla="*/ 630 w 635" name="T0"/>
                <a:gd fmla="*/ 0 h 358" name="T1"/>
                <a:gd fmla="*/ 635 w 635" name="T2"/>
                <a:gd fmla="*/ 34 h 358" name="T3"/>
                <a:gd fmla="*/ 0 w 635" name="T4"/>
                <a:gd fmla="*/ 358 h 358" name="T5"/>
                <a:gd fmla="*/ 4 w 635" name="T6"/>
                <a:gd fmla="*/ 319 h 358" name="T7"/>
                <a:gd fmla="*/ 630 w 635" name="T8"/>
                <a:gd fmla="*/ 0 h 358" name="T9"/>
              </a:gdLst>
              <a:cxnLst>
                <a:cxn ang="0">
                  <a:pos x="T0" y="T1"/>
                </a:cxn>
                <a:cxn ang="0">
                  <a:pos x="T2" y="T3"/>
                </a:cxn>
                <a:cxn ang="0">
                  <a:pos x="T4" y="T5"/>
                </a:cxn>
                <a:cxn ang="0">
                  <a:pos x="T6" y="T7"/>
                </a:cxn>
                <a:cxn ang="0">
                  <a:pos x="T8" y="T9"/>
                </a:cxn>
              </a:cxnLst>
              <a:rect b="b" l="0" r="r" t="0"/>
              <a:pathLst>
                <a:path h="358" w="635">
                  <a:moveTo>
                    <a:pt x="630" y="0"/>
                  </a:moveTo>
                  <a:cubicBezTo>
                    <a:pt x="632" y="11"/>
                    <a:pt x="633" y="23"/>
                    <a:pt x="635" y="34"/>
                  </a:cubicBezTo>
                  <a:cubicBezTo>
                    <a:pt x="426" y="144"/>
                    <a:pt x="214" y="251"/>
                    <a:pt x="0" y="358"/>
                  </a:cubicBezTo>
                  <a:cubicBezTo>
                    <a:pt x="2" y="345"/>
                    <a:pt x="3" y="332"/>
                    <a:pt x="4" y="319"/>
                  </a:cubicBezTo>
                  <a:cubicBezTo>
                    <a:pt x="213" y="213"/>
                    <a:pt x="421" y="106"/>
                    <a:pt x="630" y="0"/>
                  </a:cubicBezTo>
                  <a:close/>
                </a:path>
              </a:pathLst>
            </a:custGeom>
            <a:solidFill>
              <a:srgbClr val="CB952F"/>
            </a:solidFill>
            <a:ln>
              <a:noFill/>
            </a:ln>
            <a:extLst>
              <a:ext uri="{91240B29-F687-4F45-9708-019B960494DF}">
                <a14:hiddenLine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112" name="iśľíḋé">
              <a:extLst>
                <a:ext uri="{FF2B5EF4-FFF2-40B4-BE49-F238E27FC236}">
                  <a16:creationId xmlns:a16="http://schemas.microsoft.com/office/drawing/2014/main" id="{D2146EBF-38D1-42D4-832D-42B260A51697}"/>
                </a:ext>
              </a:extLst>
            </p:cNvPr>
            <p:cNvSpPr/>
            <p:nvPr/>
          </p:nvSpPr>
          <p:spPr bwMode="auto">
            <a:xfrm>
              <a:off x="-4557707" y="7622366"/>
              <a:ext cx="71438" cy="87313"/>
            </a:xfrm>
            <a:custGeom>
              <a:gdLst>
                <a:gd fmla="*/ 45 w 45" name="T0"/>
                <a:gd fmla="*/ 3 h 55" name="T1"/>
                <a:gd fmla="*/ 0 w 45" name="T2"/>
                <a:gd fmla="*/ 0 h 55" name="T3"/>
                <a:gd fmla="*/ 0 w 45" name="T4"/>
                <a:gd fmla="*/ 55 h 55" name="T5"/>
                <a:gd fmla="*/ 41 w 45" name="T6"/>
                <a:gd fmla="*/ 55 h 55" name="T7"/>
                <a:gd fmla="*/ 45 w 45" name="T8"/>
                <a:gd fmla="*/ 3 h 55" name="T9"/>
              </a:gdLst>
              <a:cxnLst>
                <a:cxn ang="0">
                  <a:pos x="T0" y="T1"/>
                </a:cxn>
                <a:cxn ang="0">
                  <a:pos x="T2" y="T3"/>
                </a:cxn>
                <a:cxn ang="0">
                  <a:pos x="T4" y="T5"/>
                </a:cxn>
                <a:cxn ang="0">
                  <a:pos x="T6" y="T7"/>
                </a:cxn>
                <a:cxn ang="0">
                  <a:pos x="T8" y="T9"/>
                </a:cxn>
              </a:cxnLst>
              <a:rect b="b" l="0" r="r" t="0"/>
              <a:pathLst>
                <a:path h="55" w="45">
                  <a:moveTo>
                    <a:pt x="45" y="3"/>
                  </a:moveTo>
                  <a:lnTo>
                    <a:pt x="0" y="0"/>
                  </a:lnTo>
                  <a:lnTo>
                    <a:pt x="0" y="55"/>
                  </a:lnTo>
                  <a:lnTo>
                    <a:pt x="41" y="55"/>
                  </a:lnTo>
                  <a:lnTo>
                    <a:pt x="45" y="3"/>
                  </a:lnTo>
                  <a:close/>
                </a:path>
              </a:pathLst>
            </a:custGeom>
            <a:solidFill>
              <a:srgbClr val="FDB836"/>
            </a:solidFill>
            <a:ln>
              <a:noFill/>
            </a:ln>
            <a:extLst>
              <a:ext uri="{91240B29-F687-4F45-9708-019B960494DF}">
                <a14:hiddenLine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113" name="î$ḻïḍe">
              <a:extLst>
                <a:ext uri="{FF2B5EF4-FFF2-40B4-BE49-F238E27FC236}">
                  <a16:creationId xmlns:a16="http://schemas.microsoft.com/office/drawing/2014/main" id="{01B13E9C-A46A-41C6-9130-FE861F004985}"/>
                </a:ext>
              </a:extLst>
            </p:cNvPr>
            <p:cNvSpPr/>
            <p:nvPr/>
          </p:nvSpPr>
          <p:spPr bwMode="auto">
            <a:xfrm>
              <a:off x="-2720968" y="7965267"/>
              <a:ext cx="1651000" cy="817564"/>
            </a:xfrm>
            <a:custGeom>
              <a:gdLst>
                <a:gd fmla="*/ 723 w 723" name="T0"/>
                <a:gd fmla="*/ 358 h 358" name="T1"/>
                <a:gd fmla="*/ 337 w 723" name="T2"/>
                <a:gd fmla="*/ 181 h 358" name="T3"/>
                <a:gd fmla="*/ 0 w 723" name="T4"/>
                <a:gd fmla="*/ 19 h 358" name="T5"/>
                <a:gd fmla="*/ 30 w 723" name="T6"/>
                <a:gd fmla="*/ 0 h 358" name="T7"/>
                <a:gd fmla="*/ 340 w 723" name="T8"/>
                <a:gd fmla="*/ 150 h 358" name="T9"/>
                <a:gd fmla="*/ 711 w 723" name="T10"/>
                <a:gd fmla="*/ 321 h 358" name="T11"/>
                <a:gd fmla="*/ 723 w 723" name="T12"/>
                <a:gd fmla="*/ 358 h 358" name="T13"/>
              </a:gdLst>
              <a:cxnLst>
                <a:cxn ang="0">
                  <a:pos x="T0" y="T1"/>
                </a:cxn>
                <a:cxn ang="0">
                  <a:pos x="T2" y="T3"/>
                </a:cxn>
                <a:cxn ang="0">
                  <a:pos x="T4" y="T5"/>
                </a:cxn>
                <a:cxn ang="0">
                  <a:pos x="T6" y="T7"/>
                </a:cxn>
                <a:cxn ang="0">
                  <a:pos x="T8" y="T9"/>
                </a:cxn>
                <a:cxn ang="0">
                  <a:pos x="T10" y="T11"/>
                </a:cxn>
                <a:cxn ang="0">
                  <a:pos x="T12" y="T13"/>
                </a:cxn>
              </a:cxnLst>
              <a:rect b="b" l="0" r="r" t="0"/>
              <a:pathLst>
                <a:path h="358" w="723">
                  <a:moveTo>
                    <a:pt x="723" y="358"/>
                  </a:moveTo>
                  <a:cubicBezTo>
                    <a:pt x="592" y="299"/>
                    <a:pt x="463" y="240"/>
                    <a:pt x="337" y="181"/>
                  </a:cubicBezTo>
                  <a:cubicBezTo>
                    <a:pt x="223" y="128"/>
                    <a:pt x="111" y="73"/>
                    <a:pt x="0" y="19"/>
                  </a:cubicBezTo>
                  <a:cubicBezTo>
                    <a:pt x="10" y="12"/>
                    <a:pt x="20" y="6"/>
                    <a:pt x="30" y="0"/>
                  </a:cubicBezTo>
                  <a:cubicBezTo>
                    <a:pt x="131" y="50"/>
                    <a:pt x="235" y="100"/>
                    <a:pt x="340" y="150"/>
                  </a:cubicBezTo>
                  <a:cubicBezTo>
                    <a:pt x="461" y="207"/>
                    <a:pt x="585" y="264"/>
                    <a:pt x="711" y="321"/>
                  </a:cubicBezTo>
                  <a:cubicBezTo>
                    <a:pt x="715" y="333"/>
                    <a:pt x="719" y="346"/>
                    <a:pt x="723" y="358"/>
                  </a:cubicBezTo>
                  <a:close/>
                </a:path>
              </a:pathLst>
            </a:custGeom>
            <a:solidFill>
              <a:srgbClr val="FDB836"/>
            </a:solidFill>
            <a:ln>
              <a:noFill/>
            </a:ln>
            <a:extLst>
              <a:ext uri="{91240B29-F687-4F45-9708-019B960494DF}">
                <a14:hiddenLine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114" name="iş1îḑê">
              <a:extLst>
                <a:ext uri="{FF2B5EF4-FFF2-40B4-BE49-F238E27FC236}">
                  <a16:creationId xmlns:a16="http://schemas.microsoft.com/office/drawing/2014/main" id="{99DC7E82-2197-4C18-B55D-E45C1CEC7168}"/>
                </a:ext>
              </a:extLst>
            </p:cNvPr>
            <p:cNvSpPr/>
            <p:nvPr/>
          </p:nvSpPr>
          <p:spPr bwMode="auto">
            <a:xfrm>
              <a:off x="-6751633" y="8922529"/>
              <a:ext cx="2139951" cy="242889"/>
            </a:xfrm>
            <a:custGeom>
              <a:gdLst>
                <a:gd fmla="*/ 0 w 938" name="T0"/>
                <a:gd fmla="*/ 34 h 106" name="T1"/>
                <a:gd fmla="*/ 7 w 938" name="T2"/>
                <a:gd fmla="*/ 0 h 106" name="T3"/>
                <a:gd fmla="*/ 938 w 938" name="T4"/>
                <a:gd fmla="*/ 72 h 106" name="T5"/>
                <a:gd fmla="*/ 935 w 938" name="T6"/>
                <a:gd fmla="*/ 106 h 106" name="T7"/>
                <a:gd fmla="*/ 0 w 938" name="T8"/>
                <a:gd fmla="*/ 34 h 106" name="T9"/>
              </a:gdLst>
              <a:cxnLst>
                <a:cxn ang="0">
                  <a:pos x="T0" y="T1"/>
                </a:cxn>
                <a:cxn ang="0">
                  <a:pos x="T2" y="T3"/>
                </a:cxn>
                <a:cxn ang="0">
                  <a:pos x="T4" y="T5"/>
                </a:cxn>
                <a:cxn ang="0">
                  <a:pos x="T6" y="T7"/>
                </a:cxn>
                <a:cxn ang="0">
                  <a:pos x="T8" y="T9"/>
                </a:cxn>
              </a:cxnLst>
              <a:rect b="b" l="0" r="r" t="0"/>
              <a:pathLst>
                <a:path h="105" w="938">
                  <a:moveTo>
                    <a:pt x="0" y="34"/>
                  </a:moveTo>
                  <a:cubicBezTo>
                    <a:pt x="2" y="23"/>
                    <a:pt x="4" y="11"/>
                    <a:pt x="7" y="0"/>
                  </a:cubicBezTo>
                  <a:cubicBezTo>
                    <a:pt x="35" y="2"/>
                    <a:pt x="909" y="70"/>
                    <a:pt x="938" y="72"/>
                  </a:cubicBezTo>
                  <a:cubicBezTo>
                    <a:pt x="937" y="84"/>
                    <a:pt x="936" y="95"/>
                    <a:pt x="935" y="106"/>
                  </a:cubicBezTo>
                  <a:cubicBezTo>
                    <a:pt x="905" y="104"/>
                    <a:pt x="30" y="36"/>
                    <a:pt x="0" y="34"/>
                  </a:cubicBezTo>
                  <a:close/>
                </a:path>
              </a:pathLst>
            </a:custGeom>
            <a:solidFill>
              <a:srgbClr val="FDB836"/>
            </a:solidFill>
            <a:ln>
              <a:noFill/>
            </a:ln>
            <a:extLst>
              <a:ext uri="{91240B29-F687-4F45-9708-019B960494DF}">
                <a14:hiddenLine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115" name="îṡḻíḑê">
              <a:extLst>
                <a:ext uri="{FF2B5EF4-FFF2-40B4-BE49-F238E27FC236}">
                  <a16:creationId xmlns:a16="http://schemas.microsoft.com/office/drawing/2014/main" id="{F98AA475-2379-4120-B0CB-5E10C0E3CA15}"/>
                </a:ext>
              </a:extLst>
            </p:cNvPr>
            <p:cNvSpPr/>
            <p:nvPr/>
          </p:nvSpPr>
          <p:spPr bwMode="auto">
            <a:xfrm>
              <a:off x="-2932108" y="7731903"/>
              <a:ext cx="852487" cy="504826"/>
            </a:xfrm>
            <a:custGeom>
              <a:gdLst>
                <a:gd fmla="*/ 341 w 374" name="T0"/>
                <a:gd fmla="*/ 0 h 221" name="T1"/>
                <a:gd fmla="*/ 239 w 374" name="T2"/>
                <a:gd fmla="*/ 10 h 221" name="T3"/>
                <a:gd fmla="*/ 111 w 374" name="T4"/>
                <a:gd fmla="*/ 48 h 221" name="T5"/>
                <a:gd fmla="*/ 0 w 374" name="T6"/>
                <a:gd fmla="*/ 125 h 221" name="T7"/>
                <a:gd fmla="*/ 10 w 374" name="T8"/>
                <a:gd fmla="*/ 221 h 221" name="T9"/>
                <a:gd fmla="*/ 159 w 374" name="T10"/>
                <a:gd fmla="*/ 83 h 221" name="T11"/>
                <a:gd fmla="*/ 279 w 374" name="T12"/>
                <a:gd fmla="*/ 48 h 221" name="T13"/>
                <a:gd fmla="*/ 374 w 374" name="T14"/>
                <a:gd fmla="*/ 39 h 221" name="T15"/>
                <a:gd fmla="*/ 341 w 374" name="T16"/>
                <a:gd fmla="*/ 0 h 221" name="T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b="b" l="0" r="r" t="0"/>
              <a:pathLst>
                <a:path h="221" w="374">
                  <a:moveTo>
                    <a:pt x="341" y="0"/>
                  </a:moveTo>
                  <a:cubicBezTo>
                    <a:pt x="315" y="1"/>
                    <a:pt x="279" y="3"/>
                    <a:pt x="239" y="10"/>
                  </a:cubicBezTo>
                  <a:cubicBezTo>
                    <a:pt x="199" y="17"/>
                    <a:pt x="154" y="28"/>
                    <a:pt x="111" y="48"/>
                  </a:cubicBezTo>
                  <a:cubicBezTo>
                    <a:pt x="71" y="65"/>
                    <a:pt x="33" y="90"/>
                    <a:pt x="0" y="125"/>
                  </a:cubicBezTo>
                  <a:cubicBezTo>
                    <a:pt x="3" y="157"/>
                    <a:pt x="7" y="189"/>
                    <a:pt x="10" y="221"/>
                  </a:cubicBezTo>
                  <a:cubicBezTo>
                    <a:pt x="44" y="152"/>
                    <a:pt x="100" y="109"/>
                    <a:pt x="159" y="83"/>
                  </a:cubicBezTo>
                  <a:cubicBezTo>
                    <a:pt x="199" y="65"/>
                    <a:pt x="241" y="54"/>
                    <a:pt x="279" y="48"/>
                  </a:cubicBezTo>
                  <a:cubicBezTo>
                    <a:pt x="316" y="42"/>
                    <a:pt x="349" y="40"/>
                    <a:pt x="374" y="39"/>
                  </a:cubicBezTo>
                  <a:cubicBezTo>
                    <a:pt x="362" y="26"/>
                    <a:pt x="352" y="13"/>
                    <a:pt x="341" y="0"/>
                  </a:cubicBezTo>
                  <a:close/>
                </a:path>
              </a:pathLst>
            </a:custGeom>
            <a:solidFill>
              <a:srgbClr val="FDB836"/>
            </a:solidFill>
            <a:ln>
              <a:noFill/>
            </a:ln>
            <a:extLst>
              <a:ext uri="{91240B29-F687-4F45-9708-019B960494DF}">
                <a14:hiddenLine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grpSp>
      <p:grpSp>
        <p:nvGrpSpPr>
          <p:cNvPr id="157" name="组合 156">
            <a:extLst>
              <a:ext uri="{FF2B5EF4-FFF2-40B4-BE49-F238E27FC236}">
                <a16:creationId xmlns:a16="http://schemas.microsoft.com/office/drawing/2014/main" id="{43708BF4-6872-4F5A-B716-C9C01F1F1197}"/>
              </a:ext>
            </a:extLst>
          </p:cNvPr>
          <p:cNvGrpSpPr/>
          <p:nvPr/>
        </p:nvGrpSpPr>
        <p:grpSpPr>
          <a:xfrm>
            <a:off x="2325903" y="1810073"/>
            <a:ext cx="1041972" cy="1539844"/>
            <a:chOff x="2325903" y="1810073"/>
            <a:chExt cx="1041972" cy="1539844"/>
          </a:xfrm>
        </p:grpSpPr>
        <p:sp>
          <p:nvSpPr>
            <p:cNvPr id="4" name="íśḻíḋé">
              <a:extLst>
                <a:ext uri="{FF2B5EF4-FFF2-40B4-BE49-F238E27FC236}">
                  <a16:creationId xmlns:a16="http://schemas.microsoft.com/office/drawing/2014/main" id="{AD66045E-4C54-4360-8D69-BC023116F13D}"/>
                </a:ext>
              </a:extLst>
            </p:cNvPr>
            <p:cNvSpPr/>
            <p:nvPr/>
          </p:nvSpPr>
          <p:spPr bwMode="auto">
            <a:xfrm>
              <a:off x="2325903" y="1810073"/>
              <a:ext cx="1041972" cy="1539844"/>
            </a:xfrm>
            <a:custGeom>
              <a:gdLst>
                <a:gd fmla="*/ 246 w 246" name="T0"/>
                <a:gd fmla="*/ 123 h 378" name="T1"/>
                <a:gd fmla="*/ 123 w 246" name="T2"/>
                <a:gd fmla="*/ 378 h 378" name="T3"/>
                <a:gd fmla="*/ 0 w 246" name="T4"/>
                <a:gd fmla="*/ 123 h 378" name="T5"/>
                <a:gd fmla="*/ 123 w 246" name="T6"/>
                <a:gd fmla="*/ 0 h 378" name="T7"/>
                <a:gd fmla="*/ 246 w 246" name="T8"/>
                <a:gd fmla="*/ 123 h 378" name="T9"/>
              </a:gdLst>
              <a:cxnLst>
                <a:cxn ang="0">
                  <a:pos x="T0" y="T1"/>
                </a:cxn>
                <a:cxn ang="0">
                  <a:pos x="T2" y="T3"/>
                </a:cxn>
                <a:cxn ang="0">
                  <a:pos x="T4" y="T5"/>
                </a:cxn>
                <a:cxn ang="0">
                  <a:pos x="T6" y="T7"/>
                </a:cxn>
                <a:cxn ang="0">
                  <a:pos x="T8" y="T9"/>
                </a:cxn>
              </a:cxnLst>
              <a:rect b="b" l="0" r="r" t="0"/>
              <a:pathLst>
                <a:path h="378" w="246">
                  <a:moveTo>
                    <a:pt x="246" y="123"/>
                  </a:moveTo>
                  <a:cubicBezTo>
                    <a:pt x="246" y="192"/>
                    <a:pt x="123" y="378"/>
                    <a:pt x="123" y="378"/>
                  </a:cubicBezTo>
                  <a:cubicBezTo>
                    <a:pt x="123" y="378"/>
                    <a:pt x="0" y="192"/>
                    <a:pt x="0" y="123"/>
                  </a:cubicBezTo>
                  <a:cubicBezTo>
                    <a:pt x="0" y="55"/>
                    <a:pt x="55" y="0"/>
                    <a:pt x="123" y="0"/>
                  </a:cubicBezTo>
                  <a:cubicBezTo>
                    <a:pt x="191" y="0"/>
                    <a:pt x="246" y="55"/>
                    <a:pt x="246" y="123"/>
                  </a:cubicBezTo>
                  <a:close/>
                </a:path>
              </a:pathLst>
            </a:custGeom>
            <a:solidFill>
              <a:srgbClr val="60A8AF"/>
            </a:solidFill>
            <a:ln>
              <a:noFill/>
            </a:ln>
            <a:extLst>
              <a:ext uri="{91240B29-F687-4F45-9708-019B960494DF}">
                <a14:hiddenLine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5" name="í$ḻíḍe">
              <a:extLst>
                <a:ext uri="{FF2B5EF4-FFF2-40B4-BE49-F238E27FC236}">
                  <a16:creationId xmlns:a16="http://schemas.microsoft.com/office/drawing/2014/main" id="{040EC6B9-9199-4574-8E4D-FE118C519256}"/>
                </a:ext>
              </a:extLst>
            </p:cNvPr>
            <p:cNvSpPr/>
            <p:nvPr/>
          </p:nvSpPr>
          <p:spPr bwMode="auto">
            <a:xfrm>
              <a:off x="2464961" y="1946215"/>
              <a:ext cx="758502" cy="727027"/>
            </a:xfrm>
            <a:prstGeom prst="ellipse">
              <a:avLst/>
            </a:prstGeom>
            <a:solidFill>
              <a:srgbClr val="FAFBFC"/>
            </a:solidFill>
            <a:ln>
              <a:noFill/>
            </a:ln>
            <a:extLst>
              <a:ext uri="{91240B29-F687-4F45-9708-019B960494DF}">
                <a14:hiddenLine w="9525">
                  <a:solidFill>
                    <a:srgbClr val="000000"/>
                  </a:solidFill>
                  <a:round/>
                  <a:headEnd/>
                  <a:tailEnd/>
                </a14:hiddenLine>
              </a:ext>
            </a:extLst>
          </p:spPr>
          <p:txBody>
            <a:bodyPr anchor="ctr" anchorCtr="0" bIns="45720" compatLnSpc="1" lIns="91440" rIns="91440" tIns="45720" vert="horz" wrap="none">
              <a:prstTxWarp prst="textNoShape">
                <a:avLst/>
              </a:prstTxWarp>
              <a:normAutofit/>
            </a:bodyPr>
            <a:lstStyle/>
            <a:p>
              <a:pPr algn="ctr"/>
              <a:r>
                <a:rPr altLang="en-US" lang="zh-CN" sz="2400">
                  <a:solidFill>
                    <a:schemeClr val="tx1">
                      <a:lumMod val="85000"/>
                      <a:lumOff val="15000"/>
                    </a:schemeClr>
                  </a:solidFill>
                </a:rPr>
                <a:t>上海</a:t>
              </a:r>
            </a:p>
          </p:txBody>
        </p:sp>
      </p:grpSp>
      <p:grpSp>
        <p:nvGrpSpPr>
          <p:cNvPr id="158" name="组合 157">
            <a:extLst>
              <a:ext uri="{FF2B5EF4-FFF2-40B4-BE49-F238E27FC236}">
                <a16:creationId xmlns:a16="http://schemas.microsoft.com/office/drawing/2014/main" id="{29087416-F49C-4CA2-B7BE-764B9A46E09D}"/>
              </a:ext>
            </a:extLst>
          </p:cNvPr>
          <p:cNvGrpSpPr/>
          <p:nvPr/>
        </p:nvGrpSpPr>
        <p:grpSpPr>
          <a:xfrm>
            <a:off x="1171087" y="2994106"/>
            <a:ext cx="605208" cy="894387"/>
            <a:chOff x="1171087" y="2994106"/>
            <a:chExt cx="605208" cy="894387"/>
          </a:xfrm>
        </p:grpSpPr>
        <p:sp>
          <p:nvSpPr>
            <p:cNvPr id="6" name="išļïḍè">
              <a:extLst>
                <a:ext uri="{FF2B5EF4-FFF2-40B4-BE49-F238E27FC236}">
                  <a16:creationId xmlns:a16="http://schemas.microsoft.com/office/drawing/2014/main" id="{154D0B19-2702-40D2-AC4F-940EDB6C6C0E}"/>
                </a:ext>
              </a:extLst>
            </p:cNvPr>
            <p:cNvSpPr/>
            <p:nvPr/>
          </p:nvSpPr>
          <p:spPr bwMode="auto">
            <a:xfrm>
              <a:off x="1171087" y="2994106"/>
              <a:ext cx="605208" cy="894387"/>
            </a:xfrm>
            <a:custGeom>
              <a:gdLst>
                <a:gd fmla="*/ 246 w 246" name="T0"/>
                <a:gd fmla="*/ 123 h 378" name="T1"/>
                <a:gd fmla="*/ 123 w 246" name="T2"/>
                <a:gd fmla="*/ 378 h 378" name="T3"/>
                <a:gd fmla="*/ 0 w 246" name="T4"/>
                <a:gd fmla="*/ 123 h 378" name="T5"/>
                <a:gd fmla="*/ 123 w 246" name="T6"/>
                <a:gd fmla="*/ 0 h 378" name="T7"/>
                <a:gd fmla="*/ 246 w 246" name="T8"/>
                <a:gd fmla="*/ 123 h 378" name="T9"/>
              </a:gdLst>
              <a:cxnLst>
                <a:cxn ang="0">
                  <a:pos x="T0" y="T1"/>
                </a:cxn>
                <a:cxn ang="0">
                  <a:pos x="T2" y="T3"/>
                </a:cxn>
                <a:cxn ang="0">
                  <a:pos x="T4" y="T5"/>
                </a:cxn>
                <a:cxn ang="0">
                  <a:pos x="T6" y="T7"/>
                </a:cxn>
                <a:cxn ang="0">
                  <a:pos x="T8" y="T9"/>
                </a:cxn>
              </a:cxnLst>
              <a:rect b="b" l="0" r="r" t="0"/>
              <a:pathLst>
                <a:path h="378" w="246">
                  <a:moveTo>
                    <a:pt x="246" y="123"/>
                  </a:moveTo>
                  <a:cubicBezTo>
                    <a:pt x="246" y="192"/>
                    <a:pt x="123" y="378"/>
                    <a:pt x="123" y="378"/>
                  </a:cubicBezTo>
                  <a:cubicBezTo>
                    <a:pt x="123" y="378"/>
                    <a:pt x="0" y="192"/>
                    <a:pt x="0" y="123"/>
                  </a:cubicBezTo>
                  <a:cubicBezTo>
                    <a:pt x="0" y="55"/>
                    <a:pt x="55" y="0"/>
                    <a:pt x="123" y="0"/>
                  </a:cubicBezTo>
                  <a:cubicBezTo>
                    <a:pt x="191" y="0"/>
                    <a:pt x="246" y="55"/>
                    <a:pt x="246" y="123"/>
                  </a:cubicBezTo>
                  <a:close/>
                </a:path>
              </a:pathLst>
            </a:custGeom>
            <a:solidFill>
              <a:srgbClr val="FF626C"/>
            </a:solidFill>
            <a:ln>
              <a:noFill/>
            </a:ln>
            <a:extLst>
              <a:ext uri="{91240B29-F687-4F45-9708-019B960494DF}">
                <a14:hiddenLine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7" name="íṥ1iḋé">
              <a:extLst>
                <a:ext uri="{FF2B5EF4-FFF2-40B4-BE49-F238E27FC236}">
                  <a16:creationId xmlns:a16="http://schemas.microsoft.com/office/drawing/2014/main" id="{0F59772B-8F0C-4B0D-B36D-941B428A9885}"/>
                </a:ext>
              </a:extLst>
            </p:cNvPr>
            <p:cNvSpPr/>
            <p:nvPr/>
          </p:nvSpPr>
          <p:spPr bwMode="auto">
            <a:xfrm>
              <a:off x="1248302" y="3071711"/>
              <a:ext cx="447030" cy="428478"/>
            </a:xfrm>
            <a:prstGeom prst="ellipse">
              <a:avLst/>
            </a:prstGeom>
            <a:solidFill>
              <a:srgbClr val="FAFBFC"/>
            </a:solidFill>
            <a:ln>
              <a:noFill/>
            </a:ln>
            <a:extLst>
              <a:ext uri="{91240B29-F687-4F45-9708-019B960494DF}">
                <a14:hiddenLine w="9525">
                  <a:solidFill>
                    <a:srgbClr val="000000"/>
                  </a:solidFill>
                  <a:round/>
                  <a:headEnd/>
                  <a:tailEnd/>
                </a14:hiddenLine>
              </a:ext>
            </a:extLst>
          </p:spPr>
          <p:txBody>
            <a:bodyPr anchor="ctr" anchorCtr="0" bIns="45720" compatLnSpc="1" lIns="91440" rIns="91440" tIns="45720" vert="horz" wrap="none">
              <a:prstTxWarp prst="textNoShape">
                <a:avLst/>
              </a:prstTxWarp>
              <a:normAutofit fontScale="92500" lnSpcReduction="20000"/>
            </a:bodyPr>
            <a:lstStyle/>
            <a:p>
              <a:pPr algn="ctr"/>
              <a:r>
                <a:rPr altLang="en-US" lang="zh-CN">
                  <a:solidFill>
                    <a:schemeClr val="tx1">
                      <a:lumMod val="85000"/>
                      <a:lumOff val="15000"/>
                    </a:schemeClr>
                  </a:solidFill>
                </a:rPr>
                <a:t>长沙</a:t>
              </a:r>
            </a:p>
          </p:txBody>
        </p:sp>
      </p:grpSp>
      <p:grpSp>
        <p:nvGrpSpPr>
          <p:cNvPr id="161" name="组合 160">
            <a:extLst>
              <a:ext uri="{FF2B5EF4-FFF2-40B4-BE49-F238E27FC236}">
                <a16:creationId xmlns:a16="http://schemas.microsoft.com/office/drawing/2014/main" id="{2EE03842-AB7C-4EA4-A9F7-CC3A0B4A25E5}"/>
              </a:ext>
            </a:extLst>
          </p:cNvPr>
          <p:cNvGrpSpPr/>
          <p:nvPr/>
        </p:nvGrpSpPr>
        <p:grpSpPr>
          <a:xfrm>
            <a:off x="5192221" y="3009503"/>
            <a:ext cx="580406" cy="857734"/>
            <a:chOff x="5192221" y="3009503"/>
            <a:chExt cx="580406" cy="857734"/>
          </a:xfrm>
        </p:grpSpPr>
        <p:sp>
          <p:nvSpPr>
            <p:cNvPr id="11" name="íŝḻîde">
              <a:extLst>
                <a:ext uri="{FF2B5EF4-FFF2-40B4-BE49-F238E27FC236}">
                  <a16:creationId xmlns:a16="http://schemas.microsoft.com/office/drawing/2014/main" id="{DDF055C0-1B21-4637-A87B-CF49AB704CA0}"/>
                </a:ext>
              </a:extLst>
            </p:cNvPr>
            <p:cNvSpPr/>
            <p:nvPr/>
          </p:nvSpPr>
          <p:spPr bwMode="auto">
            <a:xfrm>
              <a:off x="5192221" y="3009503"/>
              <a:ext cx="580406" cy="857734"/>
            </a:xfrm>
            <a:custGeom>
              <a:gdLst>
                <a:gd fmla="*/ 246 w 246" name="T0"/>
                <a:gd fmla="*/ 123 h 378" name="T1"/>
                <a:gd fmla="*/ 123 w 246" name="T2"/>
                <a:gd fmla="*/ 378 h 378" name="T3"/>
                <a:gd fmla="*/ 0 w 246" name="T4"/>
                <a:gd fmla="*/ 123 h 378" name="T5"/>
                <a:gd fmla="*/ 123 w 246" name="T6"/>
                <a:gd fmla="*/ 0 h 378" name="T7"/>
                <a:gd fmla="*/ 246 w 246" name="T8"/>
                <a:gd fmla="*/ 123 h 378" name="T9"/>
              </a:gdLst>
              <a:cxnLst>
                <a:cxn ang="0">
                  <a:pos x="T0" y="T1"/>
                </a:cxn>
                <a:cxn ang="0">
                  <a:pos x="T2" y="T3"/>
                </a:cxn>
                <a:cxn ang="0">
                  <a:pos x="T4" y="T5"/>
                </a:cxn>
                <a:cxn ang="0">
                  <a:pos x="T6" y="T7"/>
                </a:cxn>
                <a:cxn ang="0">
                  <a:pos x="T8" y="T9"/>
                </a:cxn>
              </a:cxnLst>
              <a:rect b="b" l="0" r="r" t="0"/>
              <a:pathLst>
                <a:path h="378" w="246">
                  <a:moveTo>
                    <a:pt x="246" y="123"/>
                  </a:moveTo>
                  <a:cubicBezTo>
                    <a:pt x="246" y="192"/>
                    <a:pt x="123" y="378"/>
                    <a:pt x="123" y="378"/>
                  </a:cubicBezTo>
                  <a:cubicBezTo>
                    <a:pt x="123" y="378"/>
                    <a:pt x="0" y="192"/>
                    <a:pt x="0" y="123"/>
                  </a:cubicBezTo>
                  <a:cubicBezTo>
                    <a:pt x="0" y="55"/>
                    <a:pt x="55" y="0"/>
                    <a:pt x="123" y="0"/>
                  </a:cubicBezTo>
                  <a:cubicBezTo>
                    <a:pt x="191" y="0"/>
                    <a:pt x="246" y="55"/>
                    <a:pt x="246" y="123"/>
                  </a:cubicBezTo>
                  <a:close/>
                </a:path>
              </a:pathLst>
            </a:custGeom>
            <a:solidFill>
              <a:srgbClr val="00456B"/>
            </a:solidFill>
            <a:ln>
              <a:noFill/>
            </a:ln>
            <a:extLst>
              <a:ext uri="{91240B29-F687-4F45-9708-019B960494DF}">
                <a14:hiddenLine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12" name="ï$1íḑe">
              <a:extLst>
                <a:ext uri="{FF2B5EF4-FFF2-40B4-BE49-F238E27FC236}">
                  <a16:creationId xmlns:a16="http://schemas.microsoft.com/office/drawing/2014/main" id="{D76DF6FE-F70D-49B2-A291-87338917C9DE}"/>
                </a:ext>
              </a:extLst>
            </p:cNvPr>
            <p:cNvSpPr/>
            <p:nvPr/>
          </p:nvSpPr>
          <p:spPr bwMode="auto">
            <a:xfrm>
              <a:off x="5255766" y="3085445"/>
              <a:ext cx="448357" cy="429752"/>
            </a:xfrm>
            <a:prstGeom prst="ellipse">
              <a:avLst/>
            </a:prstGeom>
            <a:solidFill>
              <a:srgbClr val="FAFBFC"/>
            </a:solidFill>
            <a:ln>
              <a:noFill/>
            </a:ln>
            <a:extLst>
              <a:ext uri="{91240B29-F687-4F45-9708-019B960494DF}">
                <a14:hiddenLine w="9525">
                  <a:solidFill>
                    <a:srgbClr val="000000"/>
                  </a:solidFill>
                  <a:round/>
                  <a:headEnd/>
                  <a:tailEnd/>
                </a14:hiddenLine>
              </a:ext>
            </a:extLst>
          </p:spPr>
          <p:txBody>
            <a:bodyPr anchor="ctr" anchorCtr="0" bIns="45720" compatLnSpc="1" lIns="91440" rIns="91440" tIns="45720" vert="horz" wrap="none">
              <a:prstTxWarp prst="textNoShape">
                <a:avLst/>
              </a:prstTxWarp>
              <a:normAutofit fontScale="92500" lnSpcReduction="20000"/>
            </a:bodyPr>
            <a:lstStyle/>
            <a:p>
              <a:pPr algn="ctr"/>
              <a:r>
                <a:rPr altLang="en-US" lang="zh-CN">
                  <a:solidFill>
                    <a:schemeClr val="tx1">
                      <a:lumMod val="85000"/>
                      <a:lumOff val="15000"/>
                    </a:schemeClr>
                  </a:solidFill>
                </a:rPr>
                <a:t>广州</a:t>
              </a:r>
            </a:p>
          </p:txBody>
        </p:sp>
      </p:grpSp>
      <p:grpSp>
        <p:nvGrpSpPr>
          <p:cNvPr id="159" name="组合 158">
            <a:extLst>
              <a:ext uri="{FF2B5EF4-FFF2-40B4-BE49-F238E27FC236}">
                <a16:creationId xmlns:a16="http://schemas.microsoft.com/office/drawing/2014/main" id="{5563E2A7-F01E-4426-8CC7-4D1C0402BF3B}"/>
              </a:ext>
            </a:extLst>
          </p:cNvPr>
          <p:cNvGrpSpPr/>
          <p:nvPr/>
        </p:nvGrpSpPr>
        <p:grpSpPr>
          <a:xfrm>
            <a:off x="4890510" y="1825311"/>
            <a:ext cx="645376" cy="922107"/>
            <a:chOff x="4890510" y="1825311"/>
            <a:chExt cx="645376" cy="922107"/>
          </a:xfrm>
        </p:grpSpPr>
        <p:sp>
          <p:nvSpPr>
            <p:cNvPr id="9" name="ïṩḻíḑe">
              <a:extLst>
                <a:ext uri="{FF2B5EF4-FFF2-40B4-BE49-F238E27FC236}">
                  <a16:creationId xmlns:a16="http://schemas.microsoft.com/office/drawing/2014/main" id="{1D46F8FE-A61F-4AFB-8A9B-E0FAB3E2BDB1}"/>
                </a:ext>
              </a:extLst>
            </p:cNvPr>
            <p:cNvSpPr/>
            <p:nvPr/>
          </p:nvSpPr>
          <p:spPr bwMode="auto">
            <a:xfrm>
              <a:off x="4898905" y="1825311"/>
              <a:ext cx="623967" cy="922107"/>
            </a:xfrm>
            <a:custGeom>
              <a:gdLst>
                <a:gd fmla="*/ 246 w 246" name="T0"/>
                <a:gd fmla="*/ 123 h 378" name="T1"/>
                <a:gd fmla="*/ 123 w 246" name="T2"/>
                <a:gd fmla="*/ 378 h 378" name="T3"/>
                <a:gd fmla="*/ 0 w 246" name="T4"/>
                <a:gd fmla="*/ 123 h 378" name="T5"/>
                <a:gd fmla="*/ 123 w 246" name="T6"/>
                <a:gd fmla="*/ 0 h 378" name="T7"/>
                <a:gd fmla="*/ 246 w 246" name="T8"/>
                <a:gd fmla="*/ 123 h 378" name="T9"/>
              </a:gdLst>
              <a:cxnLst>
                <a:cxn ang="0">
                  <a:pos x="T0" y="T1"/>
                </a:cxn>
                <a:cxn ang="0">
                  <a:pos x="T2" y="T3"/>
                </a:cxn>
                <a:cxn ang="0">
                  <a:pos x="T4" y="T5"/>
                </a:cxn>
                <a:cxn ang="0">
                  <a:pos x="T6" y="T7"/>
                </a:cxn>
                <a:cxn ang="0">
                  <a:pos x="T8" y="T9"/>
                </a:cxn>
              </a:cxnLst>
              <a:rect b="b" l="0" r="r" t="0"/>
              <a:pathLst>
                <a:path h="378" w="246">
                  <a:moveTo>
                    <a:pt x="246" y="123"/>
                  </a:moveTo>
                  <a:cubicBezTo>
                    <a:pt x="246" y="192"/>
                    <a:pt x="123" y="378"/>
                    <a:pt x="123" y="378"/>
                  </a:cubicBezTo>
                  <a:cubicBezTo>
                    <a:pt x="123" y="378"/>
                    <a:pt x="0" y="192"/>
                    <a:pt x="0" y="123"/>
                  </a:cubicBezTo>
                  <a:cubicBezTo>
                    <a:pt x="0" y="55"/>
                    <a:pt x="55" y="0"/>
                    <a:pt x="123" y="0"/>
                  </a:cubicBezTo>
                  <a:cubicBezTo>
                    <a:pt x="191" y="0"/>
                    <a:pt x="246" y="55"/>
                    <a:pt x="246" y="123"/>
                  </a:cubicBezTo>
                  <a:close/>
                </a:path>
              </a:pathLst>
            </a:custGeom>
            <a:solidFill>
              <a:schemeClr val="accent3"/>
            </a:solidFill>
            <a:ln>
              <a:noFill/>
            </a:ln>
            <a:extLst>
              <a:ext uri="{91240B29-F687-4F45-9708-019B960494DF}">
                <a14:hiddenLine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10" name="iṧľïḍê">
              <a:extLst>
                <a:ext uri="{FF2B5EF4-FFF2-40B4-BE49-F238E27FC236}">
                  <a16:creationId xmlns:a16="http://schemas.microsoft.com/office/drawing/2014/main" id="{65A341C2-6718-49F6-A373-E34769D8BF2D}"/>
                </a:ext>
              </a:extLst>
            </p:cNvPr>
            <p:cNvSpPr/>
            <p:nvPr/>
          </p:nvSpPr>
          <p:spPr bwMode="auto">
            <a:xfrm>
              <a:off x="4962124" y="1910039"/>
              <a:ext cx="495116" cy="474571"/>
            </a:xfrm>
            <a:prstGeom prst="ellipse">
              <a:avLst/>
            </a:prstGeom>
            <a:solidFill>
              <a:srgbClr val="FAFBFC"/>
            </a:solidFill>
            <a:ln>
              <a:noFill/>
            </a:ln>
            <a:extLst>
              <a:ext uri="{91240B29-F687-4F45-9708-019B960494DF}">
                <a14:hiddenLine w="9525">
                  <a:solidFill>
                    <a:srgbClr val="000000"/>
                  </a:solidFill>
                  <a:round/>
                  <a:headEnd/>
                  <a:tailEnd/>
                </a14:hiddenLine>
              </a:ext>
            </a:extLst>
          </p:spPr>
          <p:txBody>
            <a:bodyPr anchor="ctr" anchorCtr="0" bIns="45720" compatLnSpc="1" lIns="91440" rIns="91440" tIns="45720" vert="horz" wrap="none">
              <a:prstTxWarp prst="textNoShape">
                <a:avLst/>
              </a:prstTxWarp>
              <a:normAutofit fontScale="92500" lnSpcReduction="10000"/>
            </a:bodyPr>
            <a:lstStyle/>
            <a:p>
              <a:pPr algn="ctr"/>
              <a:r>
                <a:rPr altLang="en-US" lang="zh-CN">
                  <a:solidFill>
                    <a:schemeClr val="tx1">
                      <a:lumMod val="85000"/>
                      <a:lumOff val="15000"/>
                    </a:schemeClr>
                  </a:solidFill>
                </a:rPr>
                <a:t>北京</a:t>
              </a:r>
            </a:p>
          </p:txBody>
        </p:sp>
        <p:sp>
          <p:nvSpPr>
            <p:cNvPr id="13" name="íṣliḋê">
              <a:extLst>
                <a:ext uri="{FF2B5EF4-FFF2-40B4-BE49-F238E27FC236}">
                  <a16:creationId xmlns:a16="http://schemas.microsoft.com/office/drawing/2014/main" id="{646D018A-4859-4C70-9D0B-0AD745C0E1FD}"/>
                </a:ext>
              </a:extLst>
            </p:cNvPr>
            <p:cNvSpPr/>
            <p:nvPr/>
          </p:nvSpPr>
          <p:spPr bwMode="auto">
            <a:xfrm>
              <a:off x="4890510" y="1982240"/>
              <a:ext cx="645376" cy="308519"/>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anchor="ctr"/>
            <a:lstStyle/>
            <a:p>
              <a:pPr algn="ctr"/>
              <a:endParaRPr>
                <a:solidFill>
                  <a:schemeClr val="tx1">
                    <a:lumMod val="85000"/>
                    <a:lumOff val="15000"/>
                  </a:schemeClr>
                </a:solidFill>
              </a:endParaRPr>
            </a:p>
          </p:txBody>
        </p:sp>
      </p:grpSp>
      <p:grpSp>
        <p:nvGrpSpPr>
          <p:cNvPr id="160" name="组合 159">
            <a:extLst>
              <a:ext uri="{FF2B5EF4-FFF2-40B4-BE49-F238E27FC236}">
                <a16:creationId xmlns:a16="http://schemas.microsoft.com/office/drawing/2014/main" id="{53D05663-A441-407E-99E6-61587872E856}"/>
              </a:ext>
            </a:extLst>
          </p:cNvPr>
          <p:cNvGrpSpPr/>
          <p:nvPr/>
        </p:nvGrpSpPr>
        <p:grpSpPr>
          <a:xfrm>
            <a:off x="3670888" y="2572422"/>
            <a:ext cx="768425" cy="1135591"/>
            <a:chOff x="3670888" y="2572422"/>
            <a:chExt cx="768425" cy="1135591"/>
          </a:xfrm>
        </p:grpSpPr>
        <p:grpSp>
          <p:nvGrpSpPr>
            <p:cNvPr id="8" name="ïṩļîďê">
              <a:extLst>
                <a:ext uri="{FF2B5EF4-FFF2-40B4-BE49-F238E27FC236}">
                  <a16:creationId xmlns:a16="http://schemas.microsoft.com/office/drawing/2014/main" id="{47D336DC-6DBC-4FDF-8A57-C6D73BDC7F2A}"/>
                </a:ext>
              </a:extLst>
            </p:cNvPr>
            <p:cNvGrpSpPr/>
            <p:nvPr/>
          </p:nvGrpSpPr>
          <p:grpSpPr>
            <a:xfrm>
              <a:off x="3670888" y="2572422"/>
              <a:ext cx="768425" cy="1135591"/>
              <a:chOff x="6097588" y="6708776"/>
              <a:chExt cx="512763" cy="790575"/>
            </a:xfrm>
          </p:grpSpPr>
          <p:sp>
            <p:nvSpPr>
              <p:cNvPr id="16" name="îS1îďê">
                <a:extLst>
                  <a:ext uri="{FF2B5EF4-FFF2-40B4-BE49-F238E27FC236}">
                    <a16:creationId xmlns:a16="http://schemas.microsoft.com/office/drawing/2014/main" id="{217D80AF-927F-4059-B1A1-FBF088EE35F0}"/>
                  </a:ext>
                </a:extLst>
              </p:cNvPr>
              <p:cNvSpPr/>
              <p:nvPr/>
            </p:nvSpPr>
            <p:spPr bwMode="auto">
              <a:xfrm>
                <a:off x="6097588" y="6708776"/>
                <a:ext cx="512763" cy="790575"/>
              </a:xfrm>
              <a:custGeom>
                <a:gdLst>
                  <a:gd fmla="*/ 246 w 246" name="T0"/>
                  <a:gd fmla="*/ 123 h 378" name="T1"/>
                  <a:gd fmla="*/ 123 w 246" name="T2"/>
                  <a:gd fmla="*/ 378 h 378" name="T3"/>
                  <a:gd fmla="*/ 0 w 246" name="T4"/>
                  <a:gd fmla="*/ 123 h 378" name="T5"/>
                  <a:gd fmla="*/ 123 w 246" name="T6"/>
                  <a:gd fmla="*/ 0 h 378" name="T7"/>
                  <a:gd fmla="*/ 246 w 246" name="T8"/>
                  <a:gd fmla="*/ 123 h 378" name="T9"/>
                </a:gdLst>
                <a:cxnLst>
                  <a:cxn ang="0">
                    <a:pos x="T0" y="T1"/>
                  </a:cxn>
                  <a:cxn ang="0">
                    <a:pos x="T2" y="T3"/>
                  </a:cxn>
                  <a:cxn ang="0">
                    <a:pos x="T4" y="T5"/>
                  </a:cxn>
                  <a:cxn ang="0">
                    <a:pos x="T6" y="T7"/>
                  </a:cxn>
                  <a:cxn ang="0">
                    <a:pos x="T8" y="T9"/>
                  </a:cxn>
                </a:cxnLst>
                <a:rect b="b" l="0" r="r" t="0"/>
                <a:pathLst>
                  <a:path h="378" w="246">
                    <a:moveTo>
                      <a:pt x="246" y="123"/>
                    </a:moveTo>
                    <a:cubicBezTo>
                      <a:pt x="246" y="192"/>
                      <a:pt x="123" y="378"/>
                      <a:pt x="123" y="378"/>
                    </a:cubicBezTo>
                    <a:cubicBezTo>
                      <a:pt x="123" y="378"/>
                      <a:pt x="0" y="192"/>
                      <a:pt x="0" y="123"/>
                    </a:cubicBezTo>
                    <a:cubicBezTo>
                      <a:pt x="0" y="55"/>
                      <a:pt x="55" y="0"/>
                      <a:pt x="123" y="0"/>
                    </a:cubicBezTo>
                    <a:cubicBezTo>
                      <a:pt x="191" y="0"/>
                      <a:pt x="246" y="55"/>
                      <a:pt x="246" y="123"/>
                    </a:cubicBezTo>
                    <a:close/>
                  </a:path>
                </a:pathLst>
              </a:custGeom>
              <a:solidFill>
                <a:srgbClr val="FFC73E"/>
              </a:solidFill>
              <a:ln>
                <a:noFill/>
              </a:ln>
              <a:extLst>
                <a:ext uri="{91240B29-F687-4F45-9708-019B960494DF}">
                  <a14:hiddenLine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17" name="iṣḷîḋê">
                <a:extLst>
                  <a:ext uri="{FF2B5EF4-FFF2-40B4-BE49-F238E27FC236}">
                    <a16:creationId xmlns:a16="http://schemas.microsoft.com/office/drawing/2014/main" id="{C73D766B-C2E1-45B4-9EA8-271AF0D0F60C}"/>
                  </a:ext>
                </a:extLst>
              </p:cNvPr>
              <p:cNvSpPr/>
              <p:nvPr/>
            </p:nvSpPr>
            <p:spPr bwMode="auto">
              <a:xfrm>
                <a:off x="6195710" y="6815130"/>
                <a:ext cx="303213" cy="303213"/>
              </a:xfrm>
              <a:prstGeom prst="ellipse">
                <a:avLst/>
              </a:prstGeom>
              <a:solidFill>
                <a:srgbClr val="FAFBFC"/>
              </a:solidFill>
              <a:ln>
                <a:noFill/>
              </a:ln>
              <a:extLst>
                <a:ext uri="{91240B29-F687-4F45-9708-019B960494DF}">
                  <a14:hiddenLine w="9525">
                    <a:solidFill>
                      <a:srgbClr val="000000"/>
                    </a:solidFill>
                    <a:round/>
                    <a:headEnd/>
                    <a:tailEnd/>
                  </a14:hiddenLine>
                </a:ext>
              </a:extLst>
            </p:spPr>
            <p:txBody>
              <a:bodyPr anchor="ctr" anchorCtr="0" bIns="45720" compatLnSpc="1" lIns="91440" rIns="91440" tIns="45720" vert="horz" wrap="none">
                <a:prstTxWarp prst="textNoShape">
                  <a:avLst/>
                </a:prstTxWarp>
                <a:normAutofit fontScale="92500" lnSpcReduction="20000"/>
              </a:bodyPr>
              <a:lstStyle/>
              <a:p>
                <a:pPr algn="ctr"/>
                <a:r>
                  <a:rPr altLang="en-US" lang="zh-CN">
                    <a:solidFill>
                      <a:schemeClr val="tx1">
                        <a:lumMod val="85000"/>
                        <a:lumOff val="15000"/>
                      </a:schemeClr>
                    </a:solidFill>
                  </a:rPr>
                  <a:t>杭州</a:t>
                </a:r>
              </a:p>
            </p:txBody>
          </p:sp>
        </p:grpSp>
        <p:sp>
          <p:nvSpPr>
            <p:cNvPr id="14" name="íṡļîdê">
              <a:extLst>
                <a:ext uri="{FF2B5EF4-FFF2-40B4-BE49-F238E27FC236}">
                  <a16:creationId xmlns:a16="http://schemas.microsoft.com/office/drawing/2014/main" id="{EAC96E9F-320E-4D15-85A2-5C88CCD25276}"/>
                </a:ext>
              </a:extLst>
            </p:cNvPr>
            <p:cNvSpPr/>
            <p:nvPr/>
          </p:nvSpPr>
          <p:spPr bwMode="auto">
            <a:xfrm>
              <a:off x="3778344" y="2759506"/>
              <a:ext cx="645376" cy="308519"/>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anchor="ctr"/>
            <a:lstStyle/>
            <a:p>
              <a:pPr algn="ctr"/>
              <a:endParaRPr>
                <a:solidFill>
                  <a:schemeClr val="tx1">
                    <a:lumMod val="85000"/>
                    <a:lumOff val="15000"/>
                  </a:schemeClr>
                </a:solidFill>
              </a:endParaRPr>
            </a:p>
          </p:txBody>
        </p:sp>
      </p:grpSp>
      <p:sp>
        <p:nvSpPr>
          <p:cNvPr id="117" name="椭圆 116">
            <a:extLst>
              <a:ext uri="{FF2B5EF4-FFF2-40B4-BE49-F238E27FC236}">
                <a16:creationId xmlns:a16="http://schemas.microsoft.com/office/drawing/2014/main" id="{EB06A5CA-C046-45A2-9BFC-F1844D56BE60}"/>
              </a:ext>
            </a:extLst>
          </p:cNvPr>
          <p:cNvSpPr/>
          <p:nvPr/>
        </p:nvSpPr>
        <p:spPr>
          <a:xfrm>
            <a:off x="11325281" y="5957455"/>
            <a:ext cx="1193212" cy="1193212"/>
          </a:xfrm>
          <a:prstGeom prst="ellipse">
            <a:avLst/>
          </a:prstGeom>
          <a:solidFill>
            <a:srgbClr val="A0CBD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118" name="文本框 117">
            <a:extLst>
              <a:ext uri="{FF2B5EF4-FFF2-40B4-BE49-F238E27FC236}">
                <a16:creationId xmlns:a16="http://schemas.microsoft.com/office/drawing/2014/main" id="{60900AC0-B316-4951-AF48-FB53651F2024}"/>
              </a:ext>
            </a:extLst>
          </p:cNvPr>
          <p:cNvSpPr txBox="1"/>
          <p:nvPr/>
        </p:nvSpPr>
        <p:spPr>
          <a:xfrm>
            <a:off x="4133850" y="390618"/>
            <a:ext cx="3924300" cy="640080"/>
          </a:xfrm>
          <a:prstGeom prst="rect">
            <a:avLst/>
          </a:prstGeom>
          <a:noFill/>
        </p:spPr>
        <p:txBody>
          <a:bodyPr rtlCol="0" wrap="square">
            <a:spAutoFit/>
          </a:bodyPr>
          <a:lstStyle/>
          <a:p>
            <a:pPr algn="ctr"/>
            <a:r>
              <a:rPr altLang="en-US" lang="zh-CN" sz="3600">
                <a:solidFill>
                  <a:schemeClr val="tx1">
                    <a:lumMod val="85000"/>
                    <a:lumOff val="15000"/>
                  </a:schemeClr>
                </a:solidFill>
                <a:latin charset="-122" panose="02000500000000000000" pitchFamily="2" typeface="方正雅士黑 简"/>
                <a:ea charset="-122" panose="02000500000000000000" pitchFamily="2" typeface="方正雅士黑 简"/>
              </a:rPr>
              <a:t>工作成果展示</a:t>
            </a:r>
          </a:p>
        </p:txBody>
      </p:sp>
      <p:cxnSp>
        <p:nvCxnSpPr>
          <p:cNvPr id="119" name="直接连接符 118">
            <a:extLst>
              <a:ext uri="{FF2B5EF4-FFF2-40B4-BE49-F238E27FC236}">
                <a16:creationId xmlns:a16="http://schemas.microsoft.com/office/drawing/2014/main" id="{755E28A0-CF4D-4AF4-A30F-B90E59C98917}"/>
              </a:ext>
            </a:extLst>
          </p:cNvPr>
          <p:cNvCxnSpPr/>
          <p:nvPr/>
        </p:nvCxnSpPr>
        <p:spPr>
          <a:xfrm>
            <a:off x="7791452" y="683005"/>
            <a:ext cx="571498" cy="0"/>
          </a:xfrm>
          <a:prstGeom prst="line">
            <a:avLst/>
          </a:prstGeom>
          <a:ln cap="rnd" w="19050">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pic>
        <p:nvPicPr>
          <p:cNvPr id="120" name="图形 119">
            <a:extLst>
              <a:ext uri="{FF2B5EF4-FFF2-40B4-BE49-F238E27FC236}">
                <a16:creationId xmlns:a16="http://schemas.microsoft.com/office/drawing/2014/main" id="{781EF5A3-0D23-4C70-A1F2-938AE5062A2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314825" y="597280"/>
            <a:ext cx="171450" cy="171450"/>
          </a:xfrm>
          <a:prstGeom prst="rect">
            <a:avLst/>
          </a:prstGeom>
        </p:spPr>
      </p:pic>
      <p:pic>
        <p:nvPicPr>
          <p:cNvPr id="121" name="图形 120">
            <a:extLst>
              <a:ext uri="{FF2B5EF4-FFF2-40B4-BE49-F238E27FC236}">
                <a16:creationId xmlns:a16="http://schemas.microsoft.com/office/drawing/2014/main" id="{47797F69-7B97-41A7-80A8-1468BF9CF21E}"/>
              </a:ext>
            </a:extLst>
          </p:cNvPr>
          <p:cNvPicPr>
            <a:picLocks noChangeAspect="1"/>
          </p:cNvPicPr>
          <p:nvPr/>
        </p:nvPicPr>
        <p:blipFill>
          <a:blip r:embed="rId3">
            <a:extLst>
              <a:ext uri="{96DAC541-7B7A-43D3-8B79-37D633B846F1}">
                <asvg:svgBlip xmlns:asvg="http://schemas.microsoft.com/office/drawing/2016/SVG/main" r:embed="rId5"/>
              </a:ext>
            </a:extLst>
          </a:blip>
          <a:stretch>
            <a:fillRect/>
          </a:stretch>
        </p:blipFill>
        <p:spPr>
          <a:xfrm>
            <a:off x="7705727" y="597280"/>
            <a:ext cx="171450" cy="171450"/>
          </a:xfrm>
          <a:prstGeom prst="rect">
            <a:avLst/>
          </a:prstGeom>
        </p:spPr>
      </p:pic>
      <p:cxnSp>
        <p:nvCxnSpPr>
          <p:cNvPr id="122" name="直接连接符 121">
            <a:extLst>
              <a:ext uri="{FF2B5EF4-FFF2-40B4-BE49-F238E27FC236}">
                <a16:creationId xmlns:a16="http://schemas.microsoft.com/office/drawing/2014/main" id="{9DCCEF0D-026B-4F3A-AD55-B1544EA329BF}"/>
              </a:ext>
            </a:extLst>
          </p:cNvPr>
          <p:cNvCxnSpPr/>
          <p:nvPr/>
        </p:nvCxnSpPr>
        <p:spPr>
          <a:xfrm>
            <a:off x="3829052" y="683005"/>
            <a:ext cx="571498" cy="0"/>
          </a:xfrm>
          <a:prstGeom prst="line">
            <a:avLst/>
          </a:prstGeom>
          <a:ln cap="rnd" w="19050">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pic>
        <p:nvPicPr>
          <p:cNvPr id="123" name="图形 122">
            <a:extLst>
              <a:ext uri="{FF2B5EF4-FFF2-40B4-BE49-F238E27FC236}">
                <a16:creationId xmlns:a16="http://schemas.microsoft.com/office/drawing/2014/main" id="{8360B361-4A54-4A5A-B974-93E5D7E0CFD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192576" y="5633038"/>
            <a:ext cx="871735" cy="1193212"/>
          </a:xfrm>
          <a:prstGeom prst="rect">
            <a:avLst/>
          </a:prstGeom>
        </p:spPr>
      </p:pic>
      <p:cxnSp>
        <p:nvCxnSpPr>
          <p:cNvPr id="130" name="Straight Connector 14">
            <a:extLst>
              <a:ext uri="{FF2B5EF4-FFF2-40B4-BE49-F238E27FC236}">
                <a16:creationId xmlns:a16="http://schemas.microsoft.com/office/drawing/2014/main" id="{32E73A24-30DC-433E-9A03-0D03A9E76815}"/>
              </a:ext>
            </a:extLst>
          </p:cNvPr>
          <p:cNvCxnSpPr/>
          <p:nvPr/>
        </p:nvCxnSpPr>
        <p:spPr>
          <a:xfrm>
            <a:off x="6688136" y="2717323"/>
            <a:ext cx="4396412" cy="0"/>
          </a:xfrm>
          <a:prstGeom prst="line">
            <a:avLst/>
          </a:prstGeom>
          <a:ln w="31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1" name="Straight Connector 208">
            <a:extLst>
              <a:ext uri="{FF2B5EF4-FFF2-40B4-BE49-F238E27FC236}">
                <a16:creationId xmlns:a16="http://schemas.microsoft.com/office/drawing/2014/main" id="{3578101C-CCC5-41EA-AE42-0FDDEF398E5C}"/>
              </a:ext>
            </a:extLst>
          </p:cNvPr>
          <p:cNvCxnSpPr/>
          <p:nvPr/>
        </p:nvCxnSpPr>
        <p:spPr>
          <a:xfrm>
            <a:off x="6688136" y="3433723"/>
            <a:ext cx="4396412" cy="0"/>
          </a:xfrm>
          <a:prstGeom prst="line">
            <a:avLst/>
          </a:prstGeom>
          <a:ln w="31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2" name="Straight Connector 209">
            <a:extLst>
              <a:ext uri="{FF2B5EF4-FFF2-40B4-BE49-F238E27FC236}">
                <a16:creationId xmlns:a16="http://schemas.microsoft.com/office/drawing/2014/main" id="{A0339147-3C79-4357-B378-C474DE66C8E0}"/>
              </a:ext>
            </a:extLst>
          </p:cNvPr>
          <p:cNvCxnSpPr/>
          <p:nvPr/>
        </p:nvCxnSpPr>
        <p:spPr>
          <a:xfrm>
            <a:off x="6688136" y="4148097"/>
            <a:ext cx="4396412" cy="0"/>
          </a:xfrm>
          <a:prstGeom prst="line">
            <a:avLst/>
          </a:prstGeom>
          <a:ln w="31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3" name="Straight Connector 210">
            <a:extLst>
              <a:ext uri="{FF2B5EF4-FFF2-40B4-BE49-F238E27FC236}">
                <a16:creationId xmlns:a16="http://schemas.microsoft.com/office/drawing/2014/main" id="{81F29342-B4D8-4190-9516-03A1781EDCF5}"/>
              </a:ext>
            </a:extLst>
          </p:cNvPr>
          <p:cNvCxnSpPr/>
          <p:nvPr/>
        </p:nvCxnSpPr>
        <p:spPr>
          <a:xfrm>
            <a:off x="6688136" y="4845247"/>
            <a:ext cx="4396412" cy="0"/>
          </a:xfrm>
          <a:prstGeom prst="line">
            <a:avLst/>
          </a:prstGeom>
          <a:ln w="31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62" name="组合 161">
            <a:extLst>
              <a:ext uri="{FF2B5EF4-FFF2-40B4-BE49-F238E27FC236}">
                <a16:creationId xmlns:a16="http://schemas.microsoft.com/office/drawing/2014/main" id="{CB06B95E-972C-4748-BE95-221F6F706A4C}"/>
              </a:ext>
            </a:extLst>
          </p:cNvPr>
          <p:cNvGrpSpPr/>
          <p:nvPr/>
        </p:nvGrpSpPr>
        <p:grpSpPr>
          <a:xfrm>
            <a:off x="6688138" y="2226472"/>
            <a:ext cx="264279" cy="263652"/>
            <a:chOff x="6688138" y="2226472"/>
            <a:chExt cx="264279" cy="263652"/>
          </a:xfrm>
        </p:grpSpPr>
        <p:sp>
          <p:nvSpPr>
            <p:cNvPr id="125" name="Freeform 645">
              <a:extLst>
                <a:ext uri="{FF2B5EF4-FFF2-40B4-BE49-F238E27FC236}">
                  <a16:creationId xmlns:a16="http://schemas.microsoft.com/office/drawing/2014/main" id="{8A4C7FF3-A639-42C4-BA1F-916CDFC756D3}"/>
                </a:ext>
              </a:extLst>
            </p:cNvPr>
            <p:cNvSpPr/>
            <p:nvPr/>
          </p:nvSpPr>
          <p:spPr bwMode="auto">
            <a:xfrm>
              <a:off x="6688138" y="2226472"/>
              <a:ext cx="264279" cy="263652"/>
            </a:xfrm>
            <a:custGeom>
              <a:gdLst>
                <a:gd fmla="*/ 400 w 845" name="T0"/>
                <a:gd fmla="*/ 846 h 846" name="T1"/>
                <a:gd fmla="*/ 336 w 845" name="T2"/>
                <a:gd fmla="*/ 837 h 846" name="T3"/>
                <a:gd fmla="*/ 277 w 845" name="T4"/>
                <a:gd fmla="*/ 820 h 846" name="T5"/>
                <a:gd fmla="*/ 221 w 845" name="T6"/>
                <a:gd fmla="*/ 795 h 846" name="T7"/>
                <a:gd fmla="*/ 169 w 845" name="T8"/>
                <a:gd fmla="*/ 761 h 846" name="T9"/>
                <a:gd fmla="*/ 123 w 845" name="T10"/>
                <a:gd fmla="*/ 722 h 846" name="T11"/>
                <a:gd fmla="*/ 83 w 845" name="T12"/>
                <a:gd fmla="*/ 675 h 846" name="T13"/>
                <a:gd fmla="*/ 51 w 845" name="T14"/>
                <a:gd fmla="*/ 624 h 846" name="T15"/>
                <a:gd fmla="*/ 24 w 845" name="T16"/>
                <a:gd fmla="*/ 569 h 846" name="T17"/>
                <a:gd fmla="*/ 8 w 845" name="T18"/>
                <a:gd fmla="*/ 508 h 846" name="T19"/>
                <a:gd fmla="*/ 0 w 845" name="T20"/>
                <a:gd fmla="*/ 445 h 846" name="T21"/>
                <a:gd fmla="*/ 0 w 845" name="T22"/>
                <a:gd fmla="*/ 401 h 846" name="T23"/>
                <a:gd fmla="*/ 8 w 845" name="T24"/>
                <a:gd fmla="*/ 339 h 846" name="T25"/>
                <a:gd fmla="*/ 24 w 845" name="T26"/>
                <a:gd fmla="*/ 277 h 846" name="T27"/>
                <a:gd fmla="*/ 51 w 845" name="T28"/>
                <a:gd fmla="*/ 222 h 846" name="T29"/>
                <a:gd fmla="*/ 83 w 845" name="T30"/>
                <a:gd fmla="*/ 171 h 846" name="T31"/>
                <a:gd fmla="*/ 123 w 845" name="T32"/>
                <a:gd fmla="*/ 124 h 846" name="T33"/>
                <a:gd fmla="*/ 169 w 845" name="T34"/>
                <a:gd fmla="*/ 85 h 846" name="T35"/>
                <a:gd fmla="*/ 221 w 845" name="T36"/>
                <a:gd fmla="*/ 51 h 846" name="T37"/>
                <a:gd fmla="*/ 277 w 845" name="T38"/>
                <a:gd fmla="*/ 27 h 846" name="T39"/>
                <a:gd fmla="*/ 336 w 845" name="T40"/>
                <a:gd fmla="*/ 9 h 846" name="T41"/>
                <a:gd fmla="*/ 400 w 845" name="T42"/>
                <a:gd fmla="*/ 0 h 846" name="T43"/>
                <a:gd fmla="*/ 444 w 845" name="T44"/>
                <a:gd fmla="*/ 0 h 846" name="T45"/>
                <a:gd fmla="*/ 507 w 845" name="T46"/>
                <a:gd fmla="*/ 9 h 846" name="T47"/>
                <a:gd fmla="*/ 567 w 845" name="T48"/>
                <a:gd fmla="*/ 27 h 846" name="T49"/>
                <a:gd fmla="*/ 624 w 845" name="T50"/>
                <a:gd fmla="*/ 51 h 846" name="T51"/>
                <a:gd fmla="*/ 675 w 845" name="T52"/>
                <a:gd fmla="*/ 85 h 846" name="T53"/>
                <a:gd fmla="*/ 721 w 845" name="T54"/>
                <a:gd fmla="*/ 124 h 846" name="T55"/>
                <a:gd fmla="*/ 761 w 845" name="T56"/>
                <a:gd fmla="*/ 171 h 846" name="T57"/>
                <a:gd fmla="*/ 794 w 845" name="T58"/>
                <a:gd fmla="*/ 222 h 846" name="T59"/>
                <a:gd fmla="*/ 819 w 845" name="T60"/>
                <a:gd fmla="*/ 277 h 846" name="T61"/>
                <a:gd fmla="*/ 836 w 845" name="T62"/>
                <a:gd fmla="*/ 339 h 846" name="T63"/>
                <a:gd fmla="*/ 844 w 845" name="T64"/>
                <a:gd fmla="*/ 401 h 846" name="T65"/>
                <a:gd fmla="*/ 844 w 845" name="T66"/>
                <a:gd fmla="*/ 445 h 846" name="T67"/>
                <a:gd fmla="*/ 836 w 845" name="T68"/>
                <a:gd fmla="*/ 508 h 846" name="T69"/>
                <a:gd fmla="*/ 819 w 845" name="T70"/>
                <a:gd fmla="*/ 569 h 846" name="T71"/>
                <a:gd fmla="*/ 794 w 845" name="T72"/>
                <a:gd fmla="*/ 624 h 846" name="T73"/>
                <a:gd fmla="*/ 761 w 845" name="T74"/>
                <a:gd fmla="*/ 675 h 846" name="T75"/>
                <a:gd fmla="*/ 721 w 845" name="T76"/>
                <a:gd fmla="*/ 722 h 846" name="T77"/>
                <a:gd fmla="*/ 675 w 845" name="T78"/>
                <a:gd fmla="*/ 761 h 846" name="T79"/>
                <a:gd fmla="*/ 624 w 845" name="T80"/>
                <a:gd fmla="*/ 795 h 846" name="T81"/>
                <a:gd fmla="*/ 567 w 845" name="T82"/>
                <a:gd fmla="*/ 820 h 846" name="T83"/>
                <a:gd fmla="*/ 507 w 845" name="T84"/>
                <a:gd fmla="*/ 837 h 846" name="T85"/>
                <a:gd fmla="*/ 444 w 845" name="T86"/>
                <a:gd fmla="*/ 846 h 846" name="T8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b="b" l="0" r="r" t="0"/>
              <a:pathLst>
                <a:path h="845" w="845">
                  <a:moveTo>
                    <a:pt x="422" y="846"/>
                  </a:moveTo>
                  <a:lnTo>
                    <a:pt x="422" y="846"/>
                  </a:lnTo>
                  <a:lnTo>
                    <a:pt x="400" y="846"/>
                  </a:lnTo>
                  <a:lnTo>
                    <a:pt x="379" y="843"/>
                  </a:lnTo>
                  <a:lnTo>
                    <a:pt x="358" y="842"/>
                  </a:lnTo>
                  <a:lnTo>
                    <a:pt x="336" y="837"/>
                  </a:lnTo>
                  <a:lnTo>
                    <a:pt x="316" y="833"/>
                  </a:lnTo>
                  <a:lnTo>
                    <a:pt x="297" y="827"/>
                  </a:lnTo>
                  <a:lnTo>
                    <a:pt x="277" y="820"/>
                  </a:lnTo>
                  <a:lnTo>
                    <a:pt x="258" y="812"/>
                  </a:lnTo>
                  <a:lnTo>
                    <a:pt x="239" y="804"/>
                  </a:lnTo>
                  <a:lnTo>
                    <a:pt x="221" y="795"/>
                  </a:lnTo>
                  <a:lnTo>
                    <a:pt x="204" y="785"/>
                  </a:lnTo>
                  <a:lnTo>
                    <a:pt x="186" y="773"/>
                  </a:lnTo>
                  <a:lnTo>
                    <a:pt x="169" y="761"/>
                  </a:lnTo>
                  <a:lnTo>
                    <a:pt x="153" y="750"/>
                  </a:lnTo>
                  <a:lnTo>
                    <a:pt x="138" y="737"/>
                  </a:lnTo>
                  <a:lnTo>
                    <a:pt x="123" y="722"/>
                  </a:lnTo>
                  <a:lnTo>
                    <a:pt x="109" y="707"/>
                  </a:lnTo>
                  <a:lnTo>
                    <a:pt x="96" y="691"/>
                  </a:lnTo>
                  <a:lnTo>
                    <a:pt x="83" y="675"/>
                  </a:lnTo>
                  <a:lnTo>
                    <a:pt x="71" y="659"/>
                  </a:lnTo>
                  <a:lnTo>
                    <a:pt x="61" y="642"/>
                  </a:lnTo>
                  <a:lnTo>
                    <a:pt x="51" y="624"/>
                  </a:lnTo>
                  <a:lnTo>
                    <a:pt x="40" y="607"/>
                  </a:lnTo>
                  <a:lnTo>
                    <a:pt x="33" y="588"/>
                  </a:lnTo>
                  <a:lnTo>
                    <a:pt x="24" y="569"/>
                  </a:lnTo>
                  <a:lnTo>
                    <a:pt x="18" y="549"/>
                  </a:lnTo>
                  <a:lnTo>
                    <a:pt x="13" y="528"/>
                  </a:lnTo>
                  <a:lnTo>
                    <a:pt x="8" y="508"/>
                  </a:lnTo>
                  <a:lnTo>
                    <a:pt x="4" y="487"/>
                  </a:lnTo>
                  <a:lnTo>
                    <a:pt x="1" y="467"/>
                  </a:lnTo>
                  <a:lnTo>
                    <a:pt x="0" y="445"/>
                  </a:lnTo>
                  <a:lnTo>
                    <a:pt x="0" y="423"/>
                  </a:lnTo>
                  <a:lnTo>
                    <a:pt x="0" y="423"/>
                  </a:lnTo>
                  <a:lnTo>
                    <a:pt x="0" y="401"/>
                  </a:lnTo>
                  <a:lnTo>
                    <a:pt x="1" y="379"/>
                  </a:lnTo>
                  <a:lnTo>
                    <a:pt x="4" y="359"/>
                  </a:lnTo>
                  <a:lnTo>
                    <a:pt x="8" y="339"/>
                  </a:lnTo>
                  <a:lnTo>
                    <a:pt x="13" y="318"/>
                  </a:lnTo>
                  <a:lnTo>
                    <a:pt x="18" y="298"/>
                  </a:lnTo>
                  <a:lnTo>
                    <a:pt x="24" y="277"/>
                  </a:lnTo>
                  <a:lnTo>
                    <a:pt x="33" y="258"/>
                  </a:lnTo>
                  <a:lnTo>
                    <a:pt x="40" y="239"/>
                  </a:lnTo>
                  <a:lnTo>
                    <a:pt x="51" y="222"/>
                  </a:lnTo>
                  <a:lnTo>
                    <a:pt x="61" y="204"/>
                  </a:lnTo>
                  <a:lnTo>
                    <a:pt x="71" y="187"/>
                  </a:lnTo>
                  <a:lnTo>
                    <a:pt x="83" y="171"/>
                  </a:lnTo>
                  <a:lnTo>
                    <a:pt x="96" y="155"/>
                  </a:lnTo>
                  <a:lnTo>
                    <a:pt x="109" y="139"/>
                  </a:lnTo>
                  <a:lnTo>
                    <a:pt x="123" y="124"/>
                  </a:lnTo>
                  <a:lnTo>
                    <a:pt x="138" y="110"/>
                  </a:lnTo>
                  <a:lnTo>
                    <a:pt x="153" y="97"/>
                  </a:lnTo>
                  <a:lnTo>
                    <a:pt x="169" y="85"/>
                  </a:lnTo>
                  <a:lnTo>
                    <a:pt x="186" y="73"/>
                  </a:lnTo>
                  <a:lnTo>
                    <a:pt x="204" y="62"/>
                  </a:lnTo>
                  <a:lnTo>
                    <a:pt x="221" y="51"/>
                  </a:lnTo>
                  <a:lnTo>
                    <a:pt x="239" y="43"/>
                  </a:lnTo>
                  <a:lnTo>
                    <a:pt x="258" y="34"/>
                  </a:lnTo>
                  <a:lnTo>
                    <a:pt x="277" y="27"/>
                  </a:lnTo>
                  <a:lnTo>
                    <a:pt x="297" y="19"/>
                  </a:lnTo>
                  <a:lnTo>
                    <a:pt x="316" y="13"/>
                  </a:lnTo>
                  <a:lnTo>
                    <a:pt x="336" y="9"/>
                  </a:lnTo>
                  <a:lnTo>
                    <a:pt x="358" y="5"/>
                  </a:lnTo>
                  <a:lnTo>
                    <a:pt x="379" y="2"/>
                  </a:lnTo>
                  <a:lnTo>
                    <a:pt x="400" y="0"/>
                  </a:lnTo>
                  <a:lnTo>
                    <a:pt x="422" y="0"/>
                  </a:lnTo>
                  <a:lnTo>
                    <a:pt x="422" y="0"/>
                  </a:lnTo>
                  <a:lnTo>
                    <a:pt x="444" y="0"/>
                  </a:lnTo>
                  <a:lnTo>
                    <a:pt x="465" y="2"/>
                  </a:lnTo>
                  <a:lnTo>
                    <a:pt x="487" y="5"/>
                  </a:lnTo>
                  <a:lnTo>
                    <a:pt x="507" y="9"/>
                  </a:lnTo>
                  <a:lnTo>
                    <a:pt x="527" y="13"/>
                  </a:lnTo>
                  <a:lnTo>
                    <a:pt x="548" y="19"/>
                  </a:lnTo>
                  <a:lnTo>
                    <a:pt x="567" y="27"/>
                  </a:lnTo>
                  <a:lnTo>
                    <a:pt x="587" y="34"/>
                  </a:lnTo>
                  <a:lnTo>
                    <a:pt x="605" y="43"/>
                  </a:lnTo>
                  <a:lnTo>
                    <a:pt x="624" y="51"/>
                  </a:lnTo>
                  <a:lnTo>
                    <a:pt x="641" y="62"/>
                  </a:lnTo>
                  <a:lnTo>
                    <a:pt x="659" y="73"/>
                  </a:lnTo>
                  <a:lnTo>
                    <a:pt x="675" y="85"/>
                  </a:lnTo>
                  <a:lnTo>
                    <a:pt x="691" y="97"/>
                  </a:lnTo>
                  <a:lnTo>
                    <a:pt x="707" y="110"/>
                  </a:lnTo>
                  <a:lnTo>
                    <a:pt x="721" y="124"/>
                  </a:lnTo>
                  <a:lnTo>
                    <a:pt x="734" y="139"/>
                  </a:lnTo>
                  <a:lnTo>
                    <a:pt x="747" y="155"/>
                  </a:lnTo>
                  <a:lnTo>
                    <a:pt x="761" y="171"/>
                  </a:lnTo>
                  <a:lnTo>
                    <a:pt x="772" y="187"/>
                  </a:lnTo>
                  <a:lnTo>
                    <a:pt x="784" y="204"/>
                  </a:lnTo>
                  <a:lnTo>
                    <a:pt x="794" y="222"/>
                  </a:lnTo>
                  <a:lnTo>
                    <a:pt x="803" y="239"/>
                  </a:lnTo>
                  <a:lnTo>
                    <a:pt x="812" y="258"/>
                  </a:lnTo>
                  <a:lnTo>
                    <a:pt x="819" y="277"/>
                  </a:lnTo>
                  <a:lnTo>
                    <a:pt x="826" y="298"/>
                  </a:lnTo>
                  <a:lnTo>
                    <a:pt x="832" y="318"/>
                  </a:lnTo>
                  <a:lnTo>
                    <a:pt x="836" y="339"/>
                  </a:lnTo>
                  <a:lnTo>
                    <a:pt x="839" y="359"/>
                  </a:lnTo>
                  <a:lnTo>
                    <a:pt x="842" y="379"/>
                  </a:lnTo>
                  <a:lnTo>
                    <a:pt x="844" y="401"/>
                  </a:lnTo>
                  <a:lnTo>
                    <a:pt x="845" y="423"/>
                  </a:lnTo>
                  <a:lnTo>
                    <a:pt x="845" y="423"/>
                  </a:lnTo>
                  <a:lnTo>
                    <a:pt x="844" y="445"/>
                  </a:lnTo>
                  <a:lnTo>
                    <a:pt x="842" y="467"/>
                  </a:lnTo>
                  <a:lnTo>
                    <a:pt x="839" y="487"/>
                  </a:lnTo>
                  <a:lnTo>
                    <a:pt x="836" y="508"/>
                  </a:lnTo>
                  <a:lnTo>
                    <a:pt x="832" y="528"/>
                  </a:lnTo>
                  <a:lnTo>
                    <a:pt x="826" y="549"/>
                  </a:lnTo>
                  <a:lnTo>
                    <a:pt x="819" y="569"/>
                  </a:lnTo>
                  <a:lnTo>
                    <a:pt x="812" y="588"/>
                  </a:lnTo>
                  <a:lnTo>
                    <a:pt x="803" y="607"/>
                  </a:lnTo>
                  <a:lnTo>
                    <a:pt x="794" y="624"/>
                  </a:lnTo>
                  <a:lnTo>
                    <a:pt x="784" y="642"/>
                  </a:lnTo>
                  <a:lnTo>
                    <a:pt x="772" y="659"/>
                  </a:lnTo>
                  <a:lnTo>
                    <a:pt x="761" y="675"/>
                  </a:lnTo>
                  <a:lnTo>
                    <a:pt x="747" y="691"/>
                  </a:lnTo>
                  <a:lnTo>
                    <a:pt x="734" y="707"/>
                  </a:lnTo>
                  <a:lnTo>
                    <a:pt x="721" y="722"/>
                  </a:lnTo>
                  <a:lnTo>
                    <a:pt x="707" y="737"/>
                  </a:lnTo>
                  <a:lnTo>
                    <a:pt x="691" y="750"/>
                  </a:lnTo>
                  <a:lnTo>
                    <a:pt x="675" y="761"/>
                  </a:lnTo>
                  <a:lnTo>
                    <a:pt x="659" y="773"/>
                  </a:lnTo>
                  <a:lnTo>
                    <a:pt x="641" y="785"/>
                  </a:lnTo>
                  <a:lnTo>
                    <a:pt x="624" y="795"/>
                  </a:lnTo>
                  <a:lnTo>
                    <a:pt x="605" y="804"/>
                  </a:lnTo>
                  <a:lnTo>
                    <a:pt x="587" y="812"/>
                  </a:lnTo>
                  <a:lnTo>
                    <a:pt x="567" y="820"/>
                  </a:lnTo>
                  <a:lnTo>
                    <a:pt x="548" y="827"/>
                  </a:lnTo>
                  <a:lnTo>
                    <a:pt x="527" y="833"/>
                  </a:lnTo>
                  <a:lnTo>
                    <a:pt x="507" y="837"/>
                  </a:lnTo>
                  <a:lnTo>
                    <a:pt x="487" y="842"/>
                  </a:lnTo>
                  <a:lnTo>
                    <a:pt x="465" y="843"/>
                  </a:lnTo>
                  <a:lnTo>
                    <a:pt x="444" y="846"/>
                  </a:lnTo>
                  <a:lnTo>
                    <a:pt x="422" y="846"/>
                  </a:lnTo>
                  <a:lnTo>
                    <a:pt x="422" y="846"/>
                  </a:lnTo>
                  <a:close/>
                </a:path>
              </a:pathLst>
            </a:custGeom>
            <a:solidFill>
              <a:srgbClr val="FF626C"/>
            </a:solidFill>
            <a:ln w="9525">
              <a:noFill/>
              <a:round/>
            </a:ln>
          </p:spPr>
          <p:txBody>
            <a:bodyPr anchor="t" anchorCtr="0" bIns="45720" compatLnSpc="1" lIns="91440" numCol="1" rIns="91440" tIns="45720" vert="horz" wrap="square">
              <a:prstTxWarp prst="textNoShape">
                <a:avLst/>
              </a:prstTxWarp>
            </a:bodyPr>
            <a:lstStyle/>
            <a:p>
              <a:endParaRPr lang="en-US" sz="5000"/>
            </a:p>
          </p:txBody>
        </p:sp>
        <p:sp>
          <p:nvSpPr>
            <p:cNvPr id="134" name="Freeform 21">
              <a:extLst>
                <a:ext uri="{FF2B5EF4-FFF2-40B4-BE49-F238E27FC236}">
                  <a16:creationId xmlns:a16="http://schemas.microsoft.com/office/drawing/2014/main" id="{7A543A2B-398D-456F-8005-1D3AD5C02537}"/>
                </a:ext>
              </a:extLst>
            </p:cNvPr>
            <p:cNvSpPr/>
            <p:nvPr/>
          </p:nvSpPr>
          <p:spPr bwMode="auto">
            <a:xfrm>
              <a:off x="6747234" y="2296081"/>
              <a:ext cx="146083" cy="121675"/>
            </a:xfrm>
            <a:custGeom>
              <a:gdLst>
                <a:gd fmla="*/ 370 w 1036" name="T0"/>
                <a:gd fmla="*/ 708 h 708" name="T1"/>
                <a:gd fmla="*/ 369 w 1036" name="T2"/>
                <a:gd fmla="*/ 708 h 708" name="T3"/>
                <a:gd fmla="*/ 360 w 1036" name="T4"/>
                <a:gd fmla="*/ 707 h 708" name="T5"/>
                <a:gd fmla="*/ 353 w 1036" name="T6"/>
                <a:gd fmla="*/ 705 h 708" name="T7"/>
                <a:gd fmla="*/ 346 w 1036" name="T8"/>
                <a:gd fmla="*/ 701 h 708" name="T9"/>
                <a:gd fmla="*/ 339 w 1036" name="T10"/>
                <a:gd fmla="*/ 697 h 708" name="T11"/>
                <a:gd fmla="*/ 13 w 1036" name="T12"/>
                <a:gd fmla="*/ 367 h 708" name="T13"/>
                <a:gd fmla="*/ 7 w 1036" name="T14"/>
                <a:gd fmla="*/ 360 h 708" name="T15"/>
                <a:gd fmla="*/ 4 w 1036" name="T16"/>
                <a:gd fmla="*/ 353 h 708" name="T17"/>
                <a:gd fmla="*/ 2 w 1036" name="T18"/>
                <a:gd fmla="*/ 346 h 708" name="T19"/>
                <a:gd fmla="*/ 0 w 1036" name="T20"/>
                <a:gd fmla="*/ 338 h 708" name="T21"/>
                <a:gd fmla="*/ 2 w 1036" name="T22"/>
                <a:gd fmla="*/ 330 h 708" name="T23"/>
                <a:gd fmla="*/ 4 w 1036" name="T24"/>
                <a:gd fmla="*/ 322 h 708" name="T25"/>
                <a:gd fmla="*/ 7 w 1036" name="T26"/>
                <a:gd fmla="*/ 315 h 708" name="T27"/>
                <a:gd fmla="*/ 13 w 1036" name="T28"/>
                <a:gd fmla="*/ 309 h 708" name="T29"/>
                <a:gd fmla="*/ 20 w 1036" name="T30"/>
                <a:gd fmla="*/ 303 h 708" name="T31"/>
                <a:gd fmla="*/ 27 w 1036" name="T32"/>
                <a:gd fmla="*/ 300 h 708" name="T33"/>
                <a:gd fmla="*/ 34 w 1036" name="T34"/>
                <a:gd fmla="*/ 297 h 708" name="T35"/>
                <a:gd fmla="*/ 42 w 1036" name="T36"/>
                <a:gd fmla="*/ 296 h 708" name="T37"/>
                <a:gd fmla="*/ 51 w 1036" name="T38"/>
                <a:gd fmla="*/ 297 h 708" name="T39"/>
                <a:gd fmla="*/ 59 w 1036" name="T40"/>
                <a:gd fmla="*/ 300 h 708" name="T41"/>
                <a:gd fmla="*/ 66 w 1036" name="T42"/>
                <a:gd fmla="*/ 303 h 708" name="T43"/>
                <a:gd fmla="*/ 72 w 1036" name="T44"/>
                <a:gd fmla="*/ 309 h 708" name="T45"/>
                <a:gd fmla="*/ 370 w 1036" name="T46"/>
                <a:gd fmla="*/ 608 h 708" name="T47"/>
                <a:gd fmla="*/ 965 w 1036" name="T48"/>
                <a:gd fmla="*/ 12 h 708" name="T49"/>
                <a:gd fmla="*/ 972 w 1036" name="T50"/>
                <a:gd fmla="*/ 6 h 708" name="T51"/>
                <a:gd fmla="*/ 979 w 1036" name="T52"/>
                <a:gd fmla="*/ 3 h 708" name="T53"/>
                <a:gd fmla="*/ 987 w 1036" name="T54"/>
                <a:gd fmla="*/ 0 h 708" name="T55"/>
                <a:gd fmla="*/ 995 w 1036" name="T56"/>
                <a:gd fmla="*/ 0 h 708" name="T57"/>
                <a:gd fmla="*/ 1002 w 1036" name="T58"/>
                <a:gd fmla="*/ 0 h 708" name="T59"/>
                <a:gd fmla="*/ 1010 w 1036" name="T60"/>
                <a:gd fmla="*/ 3 h 708" name="T61"/>
                <a:gd fmla="*/ 1017 w 1036" name="T62"/>
                <a:gd fmla="*/ 6 h 708" name="T63"/>
                <a:gd fmla="*/ 1024 w 1036" name="T64"/>
                <a:gd fmla="*/ 12 h 708" name="T65"/>
                <a:gd fmla="*/ 1029 w 1036" name="T66"/>
                <a:gd fmla="*/ 19 h 708" name="T67"/>
                <a:gd fmla="*/ 1034 w 1036" name="T68"/>
                <a:gd fmla="*/ 26 h 708" name="T69"/>
                <a:gd fmla="*/ 1036 w 1036" name="T70"/>
                <a:gd fmla="*/ 33 h 708" name="T71"/>
                <a:gd fmla="*/ 1036 w 1036" name="T72"/>
                <a:gd fmla="*/ 41 h 708" name="T73"/>
                <a:gd fmla="*/ 1036 w 1036" name="T74"/>
                <a:gd fmla="*/ 49 h 708" name="T75"/>
                <a:gd fmla="*/ 1034 w 1036" name="T76"/>
                <a:gd fmla="*/ 57 h 708" name="T77"/>
                <a:gd fmla="*/ 1029 w 1036" name="T78"/>
                <a:gd fmla="*/ 64 h 708" name="T79"/>
                <a:gd fmla="*/ 1024 w 1036" name="T80"/>
                <a:gd fmla="*/ 71 h 708" name="T81"/>
                <a:gd fmla="*/ 399 w 1036" name="T82"/>
                <a:gd fmla="*/ 697 h 708" name="T83"/>
                <a:gd fmla="*/ 392 w 1036" name="T84"/>
                <a:gd fmla="*/ 701 h 708" name="T85"/>
                <a:gd fmla="*/ 385 w 1036" name="T86"/>
                <a:gd fmla="*/ 705 h 708" name="T87"/>
                <a:gd fmla="*/ 378 w 1036" name="T88"/>
                <a:gd fmla="*/ 707 h 708" name="T89"/>
                <a:gd fmla="*/ 370 w 1036" name="T90"/>
                <a:gd fmla="*/ 708 h 708" name="T9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b="b" l="0" r="r" t="0"/>
              <a:pathLst>
                <a:path h="708" w="1036">
                  <a:moveTo>
                    <a:pt x="370" y="708"/>
                  </a:moveTo>
                  <a:lnTo>
                    <a:pt x="369" y="708"/>
                  </a:lnTo>
                  <a:lnTo>
                    <a:pt x="360" y="707"/>
                  </a:lnTo>
                  <a:lnTo>
                    <a:pt x="353" y="705"/>
                  </a:lnTo>
                  <a:lnTo>
                    <a:pt x="346" y="701"/>
                  </a:lnTo>
                  <a:lnTo>
                    <a:pt x="339" y="697"/>
                  </a:lnTo>
                  <a:lnTo>
                    <a:pt x="13" y="367"/>
                  </a:lnTo>
                  <a:lnTo>
                    <a:pt x="7" y="360"/>
                  </a:lnTo>
                  <a:lnTo>
                    <a:pt x="4" y="353"/>
                  </a:lnTo>
                  <a:lnTo>
                    <a:pt x="2" y="346"/>
                  </a:lnTo>
                  <a:lnTo>
                    <a:pt x="0" y="338"/>
                  </a:lnTo>
                  <a:lnTo>
                    <a:pt x="2" y="330"/>
                  </a:lnTo>
                  <a:lnTo>
                    <a:pt x="4" y="322"/>
                  </a:lnTo>
                  <a:lnTo>
                    <a:pt x="7" y="315"/>
                  </a:lnTo>
                  <a:lnTo>
                    <a:pt x="13" y="309"/>
                  </a:lnTo>
                  <a:lnTo>
                    <a:pt x="20" y="303"/>
                  </a:lnTo>
                  <a:lnTo>
                    <a:pt x="27" y="300"/>
                  </a:lnTo>
                  <a:lnTo>
                    <a:pt x="34" y="297"/>
                  </a:lnTo>
                  <a:lnTo>
                    <a:pt x="42" y="296"/>
                  </a:lnTo>
                  <a:lnTo>
                    <a:pt x="51" y="297"/>
                  </a:lnTo>
                  <a:lnTo>
                    <a:pt x="59" y="300"/>
                  </a:lnTo>
                  <a:lnTo>
                    <a:pt x="66" y="303"/>
                  </a:lnTo>
                  <a:lnTo>
                    <a:pt x="72" y="309"/>
                  </a:lnTo>
                  <a:lnTo>
                    <a:pt x="370" y="608"/>
                  </a:lnTo>
                  <a:lnTo>
                    <a:pt x="965" y="12"/>
                  </a:lnTo>
                  <a:lnTo>
                    <a:pt x="972" y="6"/>
                  </a:lnTo>
                  <a:lnTo>
                    <a:pt x="979" y="3"/>
                  </a:lnTo>
                  <a:lnTo>
                    <a:pt x="987" y="0"/>
                  </a:lnTo>
                  <a:lnTo>
                    <a:pt x="995" y="0"/>
                  </a:lnTo>
                  <a:lnTo>
                    <a:pt x="1002" y="0"/>
                  </a:lnTo>
                  <a:lnTo>
                    <a:pt x="1010" y="3"/>
                  </a:lnTo>
                  <a:lnTo>
                    <a:pt x="1017" y="6"/>
                  </a:lnTo>
                  <a:lnTo>
                    <a:pt x="1024" y="12"/>
                  </a:lnTo>
                  <a:lnTo>
                    <a:pt x="1029" y="19"/>
                  </a:lnTo>
                  <a:lnTo>
                    <a:pt x="1034" y="26"/>
                  </a:lnTo>
                  <a:lnTo>
                    <a:pt x="1036" y="33"/>
                  </a:lnTo>
                  <a:lnTo>
                    <a:pt x="1036" y="41"/>
                  </a:lnTo>
                  <a:lnTo>
                    <a:pt x="1036" y="49"/>
                  </a:lnTo>
                  <a:lnTo>
                    <a:pt x="1034" y="57"/>
                  </a:lnTo>
                  <a:lnTo>
                    <a:pt x="1029" y="64"/>
                  </a:lnTo>
                  <a:lnTo>
                    <a:pt x="1024" y="71"/>
                  </a:lnTo>
                  <a:lnTo>
                    <a:pt x="399" y="697"/>
                  </a:lnTo>
                  <a:lnTo>
                    <a:pt x="392" y="701"/>
                  </a:lnTo>
                  <a:lnTo>
                    <a:pt x="385" y="705"/>
                  </a:lnTo>
                  <a:lnTo>
                    <a:pt x="378" y="707"/>
                  </a:lnTo>
                  <a:lnTo>
                    <a:pt x="370" y="708"/>
                  </a:lnTo>
                  <a:close/>
                </a:path>
              </a:pathLst>
            </a:custGeom>
            <a:solidFill>
              <a:schemeClr val="bg1">
                <a:lumMod val="95000"/>
              </a:schemeClr>
            </a:solidFill>
            <a:ln>
              <a:noFill/>
            </a:ln>
            <a:effectLst>
              <a:outerShdw algn="ctr" blurRad="63500" rotWithShape="0" sx="102000" sy="102000">
                <a:prstClr val="black">
                  <a:alpha val="40000"/>
                </a:prstClr>
              </a:outerShdw>
            </a:effectLst>
          </p:spPr>
          <p:txBody>
            <a:bodyPr anchor="t" anchorCtr="0" bIns="45720" compatLnSpc="1" lIns="91440" numCol="1" rIns="91440" tIns="45720" vert="horz" wrap="square">
              <a:prstTxWarp prst="textNoShape">
                <a:avLst/>
              </a:prstTxWarp>
            </a:bodyPr>
            <a:lstStyle/>
            <a:p>
              <a:endParaRPr lang="en-US" sz="5000"/>
            </a:p>
          </p:txBody>
        </p:sp>
      </p:grpSp>
      <p:grpSp>
        <p:nvGrpSpPr>
          <p:cNvPr id="163" name="组合 162">
            <a:extLst>
              <a:ext uri="{FF2B5EF4-FFF2-40B4-BE49-F238E27FC236}">
                <a16:creationId xmlns:a16="http://schemas.microsoft.com/office/drawing/2014/main" id="{A1E0DB98-7533-447C-92D4-72715F6B1320}"/>
              </a:ext>
            </a:extLst>
          </p:cNvPr>
          <p:cNvGrpSpPr/>
          <p:nvPr/>
        </p:nvGrpSpPr>
        <p:grpSpPr>
          <a:xfrm>
            <a:off x="6688138" y="2919563"/>
            <a:ext cx="264279" cy="263652"/>
            <a:chOff x="6688138" y="2919563"/>
            <a:chExt cx="264279" cy="263652"/>
          </a:xfrm>
        </p:grpSpPr>
        <p:sp>
          <p:nvSpPr>
            <p:cNvPr id="126" name="Freeform 645">
              <a:extLst>
                <a:ext uri="{FF2B5EF4-FFF2-40B4-BE49-F238E27FC236}">
                  <a16:creationId xmlns:a16="http://schemas.microsoft.com/office/drawing/2014/main" id="{0DB6FF9E-443C-4894-8AE6-A9251D9A0450}"/>
                </a:ext>
              </a:extLst>
            </p:cNvPr>
            <p:cNvSpPr/>
            <p:nvPr/>
          </p:nvSpPr>
          <p:spPr bwMode="auto">
            <a:xfrm>
              <a:off x="6688138" y="2919563"/>
              <a:ext cx="264279" cy="263652"/>
            </a:xfrm>
            <a:custGeom>
              <a:gdLst>
                <a:gd fmla="*/ 400 w 845" name="T0"/>
                <a:gd fmla="*/ 846 h 846" name="T1"/>
                <a:gd fmla="*/ 336 w 845" name="T2"/>
                <a:gd fmla="*/ 837 h 846" name="T3"/>
                <a:gd fmla="*/ 277 w 845" name="T4"/>
                <a:gd fmla="*/ 820 h 846" name="T5"/>
                <a:gd fmla="*/ 221 w 845" name="T6"/>
                <a:gd fmla="*/ 795 h 846" name="T7"/>
                <a:gd fmla="*/ 169 w 845" name="T8"/>
                <a:gd fmla="*/ 761 h 846" name="T9"/>
                <a:gd fmla="*/ 123 w 845" name="T10"/>
                <a:gd fmla="*/ 722 h 846" name="T11"/>
                <a:gd fmla="*/ 83 w 845" name="T12"/>
                <a:gd fmla="*/ 675 h 846" name="T13"/>
                <a:gd fmla="*/ 51 w 845" name="T14"/>
                <a:gd fmla="*/ 624 h 846" name="T15"/>
                <a:gd fmla="*/ 24 w 845" name="T16"/>
                <a:gd fmla="*/ 569 h 846" name="T17"/>
                <a:gd fmla="*/ 8 w 845" name="T18"/>
                <a:gd fmla="*/ 508 h 846" name="T19"/>
                <a:gd fmla="*/ 0 w 845" name="T20"/>
                <a:gd fmla="*/ 445 h 846" name="T21"/>
                <a:gd fmla="*/ 0 w 845" name="T22"/>
                <a:gd fmla="*/ 401 h 846" name="T23"/>
                <a:gd fmla="*/ 8 w 845" name="T24"/>
                <a:gd fmla="*/ 339 h 846" name="T25"/>
                <a:gd fmla="*/ 24 w 845" name="T26"/>
                <a:gd fmla="*/ 277 h 846" name="T27"/>
                <a:gd fmla="*/ 51 w 845" name="T28"/>
                <a:gd fmla="*/ 222 h 846" name="T29"/>
                <a:gd fmla="*/ 83 w 845" name="T30"/>
                <a:gd fmla="*/ 171 h 846" name="T31"/>
                <a:gd fmla="*/ 123 w 845" name="T32"/>
                <a:gd fmla="*/ 124 h 846" name="T33"/>
                <a:gd fmla="*/ 169 w 845" name="T34"/>
                <a:gd fmla="*/ 85 h 846" name="T35"/>
                <a:gd fmla="*/ 221 w 845" name="T36"/>
                <a:gd fmla="*/ 51 h 846" name="T37"/>
                <a:gd fmla="*/ 277 w 845" name="T38"/>
                <a:gd fmla="*/ 27 h 846" name="T39"/>
                <a:gd fmla="*/ 336 w 845" name="T40"/>
                <a:gd fmla="*/ 9 h 846" name="T41"/>
                <a:gd fmla="*/ 400 w 845" name="T42"/>
                <a:gd fmla="*/ 0 h 846" name="T43"/>
                <a:gd fmla="*/ 444 w 845" name="T44"/>
                <a:gd fmla="*/ 0 h 846" name="T45"/>
                <a:gd fmla="*/ 507 w 845" name="T46"/>
                <a:gd fmla="*/ 9 h 846" name="T47"/>
                <a:gd fmla="*/ 567 w 845" name="T48"/>
                <a:gd fmla="*/ 27 h 846" name="T49"/>
                <a:gd fmla="*/ 624 w 845" name="T50"/>
                <a:gd fmla="*/ 51 h 846" name="T51"/>
                <a:gd fmla="*/ 675 w 845" name="T52"/>
                <a:gd fmla="*/ 85 h 846" name="T53"/>
                <a:gd fmla="*/ 721 w 845" name="T54"/>
                <a:gd fmla="*/ 124 h 846" name="T55"/>
                <a:gd fmla="*/ 761 w 845" name="T56"/>
                <a:gd fmla="*/ 171 h 846" name="T57"/>
                <a:gd fmla="*/ 794 w 845" name="T58"/>
                <a:gd fmla="*/ 222 h 846" name="T59"/>
                <a:gd fmla="*/ 819 w 845" name="T60"/>
                <a:gd fmla="*/ 277 h 846" name="T61"/>
                <a:gd fmla="*/ 836 w 845" name="T62"/>
                <a:gd fmla="*/ 339 h 846" name="T63"/>
                <a:gd fmla="*/ 844 w 845" name="T64"/>
                <a:gd fmla="*/ 401 h 846" name="T65"/>
                <a:gd fmla="*/ 844 w 845" name="T66"/>
                <a:gd fmla="*/ 445 h 846" name="T67"/>
                <a:gd fmla="*/ 836 w 845" name="T68"/>
                <a:gd fmla="*/ 508 h 846" name="T69"/>
                <a:gd fmla="*/ 819 w 845" name="T70"/>
                <a:gd fmla="*/ 569 h 846" name="T71"/>
                <a:gd fmla="*/ 794 w 845" name="T72"/>
                <a:gd fmla="*/ 624 h 846" name="T73"/>
                <a:gd fmla="*/ 761 w 845" name="T74"/>
                <a:gd fmla="*/ 675 h 846" name="T75"/>
                <a:gd fmla="*/ 721 w 845" name="T76"/>
                <a:gd fmla="*/ 722 h 846" name="T77"/>
                <a:gd fmla="*/ 675 w 845" name="T78"/>
                <a:gd fmla="*/ 761 h 846" name="T79"/>
                <a:gd fmla="*/ 624 w 845" name="T80"/>
                <a:gd fmla="*/ 795 h 846" name="T81"/>
                <a:gd fmla="*/ 567 w 845" name="T82"/>
                <a:gd fmla="*/ 820 h 846" name="T83"/>
                <a:gd fmla="*/ 507 w 845" name="T84"/>
                <a:gd fmla="*/ 837 h 846" name="T85"/>
                <a:gd fmla="*/ 444 w 845" name="T86"/>
                <a:gd fmla="*/ 846 h 846" name="T8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b="b" l="0" r="r" t="0"/>
              <a:pathLst>
                <a:path h="845" w="845">
                  <a:moveTo>
                    <a:pt x="422" y="846"/>
                  </a:moveTo>
                  <a:lnTo>
                    <a:pt x="422" y="846"/>
                  </a:lnTo>
                  <a:lnTo>
                    <a:pt x="400" y="846"/>
                  </a:lnTo>
                  <a:lnTo>
                    <a:pt x="379" y="843"/>
                  </a:lnTo>
                  <a:lnTo>
                    <a:pt x="358" y="842"/>
                  </a:lnTo>
                  <a:lnTo>
                    <a:pt x="336" y="837"/>
                  </a:lnTo>
                  <a:lnTo>
                    <a:pt x="316" y="833"/>
                  </a:lnTo>
                  <a:lnTo>
                    <a:pt x="297" y="827"/>
                  </a:lnTo>
                  <a:lnTo>
                    <a:pt x="277" y="820"/>
                  </a:lnTo>
                  <a:lnTo>
                    <a:pt x="258" y="812"/>
                  </a:lnTo>
                  <a:lnTo>
                    <a:pt x="239" y="804"/>
                  </a:lnTo>
                  <a:lnTo>
                    <a:pt x="221" y="795"/>
                  </a:lnTo>
                  <a:lnTo>
                    <a:pt x="204" y="785"/>
                  </a:lnTo>
                  <a:lnTo>
                    <a:pt x="186" y="773"/>
                  </a:lnTo>
                  <a:lnTo>
                    <a:pt x="169" y="761"/>
                  </a:lnTo>
                  <a:lnTo>
                    <a:pt x="153" y="750"/>
                  </a:lnTo>
                  <a:lnTo>
                    <a:pt x="138" y="737"/>
                  </a:lnTo>
                  <a:lnTo>
                    <a:pt x="123" y="722"/>
                  </a:lnTo>
                  <a:lnTo>
                    <a:pt x="109" y="707"/>
                  </a:lnTo>
                  <a:lnTo>
                    <a:pt x="96" y="691"/>
                  </a:lnTo>
                  <a:lnTo>
                    <a:pt x="83" y="675"/>
                  </a:lnTo>
                  <a:lnTo>
                    <a:pt x="71" y="659"/>
                  </a:lnTo>
                  <a:lnTo>
                    <a:pt x="61" y="642"/>
                  </a:lnTo>
                  <a:lnTo>
                    <a:pt x="51" y="624"/>
                  </a:lnTo>
                  <a:lnTo>
                    <a:pt x="40" y="607"/>
                  </a:lnTo>
                  <a:lnTo>
                    <a:pt x="33" y="588"/>
                  </a:lnTo>
                  <a:lnTo>
                    <a:pt x="24" y="569"/>
                  </a:lnTo>
                  <a:lnTo>
                    <a:pt x="18" y="549"/>
                  </a:lnTo>
                  <a:lnTo>
                    <a:pt x="13" y="528"/>
                  </a:lnTo>
                  <a:lnTo>
                    <a:pt x="8" y="508"/>
                  </a:lnTo>
                  <a:lnTo>
                    <a:pt x="4" y="487"/>
                  </a:lnTo>
                  <a:lnTo>
                    <a:pt x="1" y="467"/>
                  </a:lnTo>
                  <a:lnTo>
                    <a:pt x="0" y="445"/>
                  </a:lnTo>
                  <a:lnTo>
                    <a:pt x="0" y="423"/>
                  </a:lnTo>
                  <a:lnTo>
                    <a:pt x="0" y="423"/>
                  </a:lnTo>
                  <a:lnTo>
                    <a:pt x="0" y="401"/>
                  </a:lnTo>
                  <a:lnTo>
                    <a:pt x="1" y="379"/>
                  </a:lnTo>
                  <a:lnTo>
                    <a:pt x="4" y="359"/>
                  </a:lnTo>
                  <a:lnTo>
                    <a:pt x="8" y="339"/>
                  </a:lnTo>
                  <a:lnTo>
                    <a:pt x="13" y="318"/>
                  </a:lnTo>
                  <a:lnTo>
                    <a:pt x="18" y="298"/>
                  </a:lnTo>
                  <a:lnTo>
                    <a:pt x="24" y="277"/>
                  </a:lnTo>
                  <a:lnTo>
                    <a:pt x="33" y="258"/>
                  </a:lnTo>
                  <a:lnTo>
                    <a:pt x="40" y="239"/>
                  </a:lnTo>
                  <a:lnTo>
                    <a:pt x="51" y="222"/>
                  </a:lnTo>
                  <a:lnTo>
                    <a:pt x="61" y="204"/>
                  </a:lnTo>
                  <a:lnTo>
                    <a:pt x="71" y="187"/>
                  </a:lnTo>
                  <a:lnTo>
                    <a:pt x="83" y="171"/>
                  </a:lnTo>
                  <a:lnTo>
                    <a:pt x="96" y="155"/>
                  </a:lnTo>
                  <a:lnTo>
                    <a:pt x="109" y="139"/>
                  </a:lnTo>
                  <a:lnTo>
                    <a:pt x="123" y="124"/>
                  </a:lnTo>
                  <a:lnTo>
                    <a:pt x="138" y="110"/>
                  </a:lnTo>
                  <a:lnTo>
                    <a:pt x="153" y="97"/>
                  </a:lnTo>
                  <a:lnTo>
                    <a:pt x="169" y="85"/>
                  </a:lnTo>
                  <a:lnTo>
                    <a:pt x="186" y="73"/>
                  </a:lnTo>
                  <a:lnTo>
                    <a:pt x="204" y="62"/>
                  </a:lnTo>
                  <a:lnTo>
                    <a:pt x="221" y="51"/>
                  </a:lnTo>
                  <a:lnTo>
                    <a:pt x="239" y="43"/>
                  </a:lnTo>
                  <a:lnTo>
                    <a:pt x="258" y="34"/>
                  </a:lnTo>
                  <a:lnTo>
                    <a:pt x="277" y="27"/>
                  </a:lnTo>
                  <a:lnTo>
                    <a:pt x="297" y="19"/>
                  </a:lnTo>
                  <a:lnTo>
                    <a:pt x="316" y="13"/>
                  </a:lnTo>
                  <a:lnTo>
                    <a:pt x="336" y="9"/>
                  </a:lnTo>
                  <a:lnTo>
                    <a:pt x="358" y="5"/>
                  </a:lnTo>
                  <a:lnTo>
                    <a:pt x="379" y="2"/>
                  </a:lnTo>
                  <a:lnTo>
                    <a:pt x="400" y="0"/>
                  </a:lnTo>
                  <a:lnTo>
                    <a:pt x="422" y="0"/>
                  </a:lnTo>
                  <a:lnTo>
                    <a:pt x="422" y="0"/>
                  </a:lnTo>
                  <a:lnTo>
                    <a:pt x="444" y="0"/>
                  </a:lnTo>
                  <a:lnTo>
                    <a:pt x="465" y="2"/>
                  </a:lnTo>
                  <a:lnTo>
                    <a:pt x="487" y="5"/>
                  </a:lnTo>
                  <a:lnTo>
                    <a:pt x="507" y="9"/>
                  </a:lnTo>
                  <a:lnTo>
                    <a:pt x="527" y="13"/>
                  </a:lnTo>
                  <a:lnTo>
                    <a:pt x="548" y="19"/>
                  </a:lnTo>
                  <a:lnTo>
                    <a:pt x="567" y="27"/>
                  </a:lnTo>
                  <a:lnTo>
                    <a:pt x="587" y="34"/>
                  </a:lnTo>
                  <a:lnTo>
                    <a:pt x="605" y="43"/>
                  </a:lnTo>
                  <a:lnTo>
                    <a:pt x="624" y="51"/>
                  </a:lnTo>
                  <a:lnTo>
                    <a:pt x="641" y="62"/>
                  </a:lnTo>
                  <a:lnTo>
                    <a:pt x="659" y="73"/>
                  </a:lnTo>
                  <a:lnTo>
                    <a:pt x="675" y="85"/>
                  </a:lnTo>
                  <a:lnTo>
                    <a:pt x="691" y="97"/>
                  </a:lnTo>
                  <a:lnTo>
                    <a:pt x="707" y="110"/>
                  </a:lnTo>
                  <a:lnTo>
                    <a:pt x="721" y="124"/>
                  </a:lnTo>
                  <a:lnTo>
                    <a:pt x="734" y="139"/>
                  </a:lnTo>
                  <a:lnTo>
                    <a:pt x="747" y="155"/>
                  </a:lnTo>
                  <a:lnTo>
                    <a:pt x="761" y="171"/>
                  </a:lnTo>
                  <a:lnTo>
                    <a:pt x="772" y="187"/>
                  </a:lnTo>
                  <a:lnTo>
                    <a:pt x="784" y="204"/>
                  </a:lnTo>
                  <a:lnTo>
                    <a:pt x="794" y="222"/>
                  </a:lnTo>
                  <a:lnTo>
                    <a:pt x="803" y="239"/>
                  </a:lnTo>
                  <a:lnTo>
                    <a:pt x="812" y="258"/>
                  </a:lnTo>
                  <a:lnTo>
                    <a:pt x="819" y="277"/>
                  </a:lnTo>
                  <a:lnTo>
                    <a:pt x="826" y="298"/>
                  </a:lnTo>
                  <a:lnTo>
                    <a:pt x="832" y="318"/>
                  </a:lnTo>
                  <a:lnTo>
                    <a:pt x="836" y="339"/>
                  </a:lnTo>
                  <a:lnTo>
                    <a:pt x="839" y="359"/>
                  </a:lnTo>
                  <a:lnTo>
                    <a:pt x="842" y="379"/>
                  </a:lnTo>
                  <a:lnTo>
                    <a:pt x="844" y="401"/>
                  </a:lnTo>
                  <a:lnTo>
                    <a:pt x="845" y="423"/>
                  </a:lnTo>
                  <a:lnTo>
                    <a:pt x="845" y="423"/>
                  </a:lnTo>
                  <a:lnTo>
                    <a:pt x="844" y="445"/>
                  </a:lnTo>
                  <a:lnTo>
                    <a:pt x="842" y="467"/>
                  </a:lnTo>
                  <a:lnTo>
                    <a:pt x="839" y="487"/>
                  </a:lnTo>
                  <a:lnTo>
                    <a:pt x="836" y="508"/>
                  </a:lnTo>
                  <a:lnTo>
                    <a:pt x="832" y="528"/>
                  </a:lnTo>
                  <a:lnTo>
                    <a:pt x="826" y="549"/>
                  </a:lnTo>
                  <a:lnTo>
                    <a:pt x="819" y="569"/>
                  </a:lnTo>
                  <a:lnTo>
                    <a:pt x="812" y="588"/>
                  </a:lnTo>
                  <a:lnTo>
                    <a:pt x="803" y="607"/>
                  </a:lnTo>
                  <a:lnTo>
                    <a:pt x="794" y="624"/>
                  </a:lnTo>
                  <a:lnTo>
                    <a:pt x="784" y="642"/>
                  </a:lnTo>
                  <a:lnTo>
                    <a:pt x="772" y="659"/>
                  </a:lnTo>
                  <a:lnTo>
                    <a:pt x="761" y="675"/>
                  </a:lnTo>
                  <a:lnTo>
                    <a:pt x="747" y="691"/>
                  </a:lnTo>
                  <a:lnTo>
                    <a:pt x="734" y="707"/>
                  </a:lnTo>
                  <a:lnTo>
                    <a:pt x="721" y="722"/>
                  </a:lnTo>
                  <a:lnTo>
                    <a:pt x="707" y="737"/>
                  </a:lnTo>
                  <a:lnTo>
                    <a:pt x="691" y="750"/>
                  </a:lnTo>
                  <a:lnTo>
                    <a:pt x="675" y="761"/>
                  </a:lnTo>
                  <a:lnTo>
                    <a:pt x="659" y="773"/>
                  </a:lnTo>
                  <a:lnTo>
                    <a:pt x="641" y="785"/>
                  </a:lnTo>
                  <a:lnTo>
                    <a:pt x="624" y="795"/>
                  </a:lnTo>
                  <a:lnTo>
                    <a:pt x="605" y="804"/>
                  </a:lnTo>
                  <a:lnTo>
                    <a:pt x="587" y="812"/>
                  </a:lnTo>
                  <a:lnTo>
                    <a:pt x="567" y="820"/>
                  </a:lnTo>
                  <a:lnTo>
                    <a:pt x="548" y="827"/>
                  </a:lnTo>
                  <a:lnTo>
                    <a:pt x="527" y="833"/>
                  </a:lnTo>
                  <a:lnTo>
                    <a:pt x="507" y="837"/>
                  </a:lnTo>
                  <a:lnTo>
                    <a:pt x="487" y="842"/>
                  </a:lnTo>
                  <a:lnTo>
                    <a:pt x="465" y="843"/>
                  </a:lnTo>
                  <a:lnTo>
                    <a:pt x="444" y="846"/>
                  </a:lnTo>
                  <a:lnTo>
                    <a:pt x="422" y="846"/>
                  </a:lnTo>
                  <a:lnTo>
                    <a:pt x="422" y="846"/>
                  </a:lnTo>
                  <a:close/>
                </a:path>
              </a:pathLst>
            </a:custGeom>
            <a:solidFill>
              <a:srgbClr val="60A8AF"/>
            </a:solidFill>
            <a:ln w="9525">
              <a:noFill/>
              <a:round/>
            </a:ln>
          </p:spPr>
          <p:txBody>
            <a:bodyPr anchor="t" anchorCtr="0" bIns="45720" compatLnSpc="1" lIns="91440" numCol="1" rIns="91440" tIns="45720" vert="horz" wrap="square">
              <a:prstTxWarp prst="textNoShape">
                <a:avLst/>
              </a:prstTxWarp>
            </a:bodyPr>
            <a:lstStyle/>
            <a:p>
              <a:endParaRPr lang="en-US" sz="5000"/>
            </a:p>
          </p:txBody>
        </p:sp>
        <p:sp>
          <p:nvSpPr>
            <p:cNvPr id="135" name="Freeform 21">
              <a:extLst>
                <a:ext uri="{FF2B5EF4-FFF2-40B4-BE49-F238E27FC236}">
                  <a16:creationId xmlns:a16="http://schemas.microsoft.com/office/drawing/2014/main" id="{81E375C3-C84C-4A7C-A048-BDDB22C9C2AB}"/>
                </a:ext>
              </a:extLst>
            </p:cNvPr>
            <p:cNvSpPr/>
            <p:nvPr/>
          </p:nvSpPr>
          <p:spPr bwMode="auto">
            <a:xfrm>
              <a:off x="6747234" y="2998277"/>
              <a:ext cx="146083" cy="121675"/>
            </a:xfrm>
            <a:custGeom>
              <a:gdLst>
                <a:gd fmla="*/ 370 w 1036" name="T0"/>
                <a:gd fmla="*/ 708 h 708" name="T1"/>
                <a:gd fmla="*/ 369 w 1036" name="T2"/>
                <a:gd fmla="*/ 708 h 708" name="T3"/>
                <a:gd fmla="*/ 360 w 1036" name="T4"/>
                <a:gd fmla="*/ 707 h 708" name="T5"/>
                <a:gd fmla="*/ 353 w 1036" name="T6"/>
                <a:gd fmla="*/ 705 h 708" name="T7"/>
                <a:gd fmla="*/ 346 w 1036" name="T8"/>
                <a:gd fmla="*/ 701 h 708" name="T9"/>
                <a:gd fmla="*/ 339 w 1036" name="T10"/>
                <a:gd fmla="*/ 697 h 708" name="T11"/>
                <a:gd fmla="*/ 13 w 1036" name="T12"/>
                <a:gd fmla="*/ 367 h 708" name="T13"/>
                <a:gd fmla="*/ 7 w 1036" name="T14"/>
                <a:gd fmla="*/ 360 h 708" name="T15"/>
                <a:gd fmla="*/ 4 w 1036" name="T16"/>
                <a:gd fmla="*/ 353 h 708" name="T17"/>
                <a:gd fmla="*/ 2 w 1036" name="T18"/>
                <a:gd fmla="*/ 346 h 708" name="T19"/>
                <a:gd fmla="*/ 0 w 1036" name="T20"/>
                <a:gd fmla="*/ 338 h 708" name="T21"/>
                <a:gd fmla="*/ 2 w 1036" name="T22"/>
                <a:gd fmla="*/ 330 h 708" name="T23"/>
                <a:gd fmla="*/ 4 w 1036" name="T24"/>
                <a:gd fmla="*/ 322 h 708" name="T25"/>
                <a:gd fmla="*/ 7 w 1036" name="T26"/>
                <a:gd fmla="*/ 315 h 708" name="T27"/>
                <a:gd fmla="*/ 13 w 1036" name="T28"/>
                <a:gd fmla="*/ 309 h 708" name="T29"/>
                <a:gd fmla="*/ 20 w 1036" name="T30"/>
                <a:gd fmla="*/ 303 h 708" name="T31"/>
                <a:gd fmla="*/ 27 w 1036" name="T32"/>
                <a:gd fmla="*/ 300 h 708" name="T33"/>
                <a:gd fmla="*/ 34 w 1036" name="T34"/>
                <a:gd fmla="*/ 297 h 708" name="T35"/>
                <a:gd fmla="*/ 42 w 1036" name="T36"/>
                <a:gd fmla="*/ 296 h 708" name="T37"/>
                <a:gd fmla="*/ 51 w 1036" name="T38"/>
                <a:gd fmla="*/ 297 h 708" name="T39"/>
                <a:gd fmla="*/ 59 w 1036" name="T40"/>
                <a:gd fmla="*/ 300 h 708" name="T41"/>
                <a:gd fmla="*/ 66 w 1036" name="T42"/>
                <a:gd fmla="*/ 303 h 708" name="T43"/>
                <a:gd fmla="*/ 72 w 1036" name="T44"/>
                <a:gd fmla="*/ 309 h 708" name="T45"/>
                <a:gd fmla="*/ 370 w 1036" name="T46"/>
                <a:gd fmla="*/ 608 h 708" name="T47"/>
                <a:gd fmla="*/ 965 w 1036" name="T48"/>
                <a:gd fmla="*/ 12 h 708" name="T49"/>
                <a:gd fmla="*/ 972 w 1036" name="T50"/>
                <a:gd fmla="*/ 6 h 708" name="T51"/>
                <a:gd fmla="*/ 979 w 1036" name="T52"/>
                <a:gd fmla="*/ 3 h 708" name="T53"/>
                <a:gd fmla="*/ 987 w 1036" name="T54"/>
                <a:gd fmla="*/ 0 h 708" name="T55"/>
                <a:gd fmla="*/ 995 w 1036" name="T56"/>
                <a:gd fmla="*/ 0 h 708" name="T57"/>
                <a:gd fmla="*/ 1002 w 1036" name="T58"/>
                <a:gd fmla="*/ 0 h 708" name="T59"/>
                <a:gd fmla="*/ 1010 w 1036" name="T60"/>
                <a:gd fmla="*/ 3 h 708" name="T61"/>
                <a:gd fmla="*/ 1017 w 1036" name="T62"/>
                <a:gd fmla="*/ 6 h 708" name="T63"/>
                <a:gd fmla="*/ 1024 w 1036" name="T64"/>
                <a:gd fmla="*/ 12 h 708" name="T65"/>
                <a:gd fmla="*/ 1029 w 1036" name="T66"/>
                <a:gd fmla="*/ 19 h 708" name="T67"/>
                <a:gd fmla="*/ 1034 w 1036" name="T68"/>
                <a:gd fmla="*/ 26 h 708" name="T69"/>
                <a:gd fmla="*/ 1036 w 1036" name="T70"/>
                <a:gd fmla="*/ 33 h 708" name="T71"/>
                <a:gd fmla="*/ 1036 w 1036" name="T72"/>
                <a:gd fmla="*/ 41 h 708" name="T73"/>
                <a:gd fmla="*/ 1036 w 1036" name="T74"/>
                <a:gd fmla="*/ 49 h 708" name="T75"/>
                <a:gd fmla="*/ 1034 w 1036" name="T76"/>
                <a:gd fmla="*/ 57 h 708" name="T77"/>
                <a:gd fmla="*/ 1029 w 1036" name="T78"/>
                <a:gd fmla="*/ 64 h 708" name="T79"/>
                <a:gd fmla="*/ 1024 w 1036" name="T80"/>
                <a:gd fmla="*/ 71 h 708" name="T81"/>
                <a:gd fmla="*/ 399 w 1036" name="T82"/>
                <a:gd fmla="*/ 697 h 708" name="T83"/>
                <a:gd fmla="*/ 392 w 1036" name="T84"/>
                <a:gd fmla="*/ 701 h 708" name="T85"/>
                <a:gd fmla="*/ 385 w 1036" name="T86"/>
                <a:gd fmla="*/ 705 h 708" name="T87"/>
                <a:gd fmla="*/ 378 w 1036" name="T88"/>
                <a:gd fmla="*/ 707 h 708" name="T89"/>
                <a:gd fmla="*/ 370 w 1036" name="T90"/>
                <a:gd fmla="*/ 708 h 708" name="T9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b="b" l="0" r="r" t="0"/>
              <a:pathLst>
                <a:path h="708" w="1036">
                  <a:moveTo>
                    <a:pt x="370" y="708"/>
                  </a:moveTo>
                  <a:lnTo>
                    <a:pt x="369" y="708"/>
                  </a:lnTo>
                  <a:lnTo>
                    <a:pt x="360" y="707"/>
                  </a:lnTo>
                  <a:lnTo>
                    <a:pt x="353" y="705"/>
                  </a:lnTo>
                  <a:lnTo>
                    <a:pt x="346" y="701"/>
                  </a:lnTo>
                  <a:lnTo>
                    <a:pt x="339" y="697"/>
                  </a:lnTo>
                  <a:lnTo>
                    <a:pt x="13" y="367"/>
                  </a:lnTo>
                  <a:lnTo>
                    <a:pt x="7" y="360"/>
                  </a:lnTo>
                  <a:lnTo>
                    <a:pt x="4" y="353"/>
                  </a:lnTo>
                  <a:lnTo>
                    <a:pt x="2" y="346"/>
                  </a:lnTo>
                  <a:lnTo>
                    <a:pt x="0" y="338"/>
                  </a:lnTo>
                  <a:lnTo>
                    <a:pt x="2" y="330"/>
                  </a:lnTo>
                  <a:lnTo>
                    <a:pt x="4" y="322"/>
                  </a:lnTo>
                  <a:lnTo>
                    <a:pt x="7" y="315"/>
                  </a:lnTo>
                  <a:lnTo>
                    <a:pt x="13" y="309"/>
                  </a:lnTo>
                  <a:lnTo>
                    <a:pt x="20" y="303"/>
                  </a:lnTo>
                  <a:lnTo>
                    <a:pt x="27" y="300"/>
                  </a:lnTo>
                  <a:lnTo>
                    <a:pt x="34" y="297"/>
                  </a:lnTo>
                  <a:lnTo>
                    <a:pt x="42" y="296"/>
                  </a:lnTo>
                  <a:lnTo>
                    <a:pt x="51" y="297"/>
                  </a:lnTo>
                  <a:lnTo>
                    <a:pt x="59" y="300"/>
                  </a:lnTo>
                  <a:lnTo>
                    <a:pt x="66" y="303"/>
                  </a:lnTo>
                  <a:lnTo>
                    <a:pt x="72" y="309"/>
                  </a:lnTo>
                  <a:lnTo>
                    <a:pt x="370" y="608"/>
                  </a:lnTo>
                  <a:lnTo>
                    <a:pt x="965" y="12"/>
                  </a:lnTo>
                  <a:lnTo>
                    <a:pt x="972" y="6"/>
                  </a:lnTo>
                  <a:lnTo>
                    <a:pt x="979" y="3"/>
                  </a:lnTo>
                  <a:lnTo>
                    <a:pt x="987" y="0"/>
                  </a:lnTo>
                  <a:lnTo>
                    <a:pt x="995" y="0"/>
                  </a:lnTo>
                  <a:lnTo>
                    <a:pt x="1002" y="0"/>
                  </a:lnTo>
                  <a:lnTo>
                    <a:pt x="1010" y="3"/>
                  </a:lnTo>
                  <a:lnTo>
                    <a:pt x="1017" y="6"/>
                  </a:lnTo>
                  <a:lnTo>
                    <a:pt x="1024" y="12"/>
                  </a:lnTo>
                  <a:lnTo>
                    <a:pt x="1029" y="19"/>
                  </a:lnTo>
                  <a:lnTo>
                    <a:pt x="1034" y="26"/>
                  </a:lnTo>
                  <a:lnTo>
                    <a:pt x="1036" y="33"/>
                  </a:lnTo>
                  <a:lnTo>
                    <a:pt x="1036" y="41"/>
                  </a:lnTo>
                  <a:lnTo>
                    <a:pt x="1036" y="49"/>
                  </a:lnTo>
                  <a:lnTo>
                    <a:pt x="1034" y="57"/>
                  </a:lnTo>
                  <a:lnTo>
                    <a:pt x="1029" y="64"/>
                  </a:lnTo>
                  <a:lnTo>
                    <a:pt x="1024" y="71"/>
                  </a:lnTo>
                  <a:lnTo>
                    <a:pt x="399" y="697"/>
                  </a:lnTo>
                  <a:lnTo>
                    <a:pt x="392" y="701"/>
                  </a:lnTo>
                  <a:lnTo>
                    <a:pt x="385" y="705"/>
                  </a:lnTo>
                  <a:lnTo>
                    <a:pt x="378" y="707"/>
                  </a:lnTo>
                  <a:lnTo>
                    <a:pt x="370" y="708"/>
                  </a:lnTo>
                  <a:close/>
                </a:path>
              </a:pathLst>
            </a:custGeom>
            <a:solidFill>
              <a:schemeClr val="bg1">
                <a:lumMod val="95000"/>
              </a:schemeClr>
            </a:solidFill>
            <a:ln>
              <a:noFill/>
            </a:ln>
            <a:effectLst>
              <a:outerShdw algn="ctr" blurRad="63500" rotWithShape="0" sx="102000" sy="102000">
                <a:prstClr val="black">
                  <a:alpha val="40000"/>
                </a:prstClr>
              </a:outerShdw>
            </a:effectLst>
          </p:spPr>
          <p:txBody>
            <a:bodyPr anchor="t" anchorCtr="0" bIns="45720" compatLnSpc="1" lIns="91440" numCol="1" rIns="91440" tIns="45720" vert="horz" wrap="square">
              <a:prstTxWarp prst="textNoShape">
                <a:avLst/>
              </a:prstTxWarp>
            </a:bodyPr>
            <a:lstStyle/>
            <a:p>
              <a:endParaRPr lang="en-US" sz="5000"/>
            </a:p>
          </p:txBody>
        </p:sp>
      </p:grpSp>
      <p:grpSp>
        <p:nvGrpSpPr>
          <p:cNvPr id="164" name="组合 163">
            <a:extLst>
              <a:ext uri="{FF2B5EF4-FFF2-40B4-BE49-F238E27FC236}">
                <a16:creationId xmlns:a16="http://schemas.microsoft.com/office/drawing/2014/main" id="{E83173D5-2F6B-4F0A-8757-4F38007357BE}"/>
              </a:ext>
            </a:extLst>
          </p:cNvPr>
          <p:cNvGrpSpPr/>
          <p:nvPr/>
        </p:nvGrpSpPr>
        <p:grpSpPr>
          <a:xfrm>
            <a:off x="6688138" y="3612654"/>
            <a:ext cx="264279" cy="263652"/>
            <a:chOff x="6688138" y="3612654"/>
            <a:chExt cx="264279" cy="263652"/>
          </a:xfrm>
        </p:grpSpPr>
        <p:sp>
          <p:nvSpPr>
            <p:cNvPr id="127" name="Freeform 645">
              <a:extLst>
                <a:ext uri="{FF2B5EF4-FFF2-40B4-BE49-F238E27FC236}">
                  <a16:creationId xmlns:a16="http://schemas.microsoft.com/office/drawing/2014/main" id="{F7A39087-93A0-4F84-A7E8-65799E30DF21}"/>
                </a:ext>
              </a:extLst>
            </p:cNvPr>
            <p:cNvSpPr/>
            <p:nvPr/>
          </p:nvSpPr>
          <p:spPr bwMode="auto">
            <a:xfrm>
              <a:off x="6688138" y="3612654"/>
              <a:ext cx="264279" cy="263652"/>
            </a:xfrm>
            <a:custGeom>
              <a:gdLst>
                <a:gd fmla="*/ 400 w 845" name="T0"/>
                <a:gd fmla="*/ 846 h 846" name="T1"/>
                <a:gd fmla="*/ 336 w 845" name="T2"/>
                <a:gd fmla="*/ 837 h 846" name="T3"/>
                <a:gd fmla="*/ 277 w 845" name="T4"/>
                <a:gd fmla="*/ 820 h 846" name="T5"/>
                <a:gd fmla="*/ 221 w 845" name="T6"/>
                <a:gd fmla="*/ 795 h 846" name="T7"/>
                <a:gd fmla="*/ 169 w 845" name="T8"/>
                <a:gd fmla="*/ 761 h 846" name="T9"/>
                <a:gd fmla="*/ 123 w 845" name="T10"/>
                <a:gd fmla="*/ 722 h 846" name="T11"/>
                <a:gd fmla="*/ 83 w 845" name="T12"/>
                <a:gd fmla="*/ 675 h 846" name="T13"/>
                <a:gd fmla="*/ 51 w 845" name="T14"/>
                <a:gd fmla="*/ 624 h 846" name="T15"/>
                <a:gd fmla="*/ 24 w 845" name="T16"/>
                <a:gd fmla="*/ 569 h 846" name="T17"/>
                <a:gd fmla="*/ 8 w 845" name="T18"/>
                <a:gd fmla="*/ 508 h 846" name="T19"/>
                <a:gd fmla="*/ 0 w 845" name="T20"/>
                <a:gd fmla="*/ 445 h 846" name="T21"/>
                <a:gd fmla="*/ 0 w 845" name="T22"/>
                <a:gd fmla="*/ 401 h 846" name="T23"/>
                <a:gd fmla="*/ 8 w 845" name="T24"/>
                <a:gd fmla="*/ 339 h 846" name="T25"/>
                <a:gd fmla="*/ 24 w 845" name="T26"/>
                <a:gd fmla="*/ 277 h 846" name="T27"/>
                <a:gd fmla="*/ 51 w 845" name="T28"/>
                <a:gd fmla="*/ 222 h 846" name="T29"/>
                <a:gd fmla="*/ 83 w 845" name="T30"/>
                <a:gd fmla="*/ 171 h 846" name="T31"/>
                <a:gd fmla="*/ 123 w 845" name="T32"/>
                <a:gd fmla="*/ 124 h 846" name="T33"/>
                <a:gd fmla="*/ 169 w 845" name="T34"/>
                <a:gd fmla="*/ 85 h 846" name="T35"/>
                <a:gd fmla="*/ 221 w 845" name="T36"/>
                <a:gd fmla="*/ 51 h 846" name="T37"/>
                <a:gd fmla="*/ 277 w 845" name="T38"/>
                <a:gd fmla="*/ 27 h 846" name="T39"/>
                <a:gd fmla="*/ 336 w 845" name="T40"/>
                <a:gd fmla="*/ 9 h 846" name="T41"/>
                <a:gd fmla="*/ 400 w 845" name="T42"/>
                <a:gd fmla="*/ 0 h 846" name="T43"/>
                <a:gd fmla="*/ 444 w 845" name="T44"/>
                <a:gd fmla="*/ 0 h 846" name="T45"/>
                <a:gd fmla="*/ 507 w 845" name="T46"/>
                <a:gd fmla="*/ 9 h 846" name="T47"/>
                <a:gd fmla="*/ 567 w 845" name="T48"/>
                <a:gd fmla="*/ 27 h 846" name="T49"/>
                <a:gd fmla="*/ 624 w 845" name="T50"/>
                <a:gd fmla="*/ 51 h 846" name="T51"/>
                <a:gd fmla="*/ 675 w 845" name="T52"/>
                <a:gd fmla="*/ 85 h 846" name="T53"/>
                <a:gd fmla="*/ 721 w 845" name="T54"/>
                <a:gd fmla="*/ 124 h 846" name="T55"/>
                <a:gd fmla="*/ 761 w 845" name="T56"/>
                <a:gd fmla="*/ 171 h 846" name="T57"/>
                <a:gd fmla="*/ 794 w 845" name="T58"/>
                <a:gd fmla="*/ 222 h 846" name="T59"/>
                <a:gd fmla="*/ 819 w 845" name="T60"/>
                <a:gd fmla="*/ 277 h 846" name="T61"/>
                <a:gd fmla="*/ 836 w 845" name="T62"/>
                <a:gd fmla="*/ 339 h 846" name="T63"/>
                <a:gd fmla="*/ 844 w 845" name="T64"/>
                <a:gd fmla="*/ 401 h 846" name="T65"/>
                <a:gd fmla="*/ 844 w 845" name="T66"/>
                <a:gd fmla="*/ 445 h 846" name="T67"/>
                <a:gd fmla="*/ 836 w 845" name="T68"/>
                <a:gd fmla="*/ 508 h 846" name="T69"/>
                <a:gd fmla="*/ 819 w 845" name="T70"/>
                <a:gd fmla="*/ 569 h 846" name="T71"/>
                <a:gd fmla="*/ 794 w 845" name="T72"/>
                <a:gd fmla="*/ 624 h 846" name="T73"/>
                <a:gd fmla="*/ 761 w 845" name="T74"/>
                <a:gd fmla="*/ 675 h 846" name="T75"/>
                <a:gd fmla="*/ 721 w 845" name="T76"/>
                <a:gd fmla="*/ 722 h 846" name="T77"/>
                <a:gd fmla="*/ 675 w 845" name="T78"/>
                <a:gd fmla="*/ 761 h 846" name="T79"/>
                <a:gd fmla="*/ 624 w 845" name="T80"/>
                <a:gd fmla="*/ 795 h 846" name="T81"/>
                <a:gd fmla="*/ 567 w 845" name="T82"/>
                <a:gd fmla="*/ 820 h 846" name="T83"/>
                <a:gd fmla="*/ 507 w 845" name="T84"/>
                <a:gd fmla="*/ 837 h 846" name="T85"/>
                <a:gd fmla="*/ 444 w 845" name="T86"/>
                <a:gd fmla="*/ 846 h 846" name="T8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b="b" l="0" r="r" t="0"/>
              <a:pathLst>
                <a:path h="845" w="845">
                  <a:moveTo>
                    <a:pt x="422" y="846"/>
                  </a:moveTo>
                  <a:lnTo>
                    <a:pt x="422" y="846"/>
                  </a:lnTo>
                  <a:lnTo>
                    <a:pt x="400" y="846"/>
                  </a:lnTo>
                  <a:lnTo>
                    <a:pt x="379" y="843"/>
                  </a:lnTo>
                  <a:lnTo>
                    <a:pt x="358" y="842"/>
                  </a:lnTo>
                  <a:lnTo>
                    <a:pt x="336" y="837"/>
                  </a:lnTo>
                  <a:lnTo>
                    <a:pt x="316" y="833"/>
                  </a:lnTo>
                  <a:lnTo>
                    <a:pt x="297" y="827"/>
                  </a:lnTo>
                  <a:lnTo>
                    <a:pt x="277" y="820"/>
                  </a:lnTo>
                  <a:lnTo>
                    <a:pt x="258" y="812"/>
                  </a:lnTo>
                  <a:lnTo>
                    <a:pt x="239" y="804"/>
                  </a:lnTo>
                  <a:lnTo>
                    <a:pt x="221" y="795"/>
                  </a:lnTo>
                  <a:lnTo>
                    <a:pt x="204" y="785"/>
                  </a:lnTo>
                  <a:lnTo>
                    <a:pt x="186" y="773"/>
                  </a:lnTo>
                  <a:lnTo>
                    <a:pt x="169" y="761"/>
                  </a:lnTo>
                  <a:lnTo>
                    <a:pt x="153" y="750"/>
                  </a:lnTo>
                  <a:lnTo>
                    <a:pt x="138" y="737"/>
                  </a:lnTo>
                  <a:lnTo>
                    <a:pt x="123" y="722"/>
                  </a:lnTo>
                  <a:lnTo>
                    <a:pt x="109" y="707"/>
                  </a:lnTo>
                  <a:lnTo>
                    <a:pt x="96" y="691"/>
                  </a:lnTo>
                  <a:lnTo>
                    <a:pt x="83" y="675"/>
                  </a:lnTo>
                  <a:lnTo>
                    <a:pt x="71" y="659"/>
                  </a:lnTo>
                  <a:lnTo>
                    <a:pt x="61" y="642"/>
                  </a:lnTo>
                  <a:lnTo>
                    <a:pt x="51" y="624"/>
                  </a:lnTo>
                  <a:lnTo>
                    <a:pt x="40" y="607"/>
                  </a:lnTo>
                  <a:lnTo>
                    <a:pt x="33" y="588"/>
                  </a:lnTo>
                  <a:lnTo>
                    <a:pt x="24" y="569"/>
                  </a:lnTo>
                  <a:lnTo>
                    <a:pt x="18" y="549"/>
                  </a:lnTo>
                  <a:lnTo>
                    <a:pt x="13" y="528"/>
                  </a:lnTo>
                  <a:lnTo>
                    <a:pt x="8" y="508"/>
                  </a:lnTo>
                  <a:lnTo>
                    <a:pt x="4" y="487"/>
                  </a:lnTo>
                  <a:lnTo>
                    <a:pt x="1" y="467"/>
                  </a:lnTo>
                  <a:lnTo>
                    <a:pt x="0" y="445"/>
                  </a:lnTo>
                  <a:lnTo>
                    <a:pt x="0" y="423"/>
                  </a:lnTo>
                  <a:lnTo>
                    <a:pt x="0" y="423"/>
                  </a:lnTo>
                  <a:lnTo>
                    <a:pt x="0" y="401"/>
                  </a:lnTo>
                  <a:lnTo>
                    <a:pt x="1" y="379"/>
                  </a:lnTo>
                  <a:lnTo>
                    <a:pt x="4" y="359"/>
                  </a:lnTo>
                  <a:lnTo>
                    <a:pt x="8" y="339"/>
                  </a:lnTo>
                  <a:lnTo>
                    <a:pt x="13" y="318"/>
                  </a:lnTo>
                  <a:lnTo>
                    <a:pt x="18" y="298"/>
                  </a:lnTo>
                  <a:lnTo>
                    <a:pt x="24" y="277"/>
                  </a:lnTo>
                  <a:lnTo>
                    <a:pt x="33" y="258"/>
                  </a:lnTo>
                  <a:lnTo>
                    <a:pt x="40" y="239"/>
                  </a:lnTo>
                  <a:lnTo>
                    <a:pt x="51" y="222"/>
                  </a:lnTo>
                  <a:lnTo>
                    <a:pt x="61" y="204"/>
                  </a:lnTo>
                  <a:lnTo>
                    <a:pt x="71" y="187"/>
                  </a:lnTo>
                  <a:lnTo>
                    <a:pt x="83" y="171"/>
                  </a:lnTo>
                  <a:lnTo>
                    <a:pt x="96" y="155"/>
                  </a:lnTo>
                  <a:lnTo>
                    <a:pt x="109" y="139"/>
                  </a:lnTo>
                  <a:lnTo>
                    <a:pt x="123" y="124"/>
                  </a:lnTo>
                  <a:lnTo>
                    <a:pt x="138" y="110"/>
                  </a:lnTo>
                  <a:lnTo>
                    <a:pt x="153" y="97"/>
                  </a:lnTo>
                  <a:lnTo>
                    <a:pt x="169" y="85"/>
                  </a:lnTo>
                  <a:lnTo>
                    <a:pt x="186" y="73"/>
                  </a:lnTo>
                  <a:lnTo>
                    <a:pt x="204" y="62"/>
                  </a:lnTo>
                  <a:lnTo>
                    <a:pt x="221" y="51"/>
                  </a:lnTo>
                  <a:lnTo>
                    <a:pt x="239" y="43"/>
                  </a:lnTo>
                  <a:lnTo>
                    <a:pt x="258" y="34"/>
                  </a:lnTo>
                  <a:lnTo>
                    <a:pt x="277" y="27"/>
                  </a:lnTo>
                  <a:lnTo>
                    <a:pt x="297" y="19"/>
                  </a:lnTo>
                  <a:lnTo>
                    <a:pt x="316" y="13"/>
                  </a:lnTo>
                  <a:lnTo>
                    <a:pt x="336" y="9"/>
                  </a:lnTo>
                  <a:lnTo>
                    <a:pt x="358" y="5"/>
                  </a:lnTo>
                  <a:lnTo>
                    <a:pt x="379" y="2"/>
                  </a:lnTo>
                  <a:lnTo>
                    <a:pt x="400" y="0"/>
                  </a:lnTo>
                  <a:lnTo>
                    <a:pt x="422" y="0"/>
                  </a:lnTo>
                  <a:lnTo>
                    <a:pt x="422" y="0"/>
                  </a:lnTo>
                  <a:lnTo>
                    <a:pt x="444" y="0"/>
                  </a:lnTo>
                  <a:lnTo>
                    <a:pt x="465" y="2"/>
                  </a:lnTo>
                  <a:lnTo>
                    <a:pt x="487" y="5"/>
                  </a:lnTo>
                  <a:lnTo>
                    <a:pt x="507" y="9"/>
                  </a:lnTo>
                  <a:lnTo>
                    <a:pt x="527" y="13"/>
                  </a:lnTo>
                  <a:lnTo>
                    <a:pt x="548" y="19"/>
                  </a:lnTo>
                  <a:lnTo>
                    <a:pt x="567" y="27"/>
                  </a:lnTo>
                  <a:lnTo>
                    <a:pt x="587" y="34"/>
                  </a:lnTo>
                  <a:lnTo>
                    <a:pt x="605" y="43"/>
                  </a:lnTo>
                  <a:lnTo>
                    <a:pt x="624" y="51"/>
                  </a:lnTo>
                  <a:lnTo>
                    <a:pt x="641" y="62"/>
                  </a:lnTo>
                  <a:lnTo>
                    <a:pt x="659" y="73"/>
                  </a:lnTo>
                  <a:lnTo>
                    <a:pt x="675" y="85"/>
                  </a:lnTo>
                  <a:lnTo>
                    <a:pt x="691" y="97"/>
                  </a:lnTo>
                  <a:lnTo>
                    <a:pt x="707" y="110"/>
                  </a:lnTo>
                  <a:lnTo>
                    <a:pt x="721" y="124"/>
                  </a:lnTo>
                  <a:lnTo>
                    <a:pt x="734" y="139"/>
                  </a:lnTo>
                  <a:lnTo>
                    <a:pt x="747" y="155"/>
                  </a:lnTo>
                  <a:lnTo>
                    <a:pt x="761" y="171"/>
                  </a:lnTo>
                  <a:lnTo>
                    <a:pt x="772" y="187"/>
                  </a:lnTo>
                  <a:lnTo>
                    <a:pt x="784" y="204"/>
                  </a:lnTo>
                  <a:lnTo>
                    <a:pt x="794" y="222"/>
                  </a:lnTo>
                  <a:lnTo>
                    <a:pt x="803" y="239"/>
                  </a:lnTo>
                  <a:lnTo>
                    <a:pt x="812" y="258"/>
                  </a:lnTo>
                  <a:lnTo>
                    <a:pt x="819" y="277"/>
                  </a:lnTo>
                  <a:lnTo>
                    <a:pt x="826" y="298"/>
                  </a:lnTo>
                  <a:lnTo>
                    <a:pt x="832" y="318"/>
                  </a:lnTo>
                  <a:lnTo>
                    <a:pt x="836" y="339"/>
                  </a:lnTo>
                  <a:lnTo>
                    <a:pt x="839" y="359"/>
                  </a:lnTo>
                  <a:lnTo>
                    <a:pt x="842" y="379"/>
                  </a:lnTo>
                  <a:lnTo>
                    <a:pt x="844" y="401"/>
                  </a:lnTo>
                  <a:lnTo>
                    <a:pt x="845" y="423"/>
                  </a:lnTo>
                  <a:lnTo>
                    <a:pt x="845" y="423"/>
                  </a:lnTo>
                  <a:lnTo>
                    <a:pt x="844" y="445"/>
                  </a:lnTo>
                  <a:lnTo>
                    <a:pt x="842" y="467"/>
                  </a:lnTo>
                  <a:lnTo>
                    <a:pt x="839" y="487"/>
                  </a:lnTo>
                  <a:lnTo>
                    <a:pt x="836" y="508"/>
                  </a:lnTo>
                  <a:lnTo>
                    <a:pt x="832" y="528"/>
                  </a:lnTo>
                  <a:lnTo>
                    <a:pt x="826" y="549"/>
                  </a:lnTo>
                  <a:lnTo>
                    <a:pt x="819" y="569"/>
                  </a:lnTo>
                  <a:lnTo>
                    <a:pt x="812" y="588"/>
                  </a:lnTo>
                  <a:lnTo>
                    <a:pt x="803" y="607"/>
                  </a:lnTo>
                  <a:lnTo>
                    <a:pt x="794" y="624"/>
                  </a:lnTo>
                  <a:lnTo>
                    <a:pt x="784" y="642"/>
                  </a:lnTo>
                  <a:lnTo>
                    <a:pt x="772" y="659"/>
                  </a:lnTo>
                  <a:lnTo>
                    <a:pt x="761" y="675"/>
                  </a:lnTo>
                  <a:lnTo>
                    <a:pt x="747" y="691"/>
                  </a:lnTo>
                  <a:lnTo>
                    <a:pt x="734" y="707"/>
                  </a:lnTo>
                  <a:lnTo>
                    <a:pt x="721" y="722"/>
                  </a:lnTo>
                  <a:lnTo>
                    <a:pt x="707" y="737"/>
                  </a:lnTo>
                  <a:lnTo>
                    <a:pt x="691" y="750"/>
                  </a:lnTo>
                  <a:lnTo>
                    <a:pt x="675" y="761"/>
                  </a:lnTo>
                  <a:lnTo>
                    <a:pt x="659" y="773"/>
                  </a:lnTo>
                  <a:lnTo>
                    <a:pt x="641" y="785"/>
                  </a:lnTo>
                  <a:lnTo>
                    <a:pt x="624" y="795"/>
                  </a:lnTo>
                  <a:lnTo>
                    <a:pt x="605" y="804"/>
                  </a:lnTo>
                  <a:lnTo>
                    <a:pt x="587" y="812"/>
                  </a:lnTo>
                  <a:lnTo>
                    <a:pt x="567" y="820"/>
                  </a:lnTo>
                  <a:lnTo>
                    <a:pt x="548" y="827"/>
                  </a:lnTo>
                  <a:lnTo>
                    <a:pt x="527" y="833"/>
                  </a:lnTo>
                  <a:lnTo>
                    <a:pt x="507" y="837"/>
                  </a:lnTo>
                  <a:lnTo>
                    <a:pt x="487" y="842"/>
                  </a:lnTo>
                  <a:lnTo>
                    <a:pt x="465" y="843"/>
                  </a:lnTo>
                  <a:lnTo>
                    <a:pt x="444" y="846"/>
                  </a:lnTo>
                  <a:lnTo>
                    <a:pt x="422" y="846"/>
                  </a:lnTo>
                  <a:lnTo>
                    <a:pt x="422" y="846"/>
                  </a:lnTo>
                  <a:close/>
                </a:path>
              </a:pathLst>
            </a:custGeom>
            <a:solidFill>
              <a:srgbClr val="FFC73E"/>
            </a:solidFill>
            <a:ln w="9525">
              <a:noFill/>
              <a:round/>
            </a:ln>
          </p:spPr>
          <p:txBody>
            <a:bodyPr anchor="t" anchorCtr="0" bIns="45720" compatLnSpc="1" lIns="91440" numCol="1" rIns="91440" tIns="45720" vert="horz" wrap="square">
              <a:prstTxWarp prst="textNoShape">
                <a:avLst/>
              </a:prstTxWarp>
            </a:bodyPr>
            <a:lstStyle/>
            <a:p>
              <a:endParaRPr lang="en-US" sz="5000"/>
            </a:p>
          </p:txBody>
        </p:sp>
        <p:sp>
          <p:nvSpPr>
            <p:cNvPr id="136" name="Freeform 21">
              <a:extLst>
                <a:ext uri="{FF2B5EF4-FFF2-40B4-BE49-F238E27FC236}">
                  <a16:creationId xmlns:a16="http://schemas.microsoft.com/office/drawing/2014/main" id="{CC5CE84B-7251-4DE9-9C97-8711F6CFD9A6}"/>
                </a:ext>
              </a:extLst>
            </p:cNvPr>
            <p:cNvSpPr/>
            <p:nvPr/>
          </p:nvSpPr>
          <p:spPr bwMode="auto">
            <a:xfrm>
              <a:off x="6747234" y="3682977"/>
              <a:ext cx="146083" cy="121675"/>
            </a:xfrm>
            <a:custGeom>
              <a:gdLst>
                <a:gd fmla="*/ 370 w 1036" name="T0"/>
                <a:gd fmla="*/ 708 h 708" name="T1"/>
                <a:gd fmla="*/ 369 w 1036" name="T2"/>
                <a:gd fmla="*/ 708 h 708" name="T3"/>
                <a:gd fmla="*/ 360 w 1036" name="T4"/>
                <a:gd fmla="*/ 707 h 708" name="T5"/>
                <a:gd fmla="*/ 353 w 1036" name="T6"/>
                <a:gd fmla="*/ 705 h 708" name="T7"/>
                <a:gd fmla="*/ 346 w 1036" name="T8"/>
                <a:gd fmla="*/ 701 h 708" name="T9"/>
                <a:gd fmla="*/ 339 w 1036" name="T10"/>
                <a:gd fmla="*/ 697 h 708" name="T11"/>
                <a:gd fmla="*/ 13 w 1036" name="T12"/>
                <a:gd fmla="*/ 367 h 708" name="T13"/>
                <a:gd fmla="*/ 7 w 1036" name="T14"/>
                <a:gd fmla="*/ 360 h 708" name="T15"/>
                <a:gd fmla="*/ 4 w 1036" name="T16"/>
                <a:gd fmla="*/ 353 h 708" name="T17"/>
                <a:gd fmla="*/ 2 w 1036" name="T18"/>
                <a:gd fmla="*/ 346 h 708" name="T19"/>
                <a:gd fmla="*/ 0 w 1036" name="T20"/>
                <a:gd fmla="*/ 338 h 708" name="T21"/>
                <a:gd fmla="*/ 2 w 1036" name="T22"/>
                <a:gd fmla="*/ 330 h 708" name="T23"/>
                <a:gd fmla="*/ 4 w 1036" name="T24"/>
                <a:gd fmla="*/ 322 h 708" name="T25"/>
                <a:gd fmla="*/ 7 w 1036" name="T26"/>
                <a:gd fmla="*/ 315 h 708" name="T27"/>
                <a:gd fmla="*/ 13 w 1036" name="T28"/>
                <a:gd fmla="*/ 309 h 708" name="T29"/>
                <a:gd fmla="*/ 20 w 1036" name="T30"/>
                <a:gd fmla="*/ 303 h 708" name="T31"/>
                <a:gd fmla="*/ 27 w 1036" name="T32"/>
                <a:gd fmla="*/ 300 h 708" name="T33"/>
                <a:gd fmla="*/ 34 w 1036" name="T34"/>
                <a:gd fmla="*/ 297 h 708" name="T35"/>
                <a:gd fmla="*/ 42 w 1036" name="T36"/>
                <a:gd fmla="*/ 296 h 708" name="T37"/>
                <a:gd fmla="*/ 51 w 1036" name="T38"/>
                <a:gd fmla="*/ 297 h 708" name="T39"/>
                <a:gd fmla="*/ 59 w 1036" name="T40"/>
                <a:gd fmla="*/ 300 h 708" name="T41"/>
                <a:gd fmla="*/ 66 w 1036" name="T42"/>
                <a:gd fmla="*/ 303 h 708" name="T43"/>
                <a:gd fmla="*/ 72 w 1036" name="T44"/>
                <a:gd fmla="*/ 309 h 708" name="T45"/>
                <a:gd fmla="*/ 370 w 1036" name="T46"/>
                <a:gd fmla="*/ 608 h 708" name="T47"/>
                <a:gd fmla="*/ 965 w 1036" name="T48"/>
                <a:gd fmla="*/ 12 h 708" name="T49"/>
                <a:gd fmla="*/ 972 w 1036" name="T50"/>
                <a:gd fmla="*/ 6 h 708" name="T51"/>
                <a:gd fmla="*/ 979 w 1036" name="T52"/>
                <a:gd fmla="*/ 3 h 708" name="T53"/>
                <a:gd fmla="*/ 987 w 1036" name="T54"/>
                <a:gd fmla="*/ 0 h 708" name="T55"/>
                <a:gd fmla="*/ 995 w 1036" name="T56"/>
                <a:gd fmla="*/ 0 h 708" name="T57"/>
                <a:gd fmla="*/ 1002 w 1036" name="T58"/>
                <a:gd fmla="*/ 0 h 708" name="T59"/>
                <a:gd fmla="*/ 1010 w 1036" name="T60"/>
                <a:gd fmla="*/ 3 h 708" name="T61"/>
                <a:gd fmla="*/ 1017 w 1036" name="T62"/>
                <a:gd fmla="*/ 6 h 708" name="T63"/>
                <a:gd fmla="*/ 1024 w 1036" name="T64"/>
                <a:gd fmla="*/ 12 h 708" name="T65"/>
                <a:gd fmla="*/ 1029 w 1036" name="T66"/>
                <a:gd fmla="*/ 19 h 708" name="T67"/>
                <a:gd fmla="*/ 1034 w 1036" name="T68"/>
                <a:gd fmla="*/ 26 h 708" name="T69"/>
                <a:gd fmla="*/ 1036 w 1036" name="T70"/>
                <a:gd fmla="*/ 33 h 708" name="T71"/>
                <a:gd fmla="*/ 1036 w 1036" name="T72"/>
                <a:gd fmla="*/ 41 h 708" name="T73"/>
                <a:gd fmla="*/ 1036 w 1036" name="T74"/>
                <a:gd fmla="*/ 49 h 708" name="T75"/>
                <a:gd fmla="*/ 1034 w 1036" name="T76"/>
                <a:gd fmla="*/ 57 h 708" name="T77"/>
                <a:gd fmla="*/ 1029 w 1036" name="T78"/>
                <a:gd fmla="*/ 64 h 708" name="T79"/>
                <a:gd fmla="*/ 1024 w 1036" name="T80"/>
                <a:gd fmla="*/ 71 h 708" name="T81"/>
                <a:gd fmla="*/ 399 w 1036" name="T82"/>
                <a:gd fmla="*/ 697 h 708" name="T83"/>
                <a:gd fmla="*/ 392 w 1036" name="T84"/>
                <a:gd fmla="*/ 701 h 708" name="T85"/>
                <a:gd fmla="*/ 385 w 1036" name="T86"/>
                <a:gd fmla="*/ 705 h 708" name="T87"/>
                <a:gd fmla="*/ 378 w 1036" name="T88"/>
                <a:gd fmla="*/ 707 h 708" name="T89"/>
                <a:gd fmla="*/ 370 w 1036" name="T90"/>
                <a:gd fmla="*/ 708 h 708" name="T9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b="b" l="0" r="r" t="0"/>
              <a:pathLst>
                <a:path h="708" w="1036">
                  <a:moveTo>
                    <a:pt x="370" y="708"/>
                  </a:moveTo>
                  <a:lnTo>
                    <a:pt x="369" y="708"/>
                  </a:lnTo>
                  <a:lnTo>
                    <a:pt x="360" y="707"/>
                  </a:lnTo>
                  <a:lnTo>
                    <a:pt x="353" y="705"/>
                  </a:lnTo>
                  <a:lnTo>
                    <a:pt x="346" y="701"/>
                  </a:lnTo>
                  <a:lnTo>
                    <a:pt x="339" y="697"/>
                  </a:lnTo>
                  <a:lnTo>
                    <a:pt x="13" y="367"/>
                  </a:lnTo>
                  <a:lnTo>
                    <a:pt x="7" y="360"/>
                  </a:lnTo>
                  <a:lnTo>
                    <a:pt x="4" y="353"/>
                  </a:lnTo>
                  <a:lnTo>
                    <a:pt x="2" y="346"/>
                  </a:lnTo>
                  <a:lnTo>
                    <a:pt x="0" y="338"/>
                  </a:lnTo>
                  <a:lnTo>
                    <a:pt x="2" y="330"/>
                  </a:lnTo>
                  <a:lnTo>
                    <a:pt x="4" y="322"/>
                  </a:lnTo>
                  <a:lnTo>
                    <a:pt x="7" y="315"/>
                  </a:lnTo>
                  <a:lnTo>
                    <a:pt x="13" y="309"/>
                  </a:lnTo>
                  <a:lnTo>
                    <a:pt x="20" y="303"/>
                  </a:lnTo>
                  <a:lnTo>
                    <a:pt x="27" y="300"/>
                  </a:lnTo>
                  <a:lnTo>
                    <a:pt x="34" y="297"/>
                  </a:lnTo>
                  <a:lnTo>
                    <a:pt x="42" y="296"/>
                  </a:lnTo>
                  <a:lnTo>
                    <a:pt x="51" y="297"/>
                  </a:lnTo>
                  <a:lnTo>
                    <a:pt x="59" y="300"/>
                  </a:lnTo>
                  <a:lnTo>
                    <a:pt x="66" y="303"/>
                  </a:lnTo>
                  <a:lnTo>
                    <a:pt x="72" y="309"/>
                  </a:lnTo>
                  <a:lnTo>
                    <a:pt x="370" y="608"/>
                  </a:lnTo>
                  <a:lnTo>
                    <a:pt x="965" y="12"/>
                  </a:lnTo>
                  <a:lnTo>
                    <a:pt x="972" y="6"/>
                  </a:lnTo>
                  <a:lnTo>
                    <a:pt x="979" y="3"/>
                  </a:lnTo>
                  <a:lnTo>
                    <a:pt x="987" y="0"/>
                  </a:lnTo>
                  <a:lnTo>
                    <a:pt x="995" y="0"/>
                  </a:lnTo>
                  <a:lnTo>
                    <a:pt x="1002" y="0"/>
                  </a:lnTo>
                  <a:lnTo>
                    <a:pt x="1010" y="3"/>
                  </a:lnTo>
                  <a:lnTo>
                    <a:pt x="1017" y="6"/>
                  </a:lnTo>
                  <a:lnTo>
                    <a:pt x="1024" y="12"/>
                  </a:lnTo>
                  <a:lnTo>
                    <a:pt x="1029" y="19"/>
                  </a:lnTo>
                  <a:lnTo>
                    <a:pt x="1034" y="26"/>
                  </a:lnTo>
                  <a:lnTo>
                    <a:pt x="1036" y="33"/>
                  </a:lnTo>
                  <a:lnTo>
                    <a:pt x="1036" y="41"/>
                  </a:lnTo>
                  <a:lnTo>
                    <a:pt x="1036" y="49"/>
                  </a:lnTo>
                  <a:lnTo>
                    <a:pt x="1034" y="57"/>
                  </a:lnTo>
                  <a:lnTo>
                    <a:pt x="1029" y="64"/>
                  </a:lnTo>
                  <a:lnTo>
                    <a:pt x="1024" y="71"/>
                  </a:lnTo>
                  <a:lnTo>
                    <a:pt x="399" y="697"/>
                  </a:lnTo>
                  <a:lnTo>
                    <a:pt x="392" y="701"/>
                  </a:lnTo>
                  <a:lnTo>
                    <a:pt x="385" y="705"/>
                  </a:lnTo>
                  <a:lnTo>
                    <a:pt x="378" y="707"/>
                  </a:lnTo>
                  <a:lnTo>
                    <a:pt x="370" y="708"/>
                  </a:lnTo>
                  <a:close/>
                </a:path>
              </a:pathLst>
            </a:custGeom>
            <a:solidFill>
              <a:schemeClr val="bg1">
                <a:lumMod val="95000"/>
              </a:schemeClr>
            </a:solidFill>
            <a:ln>
              <a:noFill/>
            </a:ln>
            <a:effectLst>
              <a:outerShdw algn="ctr" blurRad="63500" rotWithShape="0" sx="102000" sy="102000">
                <a:prstClr val="black">
                  <a:alpha val="40000"/>
                </a:prstClr>
              </a:outerShdw>
            </a:effectLst>
          </p:spPr>
          <p:txBody>
            <a:bodyPr anchor="t" anchorCtr="0" bIns="45720" compatLnSpc="1" lIns="91440" numCol="1" rIns="91440" tIns="45720" vert="horz" wrap="square">
              <a:prstTxWarp prst="textNoShape">
                <a:avLst/>
              </a:prstTxWarp>
            </a:bodyPr>
            <a:lstStyle/>
            <a:p>
              <a:endParaRPr lang="en-US" sz="5000"/>
            </a:p>
          </p:txBody>
        </p:sp>
      </p:grpSp>
      <p:grpSp>
        <p:nvGrpSpPr>
          <p:cNvPr id="165" name="组合 164">
            <a:extLst>
              <a:ext uri="{FF2B5EF4-FFF2-40B4-BE49-F238E27FC236}">
                <a16:creationId xmlns:a16="http://schemas.microsoft.com/office/drawing/2014/main" id="{3EB19DA6-E182-43BB-9DCC-E889A89ED44B}"/>
              </a:ext>
            </a:extLst>
          </p:cNvPr>
          <p:cNvGrpSpPr/>
          <p:nvPr/>
        </p:nvGrpSpPr>
        <p:grpSpPr>
          <a:xfrm>
            <a:off x="6688138" y="4313423"/>
            <a:ext cx="264279" cy="263652"/>
            <a:chOff x="6688138" y="4313423"/>
            <a:chExt cx="264279" cy="263652"/>
          </a:xfrm>
        </p:grpSpPr>
        <p:sp>
          <p:nvSpPr>
            <p:cNvPr id="128" name="Freeform 645">
              <a:extLst>
                <a:ext uri="{FF2B5EF4-FFF2-40B4-BE49-F238E27FC236}">
                  <a16:creationId xmlns:a16="http://schemas.microsoft.com/office/drawing/2014/main" id="{4AE5BFBE-C742-4D23-A6B7-65498524CB6F}"/>
                </a:ext>
              </a:extLst>
            </p:cNvPr>
            <p:cNvSpPr/>
            <p:nvPr/>
          </p:nvSpPr>
          <p:spPr bwMode="auto">
            <a:xfrm>
              <a:off x="6688138" y="4313423"/>
              <a:ext cx="264279" cy="263652"/>
            </a:xfrm>
            <a:custGeom>
              <a:gdLst>
                <a:gd fmla="*/ 400 w 845" name="T0"/>
                <a:gd fmla="*/ 846 h 846" name="T1"/>
                <a:gd fmla="*/ 336 w 845" name="T2"/>
                <a:gd fmla="*/ 837 h 846" name="T3"/>
                <a:gd fmla="*/ 277 w 845" name="T4"/>
                <a:gd fmla="*/ 820 h 846" name="T5"/>
                <a:gd fmla="*/ 221 w 845" name="T6"/>
                <a:gd fmla="*/ 795 h 846" name="T7"/>
                <a:gd fmla="*/ 169 w 845" name="T8"/>
                <a:gd fmla="*/ 761 h 846" name="T9"/>
                <a:gd fmla="*/ 123 w 845" name="T10"/>
                <a:gd fmla="*/ 722 h 846" name="T11"/>
                <a:gd fmla="*/ 83 w 845" name="T12"/>
                <a:gd fmla="*/ 675 h 846" name="T13"/>
                <a:gd fmla="*/ 51 w 845" name="T14"/>
                <a:gd fmla="*/ 624 h 846" name="T15"/>
                <a:gd fmla="*/ 24 w 845" name="T16"/>
                <a:gd fmla="*/ 569 h 846" name="T17"/>
                <a:gd fmla="*/ 8 w 845" name="T18"/>
                <a:gd fmla="*/ 508 h 846" name="T19"/>
                <a:gd fmla="*/ 0 w 845" name="T20"/>
                <a:gd fmla="*/ 445 h 846" name="T21"/>
                <a:gd fmla="*/ 0 w 845" name="T22"/>
                <a:gd fmla="*/ 401 h 846" name="T23"/>
                <a:gd fmla="*/ 8 w 845" name="T24"/>
                <a:gd fmla="*/ 339 h 846" name="T25"/>
                <a:gd fmla="*/ 24 w 845" name="T26"/>
                <a:gd fmla="*/ 277 h 846" name="T27"/>
                <a:gd fmla="*/ 51 w 845" name="T28"/>
                <a:gd fmla="*/ 222 h 846" name="T29"/>
                <a:gd fmla="*/ 83 w 845" name="T30"/>
                <a:gd fmla="*/ 171 h 846" name="T31"/>
                <a:gd fmla="*/ 123 w 845" name="T32"/>
                <a:gd fmla="*/ 124 h 846" name="T33"/>
                <a:gd fmla="*/ 169 w 845" name="T34"/>
                <a:gd fmla="*/ 85 h 846" name="T35"/>
                <a:gd fmla="*/ 221 w 845" name="T36"/>
                <a:gd fmla="*/ 51 h 846" name="T37"/>
                <a:gd fmla="*/ 277 w 845" name="T38"/>
                <a:gd fmla="*/ 27 h 846" name="T39"/>
                <a:gd fmla="*/ 336 w 845" name="T40"/>
                <a:gd fmla="*/ 9 h 846" name="T41"/>
                <a:gd fmla="*/ 400 w 845" name="T42"/>
                <a:gd fmla="*/ 0 h 846" name="T43"/>
                <a:gd fmla="*/ 444 w 845" name="T44"/>
                <a:gd fmla="*/ 0 h 846" name="T45"/>
                <a:gd fmla="*/ 507 w 845" name="T46"/>
                <a:gd fmla="*/ 9 h 846" name="T47"/>
                <a:gd fmla="*/ 567 w 845" name="T48"/>
                <a:gd fmla="*/ 27 h 846" name="T49"/>
                <a:gd fmla="*/ 624 w 845" name="T50"/>
                <a:gd fmla="*/ 51 h 846" name="T51"/>
                <a:gd fmla="*/ 675 w 845" name="T52"/>
                <a:gd fmla="*/ 85 h 846" name="T53"/>
                <a:gd fmla="*/ 721 w 845" name="T54"/>
                <a:gd fmla="*/ 124 h 846" name="T55"/>
                <a:gd fmla="*/ 761 w 845" name="T56"/>
                <a:gd fmla="*/ 171 h 846" name="T57"/>
                <a:gd fmla="*/ 794 w 845" name="T58"/>
                <a:gd fmla="*/ 222 h 846" name="T59"/>
                <a:gd fmla="*/ 819 w 845" name="T60"/>
                <a:gd fmla="*/ 277 h 846" name="T61"/>
                <a:gd fmla="*/ 836 w 845" name="T62"/>
                <a:gd fmla="*/ 339 h 846" name="T63"/>
                <a:gd fmla="*/ 844 w 845" name="T64"/>
                <a:gd fmla="*/ 401 h 846" name="T65"/>
                <a:gd fmla="*/ 844 w 845" name="T66"/>
                <a:gd fmla="*/ 445 h 846" name="T67"/>
                <a:gd fmla="*/ 836 w 845" name="T68"/>
                <a:gd fmla="*/ 508 h 846" name="T69"/>
                <a:gd fmla="*/ 819 w 845" name="T70"/>
                <a:gd fmla="*/ 569 h 846" name="T71"/>
                <a:gd fmla="*/ 794 w 845" name="T72"/>
                <a:gd fmla="*/ 624 h 846" name="T73"/>
                <a:gd fmla="*/ 761 w 845" name="T74"/>
                <a:gd fmla="*/ 675 h 846" name="T75"/>
                <a:gd fmla="*/ 721 w 845" name="T76"/>
                <a:gd fmla="*/ 722 h 846" name="T77"/>
                <a:gd fmla="*/ 675 w 845" name="T78"/>
                <a:gd fmla="*/ 761 h 846" name="T79"/>
                <a:gd fmla="*/ 624 w 845" name="T80"/>
                <a:gd fmla="*/ 795 h 846" name="T81"/>
                <a:gd fmla="*/ 567 w 845" name="T82"/>
                <a:gd fmla="*/ 820 h 846" name="T83"/>
                <a:gd fmla="*/ 507 w 845" name="T84"/>
                <a:gd fmla="*/ 837 h 846" name="T85"/>
                <a:gd fmla="*/ 444 w 845" name="T86"/>
                <a:gd fmla="*/ 846 h 846" name="T8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b="b" l="0" r="r" t="0"/>
              <a:pathLst>
                <a:path h="845" w="845">
                  <a:moveTo>
                    <a:pt x="422" y="846"/>
                  </a:moveTo>
                  <a:lnTo>
                    <a:pt x="422" y="846"/>
                  </a:lnTo>
                  <a:lnTo>
                    <a:pt x="400" y="846"/>
                  </a:lnTo>
                  <a:lnTo>
                    <a:pt x="379" y="843"/>
                  </a:lnTo>
                  <a:lnTo>
                    <a:pt x="358" y="842"/>
                  </a:lnTo>
                  <a:lnTo>
                    <a:pt x="336" y="837"/>
                  </a:lnTo>
                  <a:lnTo>
                    <a:pt x="316" y="833"/>
                  </a:lnTo>
                  <a:lnTo>
                    <a:pt x="297" y="827"/>
                  </a:lnTo>
                  <a:lnTo>
                    <a:pt x="277" y="820"/>
                  </a:lnTo>
                  <a:lnTo>
                    <a:pt x="258" y="812"/>
                  </a:lnTo>
                  <a:lnTo>
                    <a:pt x="239" y="804"/>
                  </a:lnTo>
                  <a:lnTo>
                    <a:pt x="221" y="795"/>
                  </a:lnTo>
                  <a:lnTo>
                    <a:pt x="204" y="785"/>
                  </a:lnTo>
                  <a:lnTo>
                    <a:pt x="186" y="773"/>
                  </a:lnTo>
                  <a:lnTo>
                    <a:pt x="169" y="761"/>
                  </a:lnTo>
                  <a:lnTo>
                    <a:pt x="153" y="750"/>
                  </a:lnTo>
                  <a:lnTo>
                    <a:pt x="138" y="737"/>
                  </a:lnTo>
                  <a:lnTo>
                    <a:pt x="123" y="722"/>
                  </a:lnTo>
                  <a:lnTo>
                    <a:pt x="109" y="707"/>
                  </a:lnTo>
                  <a:lnTo>
                    <a:pt x="96" y="691"/>
                  </a:lnTo>
                  <a:lnTo>
                    <a:pt x="83" y="675"/>
                  </a:lnTo>
                  <a:lnTo>
                    <a:pt x="71" y="659"/>
                  </a:lnTo>
                  <a:lnTo>
                    <a:pt x="61" y="642"/>
                  </a:lnTo>
                  <a:lnTo>
                    <a:pt x="51" y="624"/>
                  </a:lnTo>
                  <a:lnTo>
                    <a:pt x="40" y="607"/>
                  </a:lnTo>
                  <a:lnTo>
                    <a:pt x="33" y="588"/>
                  </a:lnTo>
                  <a:lnTo>
                    <a:pt x="24" y="569"/>
                  </a:lnTo>
                  <a:lnTo>
                    <a:pt x="18" y="549"/>
                  </a:lnTo>
                  <a:lnTo>
                    <a:pt x="13" y="528"/>
                  </a:lnTo>
                  <a:lnTo>
                    <a:pt x="8" y="508"/>
                  </a:lnTo>
                  <a:lnTo>
                    <a:pt x="4" y="487"/>
                  </a:lnTo>
                  <a:lnTo>
                    <a:pt x="1" y="467"/>
                  </a:lnTo>
                  <a:lnTo>
                    <a:pt x="0" y="445"/>
                  </a:lnTo>
                  <a:lnTo>
                    <a:pt x="0" y="423"/>
                  </a:lnTo>
                  <a:lnTo>
                    <a:pt x="0" y="423"/>
                  </a:lnTo>
                  <a:lnTo>
                    <a:pt x="0" y="401"/>
                  </a:lnTo>
                  <a:lnTo>
                    <a:pt x="1" y="379"/>
                  </a:lnTo>
                  <a:lnTo>
                    <a:pt x="4" y="359"/>
                  </a:lnTo>
                  <a:lnTo>
                    <a:pt x="8" y="339"/>
                  </a:lnTo>
                  <a:lnTo>
                    <a:pt x="13" y="318"/>
                  </a:lnTo>
                  <a:lnTo>
                    <a:pt x="18" y="298"/>
                  </a:lnTo>
                  <a:lnTo>
                    <a:pt x="24" y="277"/>
                  </a:lnTo>
                  <a:lnTo>
                    <a:pt x="33" y="258"/>
                  </a:lnTo>
                  <a:lnTo>
                    <a:pt x="40" y="239"/>
                  </a:lnTo>
                  <a:lnTo>
                    <a:pt x="51" y="222"/>
                  </a:lnTo>
                  <a:lnTo>
                    <a:pt x="61" y="204"/>
                  </a:lnTo>
                  <a:lnTo>
                    <a:pt x="71" y="187"/>
                  </a:lnTo>
                  <a:lnTo>
                    <a:pt x="83" y="171"/>
                  </a:lnTo>
                  <a:lnTo>
                    <a:pt x="96" y="155"/>
                  </a:lnTo>
                  <a:lnTo>
                    <a:pt x="109" y="139"/>
                  </a:lnTo>
                  <a:lnTo>
                    <a:pt x="123" y="124"/>
                  </a:lnTo>
                  <a:lnTo>
                    <a:pt x="138" y="110"/>
                  </a:lnTo>
                  <a:lnTo>
                    <a:pt x="153" y="97"/>
                  </a:lnTo>
                  <a:lnTo>
                    <a:pt x="169" y="85"/>
                  </a:lnTo>
                  <a:lnTo>
                    <a:pt x="186" y="73"/>
                  </a:lnTo>
                  <a:lnTo>
                    <a:pt x="204" y="62"/>
                  </a:lnTo>
                  <a:lnTo>
                    <a:pt x="221" y="51"/>
                  </a:lnTo>
                  <a:lnTo>
                    <a:pt x="239" y="43"/>
                  </a:lnTo>
                  <a:lnTo>
                    <a:pt x="258" y="34"/>
                  </a:lnTo>
                  <a:lnTo>
                    <a:pt x="277" y="27"/>
                  </a:lnTo>
                  <a:lnTo>
                    <a:pt x="297" y="19"/>
                  </a:lnTo>
                  <a:lnTo>
                    <a:pt x="316" y="13"/>
                  </a:lnTo>
                  <a:lnTo>
                    <a:pt x="336" y="9"/>
                  </a:lnTo>
                  <a:lnTo>
                    <a:pt x="358" y="5"/>
                  </a:lnTo>
                  <a:lnTo>
                    <a:pt x="379" y="2"/>
                  </a:lnTo>
                  <a:lnTo>
                    <a:pt x="400" y="0"/>
                  </a:lnTo>
                  <a:lnTo>
                    <a:pt x="422" y="0"/>
                  </a:lnTo>
                  <a:lnTo>
                    <a:pt x="422" y="0"/>
                  </a:lnTo>
                  <a:lnTo>
                    <a:pt x="444" y="0"/>
                  </a:lnTo>
                  <a:lnTo>
                    <a:pt x="465" y="2"/>
                  </a:lnTo>
                  <a:lnTo>
                    <a:pt x="487" y="5"/>
                  </a:lnTo>
                  <a:lnTo>
                    <a:pt x="507" y="9"/>
                  </a:lnTo>
                  <a:lnTo>
                    <a:pt x="527" y="13"/>
                  </a:lnTo>
                  <a:lnTo>
                    <a:pt x="548" y="19"/>
                  </a:lnTo>
                  <a:lnTo>
                    <a:pt x="567" y="27"/>
                  </a:lnTo>
                  <a:lnTo>
                    <a:pt x="587" y="34"/>
                  </a:lnTo>
                  <a:lnTo>
                    <a:pt x="605" y="43"/>
                  </a:lnTo>
                  <a:lnTo>
                    <a:pt x="624" y="51"/>
                  </a:lnTo>
                  <a:lnTo>
                    <a:pt x="641" y="62"/>
                  </a:lnTo>
                  <a:lnTo>
                    <a:pt x="659" y="73"/>
                  </a:lnTo>
                  <a:lnTo>
                    <a:pt x="675" y="85"/>
                  </a:lnTo>
                  <a:lnTo>
                    <a:pt x="691" y="97"/>
                  </a:lnTo>
                  <a:lnTo>
                    <a:pt x="707" y="110"/>
                  </a:lnTo>
                  <a:lnTo>
                    <a:pt x="721" y="124"/>
                  </a:lnTo>
                  <a:lnTo>
                    <a:pt x="734" y="139"/>
                  </a:lnTo>
                  <a:lnTo>
                    <a:pt x="747" y="155"/>
                  </a:lnTo>
                  <a:lnTo>
                    <a:pt x="761" y="171"/>
                  </a:lnTo>
                  <a:lnTo>
                    <a:pt x="772" y="187"/>
                  </a:lnTo>
                  <a:lnTo>
                    <a:pt x="784" y="204"/>
                  </a:lnTo>
                  <a:lnTo>
                    <a:pt x="794" y="222"/>
                  </a:lnTo>
                  <a:lnTo>
                    <a:pt x="803" y="239"/>
                  </a:lnTo>
                  <a:lnTo>
                    <a:pt x="812" y="258"/>
                  </a:lnTo>
                  <a:lnTo>
                    <a:pt x="819" y="277"/>
                  </a:lnTo>
                  <a:lnTo>
                    <a:pt x="826" y="298"/>
                  </a:lnTo>
                  <a:lnTo>
                    <a:pt x="832" y="318"/>
                  </a:lnTo>
                  <a:lnTo>
                    <a:pt x="836" y="339"/>
                  </a:lnTo>
                  <a:lnTo>
                    <a:pt x="839" y="359"/>
                  </a:lnTo>
                  <a:lnTo>
                    <a:pt x="842" y="379"/>
                  </a:lnTo>
                  <a:lnTo>
                    <a:pt x="844" y="401"/>
                  </a:lnTo>
                  <a:lnTo>
                    <a:pt x="845" y="423"/>
                  </a:lnTo>
                  <a:lnTo>
                    <a:pt x="845" y="423"/>
                  </a:lnTo>
                  <a:lnTo>
                    <a:pt x="844" y="445"/>
                  </a:lnTo>
                  <a:lnTo>
                    <a:pt x="842" y="467"/>
                  </a:lnTo>
                  <a:lnTo>
                    <a:pt x="839" y="487"/>
                  </a:lnTo>
                  <a:lnTo>
                    <a:pt x="836" y="508"/>
                  </a:lnTo>
                  <a:lnTo>
                    <a:pt x="832" y="528"/>
                  </a:lnTo>
                  <a:lnTo>
                    <a:pt x="826" y="549"/>
                  </a:lnTo>
                  <a:lnTo>
                    <a:pt x="819" y="569"/>
                  </a:lnTo>
                  <a:lnTo>
                    <a:pt x="812" y="588"/>
                  </a:lnTo>
                  <a:lnTo>
                    <a:pt x="803" y="607"/>
                  </a:lnTo>
                  <a:lnTo>
                    <a:pt x="794" y="624"/>
                  </a:lnTo>
                  <a:lnTo>
                    <a:pt x="784" y="642"/>
                  </a:lnTo>
                  <a:lnTo>
                    <a:pt x="772" y="659"/>
                  </a:lnTo>
                  <a:lnTo>
                    <a:pt x="761" y="675"/>
                  </a:lnTo>
                  <a:lnTo>
                    <a:pt x="747" y="691"/>
                  </a:lnTo>
                  <a:lnTo>
                    <a:pt x="734" y="707"/>
                  </a:lnTo>
                  <a:lnTo>
                    <a:pt x="721" y="722"/>
                  </a:lnTo>
                  <a:lnTo>
                    <a:pt x="707" y="737"/>
                  </a:lnTo>
                  <a:lnTo>
                    <a:pt x="691" y="750"/>
                  </a:lnTo>
                  <a:lnTo>
                    <a:pt x="675" y="761"/>
                  </a:lnTo>
                  <a:lnTo>
                    <a:pt x="659" y="773"/>
                  </a:lnTo>
                  <a:lnTo>
                    <a:pt x="641" y="785"/>
                  </a:lnTo>
                  <a:lnTo>
                    <a:pt x="624" y="795"/>
                  </a:lnTo>
                  <a:lnTo>
                    <a:pt x="605" y="804"/>
                  </a:lnTo>
                  <a:lnTo>
                    <a:pt x="587" y="812"/>
                  </a:lnTo>
                  <a:lnTo>
                    <a:pt x="567" y="820"/>
                  </a:lnTo>
                  <a:lnTo>
                    <a:pt x="548" y="827"/>
                  </a:lnTo>
                  <a:lnTo>
                    <a:pt x="527" y="833"/>
                  </a:lnTo>
                  <a:lnTo>
                    <a:pt x="507" y="837"/>
                  </a:lnTo>
                  <a:lnTo>
                    <a:pt x="487" y="842"/>
                  </a:lnTo>
                  <a:lnTo>
                    <a:pt x="465" y="843"/>
                  </a:lnTo>
                  <a:lnTo>
                    <a:pt x="444" y="846"/>
                  </a:lnTo>
                  <a:lnTo>
                    <a:pt x="422" y="846"/>
                  </a:lnTo>
                  <a:lnTo>
                    <a:pt x="422" y="846"/>
                  </a:lnTo>
                  <a:close/>
                </a:path>
              </a:pathLst>
            </a:custGeom>
            <a:solidFill>
              <a:srgbClr val="00456B"/>
            </a:solidFill>
            <a:ln w="9525">
              <a:noFill/>
              <a:round/>
            </a:ln>
          </p:spPr>
          <p:txBody>
            <a:bodyPr anchor="t" anchorCtr="0" bIns="45720" compatLnSpc="1" lIns="91440" numCol="1" rIns="91440" tIns="45720" vert="horz" wrap="square">
              <a:prstTxWarp prst="textNoShape">
                <a:avLst/>
              </a:prstTxWarp>
            </a:bodyPr>
            <a:lstStyle/>
            <a:p>
              <a:endParaRPr lang="en-US" sz="5000"/>
            </a:p>
          </p:txBody>
        </p:sp>
        <p:sp>
          <p:nvSpPr>
            <p:cNvPr id="137" name="Freeform 21">
              <a:extLst>
                <a:ext uri="{FF2B5EF4-FFF2-40B4-BE49-F238E27FC236}">
                  <a16:creationId xmlns:a16="http://schemas.microsoft.com/office/drawing/2014/main" id="{D03424F6-D6C2-49E1-BE9D-8CB37D68F390}"/>
                </a:ext>
              </a:extLst>
            </p:cNvPr>
            <p:cNvSpPr/>
            <p:nvPr/>
          </p:nvSpPr>
          <p:spPr bwMode="auto">
            <a:xfrm>
              <a:off x="6747234" y="4394405"/>
              <a:ext cx="146083" cy="121675"/>
            </a:xfrm>
            <a:custGeom>
              <a:gdLst>
                <a:gd fmla="*/ 370 w 1036" name="T0"/>
                <a:gd fmla="*/ 708 h 708" name="T1"/>
                <a:gd fmla="*/ 369 w 1036" name="T2"/>
                <a:gd fmla="*/ 708 h 708" name="T3"/>
                <a:gd fmla="*/ 360 w 1036" name="T4"/>
                <a:gd fmla="*/ 707 h 708" name="T5"/>
                <a:gd fmla="*/ 353 w 1036" name="T6"/>
                <a:gd fmla="*/ 705 h 708" name="T7"/>
                <a:gd fmla="*/ 346 w 1036" name="T8"/>
                <a:gd fmla="*/ 701 h 708" name="T9"/>
                <a:gd fmla="*/ 339 w 1036" name="T10"/>
                <a:gd fmla="*/ 697 h 708" name="T11"/>
                <a:gd fmla="*/ 13 w 1036" name="T12"/>
                <a:gd fmla="*/ 367 h 708" name="T13"/>
                <a:gd fmla="*/ 7 w 1036" name="T14"/>
                <a:gd fmla="*/ 360 h 708" name="T15"/>
                <a:gd fmla="*/ 4 w 1036" name="T16"/>
                <a:gd fmla="*/ 353 h 708" name="T17"/>
                <a:gd fmla="*/ 2 w 1036" name="T18"/>
                <a:gd fmla="*/ 346 h 708" name="T19"/>
                <a:gd fmla="*/ 0 w 1036" name="T20"/>
                <a:gd fmla="*/ 338 h 708" name="T21"/>
                <a:gd fmla="*/ 2 w 1036" name="T22"/>
                <a:gd fmla="*/ 330 h 708" name="T23"/>
                <a:gd fmla="*/ 4 w 1036" name="T24"/>
                <a:gd fmla="*/ 322 h 708" name="T25"/>
                <a:gd fmla="*/ 7 w 1036" name="T26"/>
                <a:gd fmla="*/ 315 h 708" name="T27"/>
                <a:gd fmla="*/ 13 w 1036" name="T28"/>
                <a:gd fmla="*/ 309 h 708" name="T29"/>
                <a:gd fmla="*/ 20 w 1036" name="T30"/>
                <a:gd fmla="*/ 303 h 708" name="T31"/>
                <a:gd fmla="*/ 27 w 1036" name="T32"/>
                <a:gd fmla="*/ 300 h 708" name="T33"/>
                <a:gd fmla="*/ 34 w 1036" name="T34"/>
                <a:gd fmla="*/ 297 h 708" name="T35"/>
                <a:gd fmla="*/ 42 w 1036" name="T36"/>
                <a:gd fmla="*/ 296 h 708" name="T37"/>
                <a:gd fmla="*/ 51 w 1036" name="T38"/>
                <a:gd fmla="*/ 297 h 708" name="T39"/>
                <a:gd fmla="*/ 59 w 1036" name="T40"/>
                <a:gd fmla="*/ 300 h 708" name="T41"/>
                <a:gd fmla="*/ 66 w 1036" name="T42"/>
                <a:gd fmla="*/ 303 h 708" name="T43"/>
                <a:gd fmla="*/ 72 w 1036" name="T44"/>
                <a:gd fmla="*/ 309 h 708" name="T45"/>
                <a:gd fmla="*/ 370 w 1036" name="T46"/>
                <a:gd fmla="*/ 608 h 708" name="T47"/>
                <a:gd fmla="*/ 965 w 1036" name="T48"/>
                <a:gd fmla="*/ 12 h 708" name="T49"/>
                <a:gd fmla="*/ 972 w 1036" name="T50"/>
                <a:gd fmla="*/ 6 h 708" name="T51"/>
                <a:gd fmla="*/ 979 w 1036" name="T52"/>
                <a:gd fmla="*/ 3 h 708" name="T53"/>
                <a:gd fmla="*/ 987 w 1036" name="T54"/>
                <a:gd fmla="*/ 0 h 708" name="T55"/>
                <a:gd fmla="*/ 995 w 1036" name="T56"/>
                <a:gd fmla="*/ 0 h 708" name="T57"/>
                <a:gd fmla="*/ 1002 w 1036" name="T58"/>
                <a:gd fmla="*/ 0 h 708" name="T59"/>
                <a:gd fmla="*/ 1010 w 1036" name="T60"/>
                <a:gd fmla="*/ 3 h 708" name="T61"/>
                <a:gd fmla="*/ 1017 w 1036" name="T62"/>
                <a:gd fmla="*/ 6 h 708" name="T63"/>
                <a:gd fmla="*/ 1024 w 1036" name="T64"/>
                <a:gd fmla="*/ 12 h 708" name="T65"/>
                <a:gd fmla="*/ 1029 w 1036" name="T66"/>
                <a:gd fmla="*/ 19 h 708" name="T67"/>
                <a:gd fmla="*/ 1034 w 1036" name="T68"/>
                <a:gd fmla="*/ 26 h 708" name="T69"/>
                <a:gd fmla="*/ 1036 w 1036" name="T70"/>
                <a:gd fmla="*/ 33 h 708" name="T71"/>
                <a:gd fmla="*/ 1036 w 1036" name="T72"/>
                <a:gd fmla="*/ 41 h 708" name="T73"/>
                <a:gd fmla="*/ 1036 w 1036" name="T74"/>
                <a:gd fmla="*/ 49 h 708" name="T75"/>
                <a:gd fmla="*/ 1034 w 1036" name="T76"/>
                <a:gd fmla="*/ 57 h 708" name="T77"/>
                <a:gd fmla="*/ 1029 w 1036" name="T78"/>
                <a:gd fmla="*/ 64 h 708" name="T79"/>
                <a:gd fmla="*/ 1024 w 1036" name="T80"/>
                <a:gd fmla="*/ 71 h 708" name="T81"/>
                <a:gd fmla="*/ 399 w 1036" name="T82"/>
                <a:gd fmla="*/ 697 h 708" name="T83"/>
                <a:gd fmla="*/ 392 w 1036" name="T84"/>
                <a:gd fmla="*/ 701 h 708" name="T85"/>
                <a:gd fmla="*/ 385 w 1036" name="T86"/>
                <a:gd fmla="*/ 705 h 708" name="T87"/>
                <a:gd fmla="*/ 378 w 1036" name="T88"/>
                <a:gd fmla="*/ 707 h 708" name="T89"/>
                <a:gd fmla="*/ 370 w 1036" name="T90"/>
                <a:gd fmla="*/ 708 h 708" name="T9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b="b" l="0" r="r" t="0"/>
              <a:pathLst>
                <a:path h="708" w="1036">
                  <a:moveTo>
                    <a:pt x="370" y="708"/>
                  </a:moveTo>
                  <a:lnTo>
                    <a:pt x="369" y="708"/>
                  </a:lnTo>
                  <a:lnTo>
                    <a:pt x="360" y="707"/>
                  </a:lnTo>
                  <a:lnTo>
                    <a:pt x="353" y="705"/>
                  </a:lnTo>
                  <a:lnTo>
                    <a:pt x="346" y="701"/>
                  </a:lnTo>
                  <a:lnTo>
                    <a:pt x="339" y="697"/>
                  </a:lnTo>
                  <a:lnTo>
                    <a:pt x="13" y="367"/>
                  </a:lnTo>
                  <a:lnTo>
                    <a:pt x="7" y="360"/>
                  </a:lnTo>
                  <a:lnTo>
                    <a:pt x="4" y="353"/>
                  </a:lnTo>
                  <a:lnTo>
                    <a:pt x="2" y="346"/>
                  </a:lnTo>
                  <a:lnTo>
                    <a:pt x="0" y="338"/>
                  </a:lnTo>
                  <a:lnTo>
                    <a:pt x="2" y="330"/>
                  </a:lnTo>
                  <a:lnTo>
                    <a:pt x="4" y="322"/>
                  </a:lnTo>
                  <a:lnTo>
                    <a:pt x="7" y="315"/>
                  </a:lnTo>
                  <a:lnTo>
                    <a:pt x="13" y="309"/>
                  </a:lnTo>
                  <a:lnTo>
                    <a:pt x="20" y="303"/>
                  </a:lnTo>
                  <a:lnTo>
                    <a:pt x="27" y="300"/>
                  </a:lnTo>
                  <a:lnTo>
                    <a:pt x="34" y="297"/>
                  </a:lnTo>
                  <a:lnTo>
                    <a:pt x="42" y="296"/>
                  </a:lnTo>
                  <a:lnTo>
                    <a:pt x="51" y="297"/>
                  </a:lnTo>
                  <a:lnTo>
                    <a:pt x="59" y="300"/>
                  </a:lnTo>
                  <a:lnTo>
                    <a:pt x="66" y="303"/>
                  </a:lnTo>
                  <a:lnTo>
                    <a:pt x="72" y="309"/>
                  </a:lnTo>
                  <a:lnTo>
                    <a:pt x="370" y="608"/>
                  </a:lnTo>
                  <a:lnTo>
                    <a:pt x="965" y="12"/>
                  </a:lnTo>
                  <a:lnTo>
                    <a:pt x="972" y="6"/>
                  </a:lnTo>
                  <a:lnTo>
                    <a:pt x="979" y="3"/>
                  </a:lnTo>
                  <a:lnTo>
                    <a:pt x="987" y="0"/>
                  </a:lnTo>
                  <a:lnTo>
                    <a:pt x="995" y="0"/>
                  </a:lnTo>
                  <a:lnTo>
                    <a:pt x="1002" y="0"/>
                  </a:lnTo>
                  <a:lnTo>
                    <a:pt x="1010" y="3"/>
                  </a:lnTo>
                  <a:lnTo>
                    <a:pt x="1017" y="6"/>
                  </a:lnTo>
                  <a:lnTo>
                    <a:pt x="1024" y="12"/>
                  </a:lnTo>
                  <a:lnTo>
                    <a:pt x="1029" y="19"/>
                  </a:lnTo>
                  <a:lnTo>
                    <a:pt x="1034" y="26"/>
                  </a:lnTo>
                  <a:lnTo>
                    <a:pt x="1036" y="33"/>
                  </a:lnTo>
                  <a:lnTo>
                    <a:pt x="1036" y="41"/>
                  </a:lnTo>
                  <a:lnTo>
                    <a:pt x="1036" y="49"/>
                  </a:lnTo>
                  <a:lnTo>
                    <a:pt x="1034" y="57"/>
                  </a:lnTo>
                  <a:lnTo>
                    <a:pt x="1029" y="64"/>
                  </a:lnTo>
                  <a:lnTo>
                    <a:pt x="1024" y="71"/>
                  </a:lnTo>
                  <a:lnTo>
                    <a:pt x="399" y="697"/>
                  </a:lnTo>
                  <a:lnTo>
                    <a:pt x="392" y="701"/>
                  </a:lnTo>
                  <a:lnTo>
                    <a:pt x="385" y="705"/>
                  </a:lnTo>
                  <a:lnTo>
                    <a:pt x="378" y="707"/>
                  </a:lnTo>
                  <a:lnTo>
                    <a:pt x="370" y="708"/>
                  </a:lnTo>
                  <a:close/>
                </a:path>
              </a:pathLst>
            </a:custGeom>
            <a:solidFill>
              <a:schemeClr val="bg1">
                <a:lumMod val="95000"/>
              </a:schemeClr>
            </a:solidFill>
            <a:ln>
              <a:noFill/>
            </a:ln>
            <a:effectLst>
              <a:outerShdw algn="ctr" blurRad="63500" rotWithShape="0" sx="102000" sy="102000">
                <a:prstClr val="black">
                  <a:alpha val="40000"/>
                </a:prstClr>
              </a:outerShdw>
            </a:effectLst>
          </p:spPr>
          <p:txBody>
            <a:bodyPr anchor="t" anchorCtr="0" bIns="45720" compatLnSpc="1" lIns="91440" numCol="1" rIns="91440" tIns="45720" vert="horz" wrap="square">
              <a:prstTxWarp prst="textNoShape">
                <a:avLst/>
              </a:prstTxWarp>
            </a:bodyPr>
            <a:lstStyle/>
            <a:p>
              <a:endParaRPr lang="en-US" sz="5000"/>
            </a:p>
          </p:txBody>
        </p:sp>
      </p:grpSp>
      <p:grpSp>
        <p:nvGrpSpPr>
          <p:cNvPr id="166" name="组合 165">
            <a:extLst>
              <a:ext uri="{FF2B5EF4-FFF2-40B4-BE49-F238E27FC236}">
                <a16:creationId xmlns:a16="http://schemas.microsoft.com/office/drawing/2014/main" id="{15503C86-5B14-459D-8417-7397F567775D}"/>
              </a:ext>
            </a:extLst>
          </p:cNvPr>
          <p:cNvGrpSpPr/>
          <p:nvPr/>
        </p:nvGrpSpPr>
        <p:grpSpPr>
          <a:xfrm>
            <a:off x="6688138" y="5040361"/>
            <a:ext cx="264279" cy="263652"/>
            <a:chOff x="6688138" y="5040361"/>
            <a:chExt cx="264279" cy="263652"/>
          </a:xfrm>
        </p:grpSpPr>
        <p:sp>
          <p:nvSpPr>
            <p:cNvPr id="129" name="Freeform 645">
              <a:extLst>
                <a:ext uri="{FF2B5EF4-FFF2-40B4-BE49-F238E27FC236}">
                  <a16:creationId xmlns:a16="http://schemas.microsoft.com/office/drawing/2014/main" id="{A22D1126-F4C5-4B2B-BD80-534CB28708BF}"/>
                </a:ext>
              </a:extLst>
            </p:cNvPr>
            <p:cNvSpPr/>
            <p:nvPr/>
          </p:nvSpPr>
          <p:spPr bwMode="auto">
            <a:xfrm>
              <a:off x="6688138" y="5040361"/>
              <a:ext cx="264279" cy="263652"/>
            </a:xfrm>
            <a:custGeom>
              <a:gdLst>
                <a:gd fmla="*/ 400 w 845" name="T0"/>
                <a:gd fmla="*/ 846 h 846" name="T1"/>
                <a:gd fmla="*/ 336 w 845" name="T2"/>
                <a:gd fmla="*/ 837 h 846" name="T3"/>
                <a:gd fmla="*/ 277 w 845" name="T4"/>
                <a:gd fmla="*/ 820 h 846" name="T5"/>
                <a:gd fmla="*/ 221 w 845" name="T6"/>
                <a:gd fmla="*/ 795 h 846" name="T7"/>
                <a:gd fmla="*/ 169 w 845" name="T8"/>
                <a:gd fmla="*/ 761 h 846" name="T9"/>
                <a:gd fmla="*/ 123 w 845" name="T10"/>
                <a:gd fmla="*/ 722 h 846" name="T11"/>
                <a:gd fmla="*/ 83 w 845" name="T12"/>
                <a:gd fmla="*/ 675 h 846" name="T13"/>
                <a:gd fmla="*/ 51 w 845" name="T14"/>
                <a:gd fmla="*/ 624 h 846" name="T15"/>
                <a:gd fmla="*/ 24 w 845" name="T16"/>
                <a:gd fmla="*/ 569 h 846" name="T17"/>
                <a:gd fmla="*/ 8 w 845" name="T18"/>
                <a:gd fmla="*/ 508 h 846" name="T19"/>
                <a:gd fmla="*/ 0 w 845" name="T20"/>
                <a:gd fmla="*/ 445 h 846" name="T21"/>
                <a:gd fmla="*/ 0 w 845" name="T22"/>
                <a:gd fmla="*/ 401 h 846" name="T23"/>
                <a:gd fmla="*/ 8 w 845" name="T24"/>
                <a:gd fmla="*/ 339 h 846" name="T25"/>
                <a:gd fmla="*/ 24 w 845" name="T26"/>
                <a:gd fmla="*/ 277 h 846" name="T27"/>
                <a:gd fmla="*/ 51 w 845" name="T28"/>
                <a:gd fmla="*/ 222 h 846" name="T29"/>
                <a:gd fmla="*/ 83 w 845" name="T30"/>
                <a:gd fmla="*/ 171 h 846" name="T31"/>
                <a:gd fmla="*/ 123 w 845" name="T32"/>
                <a:gd fmla="*/ 124 h 846" name="T33"/>
                <a:gd fmla="*/ 169 w 845" name="T34"/>
                <a:gd fmla="*/ 85 h 846" name="T35"/>
                <a:gd fmla="*/ 221 w 845" name="T36"/>
                <a:gd fmla="*/ 51 h 846" name="T37"/>
                <a:gd fmla="*/ 277 w 845" name="T38"/>
                <a:gd fmla="*/ 27 h 846" name="T39"/>
                <a:gd fmla="*/ 336 w 845" name="T40"/>
                <a:gd fmla="*/ 9 h 846" name="T41"/>
                <a:gd fmla="*/ 400 w 845" name="T42"/>
                <a:gd fmla="*/ 0 h 846" name="T43"/>
                <a:gd fmla="*/ 444 w 845" name="T44"/>
                <a:gd fmla="*/ 0 h 846" name="T45"/>
                <a:gd fmla="*/ 507 w 845" name="T46"/>
                <a:gd fmla="*/ 9 h 846" name="T47"/>
                <a:gd fmla="*/ 567 w 845" name="T48"/>
                <a:gd fmla="*/ 27 h 846" name="T49"/>
                <a:gd fmla="*/ 624 w 845" name="T50"/>
                <a:gd fmla="*/ 51 h 846" name="T51"/>
                <a:gd fmla="*/ 675 w 845" name="T52"/>
                <a:gd fmla="*/ 85 h 846" name="T53"/>
                <a:gd fmla="*/ 721 w 845" name="T54"/>
                <a:gd fmla="*/ 124 h 846" name="T55"/>
                <a:gd fmla="*/ 761 w 845" name="T56"/>
                <a:gd fmla="*/ 171 h 846" name="T57"/>
                <a:gd fmla="*/ 794 w 845" name="T58"/>
                <a:gd fmla="*/ 222 h 846" name="T59"/>
                <a:gd fmla="*/ 819 w 845" name="T60"/>
                <a:gd fmla="*/ 277 h 846" name="T61"/>
                <a:gd fmla="*/ 836 w 845" name="T62"/>
                <a:gd fmla="*/ 339 h 846" name="T63"/>
                <a:gd fmla="*/ 844 w 845" name="T64"/>
                <a:gd fmla="*/ 401 h 846" name="T65"/>
                <a:gd fmla="*/ 844 w 845" name="T66"/>
                <a:gd fmla="*/ 445 h 846" name="T67"/>
                <a:gd fmla="*/ 836 w 845" name="T68"/>
                <a:gd fmla="*/ 508 h 846" name="T69"/>
                <a:gd fmla="*/ 819 w 845" name="T70"/>
                <a:gd fmla="*/ 569 h 846" name="T71"/>
                <a:gd fmla="*/ 794 w 845" name="T72"/>
                <a:gd fmla="*/ 624 h 846" name="T73"/>
                <a:gd fmla="*/ 761 w 845" name="T74"/>
                <a:gd fmla="*/ 675 h 846" name="T75"/>
                <a:gd fmla="*/ 721 w 845" name="T76"/>
                <a:gd fmla="*/ 722 h 846" name="T77"/>
                <a:gd fmla="*/ 675 w 845" name="T78"/>
                <a:gd fmla="*/ 761 h 846" name="T79"/>
                <a:gd fmla="*/ 624 w 845" name="T80"/>
                <a:gd fmla="*/ 795 h 846" name="T81"/>
                <a:gd fmla="*/ 567 w 845" name="T82"/>
                <a:gd fmla="*/ 820 h 846" name="T83"/>
                <a:gd fmla="*/ 507 w 845" name="T84"/>
                <a:gd fmla="*/ 837 h 846" name="T85"/>
                <a:gd fmla="*/ 444 w 845" name="T86"/>
                <a:gd fmla="*/ 846 h 846" name="T8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b="b" l="0" r="r" t="0"/>
              <a:pathLst>
                <a:path h="845" w="845">
                  <a:moveTo>
                    <a:pt x="422" y="846"/>
                  </a:moveTo>
                  <a:lnTo>
                    <a:pt x="422" y="846"/>
                  </a:lnTo>
                  <a:lnTo>
                    <a:pt x="400" y="846"/>
                  </a:lnTo>
                  <a:lnTo>
                    <a:pt x="379" y="843"/>
                  </a:lnTo>
                  <a:lnTo>
                    <a:pt x="358" y="842"/>
                  </a:lnTo>
                  <a:lnTo>
                    <a:pt x="336" y="837"/>
                  </a:lnTo>
                  <a:lnTo>
                    <a:pt x="316" y="833"/>
                  </a:lnTo>
                  <a:lnTo>
                    <a:pt x="297" y="827"/>
                  </a:lnTo>
                  <a:lnTo>
                    <a:pt x="277" y="820"/>
                  </a:lnTo>
                  <a:lnTo>
                    <a:pt x="258" y="812"/>
                  </a:lnTo>
                  <a:lnTo>
                    <a:pt x="239" y="804"/>
                  </a:lnTo>
                  <a:lnTo>
                    <a:pt x="221" y="795"/>
                  </a:lnTo>
                  <a:lnTo>
                    <a:pt x="204" y="785"/>
                  </a:lnTo>
                  <a:lnTo>
                    <a:pt x="186" y="773"/>
                  </a:lnTo>
                  <a:lnTo>
                    <a:pt x="169" y="761"/>
                  </a:lnTo>
                  <a:lnTo>
                    <a:pt x="153" y="750"/>
                  </a:lnTo>
                  <a:lnTo>
                    <a:pt x="138" y="737"/>
                  </a:lnTo>
                  <a:lnTo>
                    <a:pt x="123" y="722"/>
                  </a:lnTo>
                  <a:lnTo>
                    <a:pt x="109" y="707"/>
                  </a:lnTo>
                  <a:lnTo>
                    <a:pt x="96" y="691"/>
                  </a:lnTo>
                  <a:lnTo>
                    <a:pt x="83" y="675"/>
                  </a:lnTo>
                  <a:lnTo>
                    <a:pt x="71" y="659"/>
                  </a:lnTo>
                  <a:lnTo>
                    <a:pt x="61" y="642"/>
                  </a:lnTo>
                  <a:lnTo>
                    <a:pt x="51" y="624"/>
                  </a:lnTo>
                  <a:lnTo>
                    <a:pt x="40" y="607"/>
                  </a:lnTo>
                  <a:lnTo>
                    <a:pt x="33" y="588"/>
                  </a:lnTo>
                  <a:lnTo>
                    <a:pt x="24" y="569"/>
                  </a:lnTo>
                  <a:lnTo>
                    <a:pt x="18" y="549"/>
                  </a:lnTo>
                  <a:lnTo>
                    <a:pt x="13" y="528"/>
                  </a:lnTo>
                  <a:lnTo>
                    <a:pt x="8" y="508"/>
                  </a:lnTo>
                  <a:lnTo>
                    <a:pt x="4" y="487"/>
                  </a:lnTo>
                  <a:lnTo>
                    <a:pt x="1" y="467"/>
                  </a:lnTo>
                  <a:lnTo>
                    <a:pt x="0" y="445"/>
                  </a:lnTo>
                  <a:lnTo>
                    <a:pt x="0" y="423"/>
                  </a:lnTo>
                  <a:lnTo>
                    <a:pt x="0" y="423"/>
                  </a:lnTo>
                  <a:lnTo>
                    <a:pt x="0" y="401"/>
                  </a:lnTo>
                  <a:lnTo>
                    <a:pt x="1" y="379"/>
                  </a:lnTo>
                  <a:lnTo>
                    <a:pt x="4" y="359"/>
                  </a:lnTo>
                  <a:lnTo>
                    <a:pt x="8" y="339"/>
                  </a:lnTo>
                  <a:lnTo>
                    <a:pt x="13" y="318"/>
                  </a:lnTo>
                  <a:lnTo>
                    <a:pt x="18" y="298"/>
                  </a:lnTo>
                  <a:lnTo>
                    <a:pt x="24" y="277"/>
                  </a:lnTo>
                  <a:lnTo>
                    <a:pt x="33" y="258"/>
                  </a:lnTo>
                  <a:lnTo>
                    <a:pt x="40" y="239"/>
                  </a:lnTo>
                  <a:lnTo>
                    <a:pt x="51" y="222"/>
                  </a:lnTo>
                  <a:lnTo>
                    <a:pt x="61" y="204"/>
                  </a:lnTo>
                  <a:lnTo>
                    <a:pt x="71" y="187"/>
                  </a:lnTo>
                  <a:lnTo>
                    <a:pt x="83" y="171"/>
                  </a:lnTo>
                  <a:lnTo>
                    <a:pt x="96" y="155"/>
                  </a:lnTo>
                  <a:lnTo>
                    <a:pt x="109" y="139"/>
                  </a:lnTo>
                  <a:lnTo>
                    <a:pt x="123" y="124"/>
                  </a:lnTo>
                  <a:lnTo>
                    <a:pt x="138" y="110"/>
                  </a:lnTo>
                  <a:lnTo>
                    <a:pt x="153" y="97"/>
                  </a:lnTo>
                  <a:lnTo>
                    <a:pt x="169" y="85"/>
                  </a:lnTo>
                  <a:lnTo>
                    <a:pt x="186" y="73"/>
                  </a:lnTo>
                  <a:lnTo>
                    <a:pt x="204" y="62"/>
                  </a:lnTo>
                  <a:lnTo>
                    <a:pt x="221" y="51"/>
                  </a:lnTo>
                  <a:lnTo>
                    <a:pt x="239" y="43"/>
                  </a:lnTo>
                  <a:lnTo>
                    <a:pt x="258" y="34"/>
                  </a:lnTo>
                  <a:lnTo>
                    <a:pt x="277" y="27"/>
                  </a:lnTo>
                  <a:lnTo>
                    <a:pt x="297" y="19"/>
                  </a:lnTo>
                  <a:lnTo>
                    <a:pt x="316" y="13"/>
                  </a:lnTo>
                  <a:lnTo>
                    <a:pt x="336" y="9"/>
                  </a:lnTo>
                  <a:lnTo>
                    <a:pt x="358" y="5"/>
                  </a:lnTo>
                  <a:lnTo>
                    <a:pt x="379" y="2"/>
                  </a:lnTo>
                  <a:lnTo>
                    <a:pt x="400" y="0"/>
                  </a:lnTo>
                  <a:lnTo>
                    <a:pt x="422" y="0"/>
                  </a:lnTo>
                  <a:lnTo>
                    <a:pt x="422" y="0"/>
                  </a:lnTo>
                  <a:lnTo>
                    <a:pt x="444" y="0"/>
                  </a:lnTo>
                  <a:lnTo>
                    <a:pt x="465" y="2"/>
                  </a:lnTo>
                  <a:lnTo>
                    <a:pt x="487" y="5"/>
                  </a:lnTo>
                  <a:lnTo>
                    <a:pt x="507" y="9"/>
                  </a:lnTo>
                  <a:lnTo>
                    <a:pt x="527" y="13"/>
                  </a:lnTo>
                  <a:lnTo>
                    <a:pt x="548" y="19"/>
                  </a:lnTo>
                  <a:lnTo>
                    <a:pt x="567" y="27"/>
                  </a:lnTo>
                  <a:lnTo>
                    <a:pt x="587" y="34"/>
                  </a:lnTo>
                  <a:lnTo>
                    <a:pt x="605" y="43"/>
                  </a:lnTo>
                  <a:lnTo>
                    <a:pt x="624" y="51"/>
                  </a:lnTo>
                  <a:lnTo>
                    <a:pt x="641" y="62"/>
                  </a:lnTo>
                  <a:lnTo>
                    <a:pt x="659" y="73"/>
                  </a:lnTo>
                  <a:lnTo>
                    <a:pt x="675" y="85"/>
                  </a:lnTo>
                  <a:lnTo>
                    <a:pt x="691" y="97"/>
                  </a:lnTo>
                  <a:lnTo>
                    <a:pt x="707" y="110"/>
                  </a:lnTo>
                  <a:lnTo>
                    <a:pt x="721" y="124"/>
                  </a:lnTo>
                  <a:lnTo>
                    <a:pt x="734" y="139"/>
                  </a:lnTo>
                  <a:lnTo>
                    <a:pt x="747" y="155"/>
                  </a:lnTo>
                  <a:lnTo>
                    <a:pt x="761" y="171"/>
                  </a:lnTo>
                  <a:lnTo>
                    <a:pt x="772" y="187"/>
                  </a:lnTo>
                  <a:lnTo>
                    <a:pt x="784" y="204"/>
                  </a:lnTo>
                  <a:lnTo>
                    <a:pt x="794" y="222"/>
                  </a:lnTo>
                  <a:lnTo>
                    <a:pt x="803" y="239"/>
                  </a:lnTo>
                  <a:lnTo>
                    <a:pt x="812" y="258"/>
                  </a:lnTo>
                  <a:lnTo>
                    <a:pt x="819" y="277"/>
                  </a:lnTo>
                  <a:lnTo>
                    <a:pt x="826" y="298"/>
                  </a:lnTo>
                  <a:lnTo>
                    <a:pt x="832" y="318"/>
                  </a:lnTo>
                  <a:lnTo>
                    <a:pt x="836" y="339"/>
                  </a:lnTo>
                  <a:lnTo>
                    <a:pt x="839" y="359"/>
                  </a:lnTo>
                  <a:lnTo>
                    <a:pt x="842" y="379"/>
                  </a:lnTo>
                  <a:lnTo>
                    <a:pt x="844" y="401"/>
                  </a:lnTo>
                  <a:lnTo>
                    <a:pt x="845" y="423"/>
                  </a:lnTo>
                  <a:lnTo>
                    <a:pt x="845" y="423"/>
                  </a:lnTo>
                  <a:lnTo>
                    <a:pt x="844" y="445"/>
                  </a:lnTo>
                  <a:lnTo>
                    <a:pt x="842" y="467"/>
                  </a:lnTo>
                  <a:lnTo>
                    <a:pt x="839" y="487"/>
                  </a:lnTo>
                  <a:lnTo>
                    <a:pt x="836" y="508"/>
                  </a:lnTo>
                  <a:lnTo>
                    <a:pt x="832" y="528"/>
                  </a:lnTo>
                  <a:lnTo>
                    <a:pt x="826" y="549"/>
                  </a:lnTo>
                  <a:lnTo>
                    <a:pt x="819" y="569"/>
                  </a:lnTo>
                  <a:lnTo>
                    <a:pt x="812" y="588"/>
                  </a:lnTo>
                  <a:lnTo>
                    <a:pt x="803" y="607"/>
                  </a:lnTo>
                  <a:lnTo>
                    <a:pt x="794" y="624"/>
                  </a:lnTo>
                  <a:lnTo>
                    <a:pt x="784" y="642"/>
                  </a:lnTo>
                  <a:lnTo>
                    <a:pt x="772" y="659"/>
                  </a:lnTo>
                  <a:lnTo>
                    <a:pt x="761" y="675"/>
                  </a:lnTo>
                  <a:lnTo>
                    <a:pt x="747" y="691"/>
                  </a:lnTo>
                  <a:lnTo>
                    <a:pt x="734" y="707"/>
                  </a:lnTo>
                  <a:lnTo>
                    <a:pt x="721" y="722"/>
                  </a:lnTo>
                  <a:lnTo>
                    <a:pt x="707" y="737"/>
                  </a:lnTo>
                  <a:lnTo>
                    <a:pt x="691" y="750"/>
                  </a:lnTo>
                  <a:lnTo>
                    <a:pt x="675" y="761"/>
                  </a:lnTo>
                  <a:lnTo>
                    <a:pt x="659" y="773"/>
                  </a:lnTo>
                  <a:lnTo>
                    <a:pt x="641" y="785"/>
                  </a:lnTo>
                  <a:lnTo>
                    <a:pt x="624" y="795"/>
                  </a:lnTo>
                  <a:lnTo>
                    <a:pt x="605" y="804"/>
                  </a:lnTo>
                  <a:lnTo>
                    <a:pt x="587" y="812"/>
                  </a:lnTo>
                  <a:lnTo>
                    <a:pt x="567" y="820"/>
                  </a:lnTo>
                  <a:lnTo>
                    <a:pt x="548" y="827"/>
                  </a:lnTo>
                  <a:lnTo>
                    <a:pt x="527" y="833"/>
                  </a:lnTo>
                  <a:lnTo>
                    <a:pt x="507" y="837"/>
                  </a:lnTo>
                  <a:lnTo>
                    <a:pt x="487" y="842"/>
                  </a:lnTo>
                  <a:lnTo>
                    <a:pt x="465" y="843"/>
                  </a:lnTo>
                  <a:lnTo>
                    <a:pt x="444" y="846"/>
                  </a:lnTo>
                  <a:lnTo>
                    <a:pt x="422" y="846"/>
                  </a:lnTo>
                  <a:lnTo>
                    <a:pt x="422" y="846"/>
                  </a:lnTo>
                  <a:close/>
                </a:path>
              </a:pathLst>
            </a:custGeom>
            <a:solidFill>
              <a:schemeClr val="bg1">
                <a:lumMod val="50000"/>
              </a:schemeClr>
            </a:solidFill>
            <a:ln w="9525">
              <a:noFill/>
              <a:round/>
            </a:ln>
          </p:spPr>
          <p:txBody>
            <a:bodyPr anchor="t" anchorCtr="0" bIns="45720" compatLnSpc="1" lIns="91440" numCol="1" rIns="91440" tIns="45720" vert="horz" wrap="square">
              <a:prstTxWarp prst="textNoShape">
                <a:avLst/>
              </a:prstTxWarp>
            </a:bodyPr>
            <a:lstStyle/>
            <a:p>
              <a:endParaRPr lang="en-US" sz="5000"/>
            </a:p>
          </p:txBody>
        </p:sp>
        <p:sp>
          <p:nvSpPr>
            <p:cNvPr id="138" name="Freeform 21">
              <a:extLst>
                <a:ext uri="{FF2B5EF4-FFF2-40B4-BE49-F238E27FC236}">
                  <a16:creationId xmlns:a16="http://schemas.microsoft.com/office/drawing/2014/main" id="{B141619A-73D4-4E35-B5E5-61FA537177BB}"/>
                </a:ext>
              </a:extLst>
            </p:cNvPr>
            <p:cNvSpPr/>
            <p:nvPr/>
          </p:nvSpPr>
          <p:spPr bwMode="auto">
            <a:xfrm>
              <a:off x="6747234" y="5111349"/>
              <a:ext cx="146083" cy="121675"/>
            </a:xfrm>
            <a:custGeom>
              <a:gdLst>
                <a:gd fmla="*/ 370 w 1036" name="T0"/>
                <a:gd fmla="*/ 708 h 708" name="T1"/>
                <a:gd fmla="*/ 369 w 1036" name="T2"/>
                <a:gd fmla="*/ 708 h 708" name="T3"/>
                <a:gd fmla="*/ 360 w 1036" name="T4"/>
                <a:gd fmla="*/ 707 h 708" name="T5"/>
                <a:gd fmla="*/ 353 w 1036" name="T6"/>
                <a:gd fmla="*/ 705 h 708" name="T7"/>
                <a:gd fmla="*/ 346 w 1036" name="T8"/>
                <a:gd fmla="*/ 701 h 708" name="T9"/>
                <a:gd fmla="*/ 339 w 1036" name="T10"/>
                <a:gd fmla="*/ 697 h 708" name="T11"/>
                <a:gd fmla="*/ 13 w 1036" name="T12"/>
                <a:gd fmla="*/ 367 h 708" name="T13"/>
                <a:gd fmla="*/ 7 w 1036" name="T14"/>
                <a:gd fmla="*/ 360 h 708" name="T15"/>
                <a:gd fmla="*/ 4 w 1036" name="T16"/>
                <a:gd fmla="*/ 353 h 708" name="T17"/>
                <a:gd fmla="*/ 2 w 1036" name="T18"/>
                <a:gd fmla="*/ 346 h 708" name="T19"/>
                <a:gd fmla="*/ 0 w 1036" name="T20"/>
                <a:gd fmla="*/ 338 h 708" name="T21"/>
                <a:gd fmla="*/ 2 w 1036" name="T22"/>
                <a:gd fmla="*/ 330 h 708" name="T23"/>
                <a:gd fmla="*/ 4 w 1036" name="T24"/>
                <a:gd fmla="*/ 322 h 708" name="T25"/>
                <a:gd fmla="*/ 7 w 1036" name="T26"/>
                <a:gd fmla="*/ 315 h 708" name="T27"/>
                <a:gd fmla="*/ 13 w 1036" name="T28"/>
                <a:gd fmla="*/ 309 h 708" name="T29"/>
                <a:gd fmla="*/ 20 w 1036" name="T30"/>
                <a:gd fmla="*/ 303 h 708" name="T31"/>
                <a:gd fmla="*/ 27 w 1036" name="T32"/>
                <a:gd fmla="*/ 300 h 708" name="T33"/>
                <a:gd fmla="*/ 34 w 1036" name="T34"/>
                <a:gd fmla="*/ 297 h 708" name="T35"/>
                <a:gd fmla="*/ 42 w 1036" name="T36"/>
                <a:gd fmla="*/ 296 h 708" name="T37"/>
                <a:gd fmla="*/ 51 w 1036" name="T38"/>
                <a:gd fmla="*/ 297 h 708" name="T39"/>
                <a:gd fmla="*/ 59 w 1036" name="T40"/>
                <a:gd fmla="*/ 300 h 708" name="T41"/>
                <a:gd fmla="*/ 66 w 1036" name="T42"/>
                <a:gd fmla="*/ 303 h 708" name="T43"/>
                <a:gd fmla="*/ 72 w 1036" name="T44"/>
                <a:gd fmla="*/ 309 h 708" name="T45"/>
                <a:gd fmla="*/ 370 w 1036" name="T46"/>
                <a:gd fmla="*/ 608 h 708" name="T47"/>
                <a:gd fmla="*/ 965 w 1036" name="T48"/>
                <a:gd fmla="*/ 12 h 708" name="T49"/>
                <a:gd fmla="*/ 972 w 1036" name="T50"/>
                <a:gd fmla="*/ 6 h 708" name="T51"/>
                <a:gd fmla="*/ 979 w 1036" name="T52"/>
                <a:gd fmla="*/ 3 h 708" name="T53"/>
                <a:gd fmla="*/ 987 w 1036" name="T54"/>
                <a:gd fmla="*/ 0 h 708" name="T55"/>
                <a:gd fmla="*/ 995 w 1036" name="T56"/>
                <a:gd fmla="*/ 0 h 708" name="T57"/>
                <a:gd fmla="*/ 1002 w 1036" name="T58"/>
                <a:gd fmla="*/ 0 h 708" name="T59"/>
                <a:gd fmla="*/ 1010 w 1036" name="T60"/>
                <a:gd fmla="*/ 3 h 708" name="T61"/>
                <a:gd fmla="*/ 1017 w 1036" name="T62"/>
                <a:gd fmla="*/ 6 h 708" name="T63"/>
                <a:gd fmla="*/ 1024 w 1036" name="T64"/>
                <a:gd fmla="*/ 12 h 708" name="T65"/>
                <a:gd fmla="*/ 1029 w 1036" name="T66"/>
                <a:gd fmla="*/ 19 h 708" name="T67"/>
                <a:gd fmla="*/ 1034 w 1036" name="T68"/>
                <a:gd fmla="*/ 26 h 708" name="T69"/>
                <a:gd fmla="*/ 1036 w 1036" name="T70"/>
                <a:gd fmla="*/ 33 h 708" name="T71"/>
                <a:gd fmla="*/ 1036 w 1036" name="T72"/>
                <a:gd fmla="*/ 41 h 708" name="T73"/>
                <a:gd fmla="*/ 1036 w 1036" name="T74"/>
                <a:gd fmla="*/ 49 h 708" name="T75"/>
                <a:gd fmla="*/ 1034 w 1036" name="T76"/>
                <a:gd fmla="*/ 57 h 708" name="T77"/>
                <a:gd fmla="*/ 1029 w 1036" name="T78"/>
                <a:gd fmla="*/ 64 h 708" name="T79"/>
                <a:gd fmla="*/ 1024 w 1036" name="T80"/>
                <a:gd fmla="*/ 71 h 708" name="T81"/>
                <a:gd fmla="*/ 399 w 1036" name="T82"/>
                <a:gd fmla="*/ 697 h 708" name="T83"/>
                <a:gd fmla="*/ 392 w 1036" name="T84"/>
                <a:gd fmla="*/ 701 h 708" name="T85"/>
                <a:gd fmla="*/ 385 w 1036" name="T86"/>
                <a:gd fmla="*/ 705 h 708" name="T87"/>
                <a:gd fmla="*/ 378 w 1036" name="T88"/>
                <a:gd fmla="*/ 707 h 708" name="T89"/>
                <a:gd fmla="*/ 370 w 1036" name="T90"/>
                <a:gd fmla="*/ 708 h 708" name="T9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b="b" l="0" r="r" t="0"/>
              <a:pathLst>
                <a:path h="708" w="1036">
                  <a:moveTo>
                    <a:pt x="370" y="708"/>
                  </a:moveTo>
                  <a:lnTo>
                    <a:pt x="369" y="708"/>
                  </a:lnTo>
                  <a:lnTo>
                    <a:pt x="360" y="707"/>
                  </a:lnTo>
                  <a:lnTo>
                    <a:pt x="353" y="705"/>
                  </a:lnTo>
                  <a:lnTo>
                    <a:pt x="346" y="701"/>
                  </a:lnTo>
                  <a:lnTo>
                    <a:pt x="339" y="697"/>
                  </a:lnTo>
                  <a:lnTo>
                    <a:pt x="13" y="367"/>
                  </a:lnTo>
                  <a:lnTo>
                    <a:pt x="7" y="360"/>
                  </a:lnTo>
                  <a:lnTo>
                    <a:pt x="4" y="353"/>
                  </a:lnTo>
                  <a:lnTo>
                    <a:pt x="2" y="346"/>
                  </a:lnTo>
                  <a:lnTo>
                    <a:pt x="0" y="338"/>
                  </a:lnTo>
                  <a:lnTo>
                    <a:pt x="2" y="330"/>
                  </a:lnTo>
                  <a:lnTo>
                    <a:pt x="4" y="322"/>
                  </a:lnTo>
                  <a:lnTo>
                    <a:pt x="7" y="315"/>
                  </a:lnTo>
                  <a:lnTo>
                    <a:pt x="13" y="309"/>
                  </a:lnTo>
                  <a:lnTo>
                    <a:pt x="20" y="303"/>
                  </a:lnTo>
                  <a:lnTo>
                    <a:pt x="27" y="300"/>
                  </a:lnTo>
                  <a:lnTo>
                    <a:pt x="34" y="297"/>
                  </a:lnTo>
                  <a:lnTo>
                    <a:pt x="42" y="296"/>
                  </a:lnTo>
                  <a:lnTo>
                    <a:pt x="51" y="297"/>
                  </a:lnTo>
                  <a:lnTo>
                    <a:pt x="59" y="300"/>
                  </a:lnTo>
                  <a:lnTo>
                    <a:pt x="66" y="303"/>
                  </a:lnTo>
                  <a:lnTo>
                    <a:pt x="72" y="309"/>
                  </a:lnTo>
                  <a:lnTo>
                    <a:pt x="370" y="608"/>
                  </a:lnTo>
                  <a:lnTo>
                    <a:pt x="965" y="12"/>
                  </a:lnTo>
                  <a:lnTo>
                    <a:pt x="972" y="6"/>
                  </a:lnTo>
                  <a:lnTo>
                    <a:pt x="979" y="3"/>
                  </a:lnTo>
                  <a:lnTo>
                    <a:pt x="987" y="0"/>
                  </a:lnTo>
                  <a:lnTo>
                    <a:pt x="995" y="0"/>
                  </a:lnTo>
                  <a:lnTo>
                    <a:pt x="1002" y="0"/>
                  </a:lnTo>
                  <a:lnTo>
                    <a:pt x="1010" y="3"/>
                  </a:lnTo>
                  <a:lnTo>
                    <a:pt x="1017" y="6"/>
                  </a:lnTo>
                  <a:lnTo>
                    <a:pt x="1024" y="12"/>
                  </a:lnTo>
                  <a:lnTo>
                    <a:pt x="1029" y="19"/>
                  </a:lnTo>
                  <a:lnTo>
                    <a:pt x="1034" y="26"/>
                  </a:lnTo>
                  <a:lnTo>
                    <a:pt x="1036" y="33"/>
                  </a:lnTo>
                  <a:lnTo>
                    <a:pt x="1036" y="41"/>
                  </a:lnTo>
                  <a:lnTo>
                    <a:pt x="1036" y="49"/>
                  </a:lnTo>
                  <a:lnTo>
                    <a:pt x="1034" y="57"/>
                  </a:lnTo>
                  <a:lnTo>
                    <a:pt x="1029" y="64"/>
                  </a:lnTo>
                  <a:lnTo>
                    <a:pt x="1024" y="71"/>
                  </a:lnTo>
                  <a:lnTo>
                    <a:pt x="399" y="697"/>
                  </a:lnTo>
                  <a:lnTo>
                    <a:pt x="392" y="701"/>
                  </a:lnTo>
                  <a:lnTo>
                    <a:pt x="385" y="705"/>
                  </a:lnTo>
                  <a:lnTo>
                    <a:pt x="378" y="707"/>
                  </a:lnTo>
                  <a:lnTo>
                    <a:pt x="370" y="708"/>
                  </a:lnTo>
                  <a:close/>
                </a:path>
              </a:pathLst>
            </a:custGeom>
            <a:solidFill>
              <a:schemeClr val="bg1">
                <a:lumMod val="95000"/>
              </a:schemeClr>
            </a:solidFill>
            <a:ln>
              <a:noFill/>
            </a:ln>
            <a:effectLst>
              <a:outerShdw algn="ctr" blurRad="63500" rotWithShape="0" sx="102000" sy="102000">
                <a:prstClr val="black">
                  <a:alpha val="40000"/>
                </a:prstClr>
              </a:outerShdw>
            </a:effectLst>
          </p:spPr>
          <p:txBody>
            <a:bodyPr anchor="t" anchorCtr="0" bIns="45720" compatLnSpc="1" lIns="91440" numCol="1" rIns="91440" tIns="45720" vert="horz" wrap="square">
              <a:prstTxWarp prst="textNoShape">
                <a:avLst/>
              </a:prstTxWarp>
            </a:bodyPr>
            <a:lstStyle/>
            <a:p>
              <a:endParaRPr lang="en-US" sz="5000"/>
            </a:p>
          </p:txBody>
        </p:sp>
      </p:grpSp>
      <p:sp>
        <p:nvSpPr>
          <p:cNvPr id="154" name="TextBox 54">
            <a:extLst>
              <a:ext uri="{FF2B5EF4-FFF2-40B4-BE49-F238E27FC236}">
                <a16:creationId xmlns:a16="http://schemas.microsoft.com/office/drawing/2014/main" id="{5C423AD7-D7BF-4FE4-8ECB-4D5679061055}"/>
              </a:ext>
            </a:extLst>
          </p:cNvPr>
          <p:cNvSpPr txBox="1"/>
          <p:nvPr/>
        </p:nvSpPr>
        <p:spPr>
          <a:xfrm>
            <a:off x="1541055" y="4584761"/>
            <a:ext cx="1960880" cy="518160"/>
          </a:xfrm>
          <a:prstGeom prst="rect">
            <a:avLst/>
          </a:prstGeom>
          <a:noFill/>
        </p:spPr>
        <p:txBody>
          <a:bodyPr rtlCol="0" wrap="none">
            <a:spAutoFit/>
          </a:bodyPr>
          <a:lstStyle/>
          <a:p>
            <a:pPr algn="ctr" defTabSz="1219110"/>
            <a:r>
              <a:rPr altLang="en-US" b="1" lang="zh-CN" sz="2800">
                <a:solidFill>
                  <a:schemeClr val="tx1">
                    <a:lumMod val="85000"/>
                    <a:lumOff val="15000"/>
                  </a:schemeClr>
                </a:solidFill>
                <a:latin panose="020f0502020204030204" typeface="等线"/>
              </a:rPr>
              <a:t>项目分布图</a:t>
            </a:r>
          </a:p>
        </p:txBody>
      </p:sp>
      <p:sp>
        <p:nvSpPr>
          <p:cNvPr id="155" name="Rectangle 203">
            <a:extLst>
              <a:ext uri="{FF2B5EF4-FFF2-40B4-BE49-F238E27FC236}">
                <a16:creationId xmlns:a16="http://schemas.microsoft.com/office/drawing/2014/main" id="{4725BE4A-96ED-46D7-A2B5-B25E6337A5DA}"/>
              </a:ext>
            </a:extLst>
          </p:cNvPr>
          <p:cNvSpPr/>
          <p:nvPr/>
        </p:nvSpPr>
        <p:spPr>
          <a:xfrm>
            <a:off x="1586730" y="5061481"/>
            <a:ext cx="3527610" cy="571500"/>
          </a:xfrm>
          <a:prstGeom prst="rect">
            <a:avLst/>
          </a:prstGeom>
        </p:spPr>
        <p:txBody>
          <a:bodyPr wrap="square">
            <a:spAutoFit/>
          </a:bodyPr>
          <a:lstStyle/>
          <a:p>
            <a:pPr>
              <a:lnSpc>
                <a:spcPct val="150000"/>
              </a:lnSpc>
            </a:pPr>
            <a:r>
              <a:rPr altLang="en-US" lang="zh-CN" sz="1050">
                <a:solidFill>
                  <a:schemeClr val="tx1">
                    <a:lumMod val="75000"/>
                    <a:lumOff val="25000"/>
                  </a:schemeClr>
                </a:solidFill>
                <a:latin typeface="+mn-ea"/>
              </a:rPr>
              <a:t>这里可以添加主要内容这里可以添加主要内容这里可以添加主要内容这里可以添加主要内容</a:t>
            </a:r>
          </a:p>
        </p:txBody>
      </p:sp>
      <p:pic>
        <p:nvPicPr>
          <p:cNvPr id="156" name="图形 155">
            <a:extLst>
              <a:ext uri="{FF2B5EF4-FFF2-40B4-BE49-F238E27FC236}">
                <a16:creationId xmlns:a16="http://schemas.microsoft.com/office/drawing/2014/main" id="{42E5B31E-BCDC-46DD-9D17-5556262E534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622350" y="5742224"/>
            <a:ext cx="1481361" cy="193221"/>
          </a:xfrm>
          <a:prstGeom prst="rect">
            <a:avLst/>
          </a:prstGeom>
        </p:spPr>
      </p:pic>
    </p:spTree>
    <p:extLst>
      <p:ext uri="{BB962C8B-B14F-4D97-AF65-F5344CB8AC3E}">
        <p14:creationId val="1098535533"/>
      </p:ext>
    </p:extLst>
  </p:cSld>
  <p:clrMapOvr>
    <a:masterClrMapping/>
  </p:clrMapOvr>
  <mc:AlternateContent>
    <mc:Choice Requires="p14">
      <p:transition p14:dur="1500" spd="slow">
        <p:random/>
      </p:transition>
    </mc:Choice>
    <mc:Fallback>
      <p:transition spd="slow">
        <p:random/>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decel="100000" fill="hold" grpId="0" id="5" nodeType="withEffect" presetClass="entr" presetID="50" presetSubtype="0">
                                  <p:stCondLst>
                                    <p:cond delay="0"/>
                                  </p:stCondLst>
                                  <p:childTnLst>
                                    <p:set>
                                      <p:cBhvr>
                                        <p:cTn dur="1" fill="hold" id="6">
                                          <p:stCondLst>
                                            <p:cond delay="0"/>
                                          </p:stCondLst>
                                        </p:cTn>
                                        <p:tgtEl>
                                          <p:spTgt spid="118"/>
                                        </p:tgtEl>
                                        <p:attrNameLst>
                                          <p:attrName>style.visibility</p:attrName>
                                        </p:attrNameLst>
                                      </p:cBhvr>
                                      <p:to>
                                        <p:strVal val="visible"/>
                                      </p:to>
                                    </p:set>
                                    <p:anim calcmode="lin" valueType="num">
                                      <p:cBhvr>
                                        <p:cTn dur="1000" fill="hold" id="7"/>
                                        <p:tgtEl>
                                          <p:spTgt spid="118"/>
                                        </p:tgtEl>
                                        <p:attrNameLst>
                                          <p:attrName>ppt_w</p:attrName>
                                        </p:attrNameLst>
                                      </p:cBhvr>
                                      <p:tavLst>
                                        <p:tav tm="0">
                                          <p:val>
                                            <p:strVal val="#ppt_w+.3"/>
                                          </p:val>
                                        </p:tav>
                                        <p:tav tm="100000">
                                          <p:val>
                                            <p:strVal val="#ppt_w"/>
                                          </p:val>
                                        </p:tav>
                                      </p:tavLst>
                                    </p:anim>
                                    <p:anim calcmode="lin" valueType="num">
                                      <p:cBhvr>
                                        <p:cTn dur="1000" fill="hold" id="8"/>
                                        <p:tgtEl>
                                          <p:spTgt spid="118"/>
                                        </p:tgtEl>
                                        <p:attrNameLst>
                                          <p:attrName>ppt_h</p:attrName>
                                        </p:attrNameLst>
                                      </p:cBhvr>
                                      <p:tavLst>
                                        <p:tav tm="0">
                                          <p:val>
                                            <p:strVal val="#ppt_h"/>
                                          </p:val>
                                        </p:tav>
                                        <p:tav tm="100000">
                                          <p:val>
                                            <p:strVal val="#ppt_h"/>
                                          </p:val>
                                        </p:tav>
                                      </p:tavLst>
                                    </p:anim>
                                    <p:animEffect filter="fade" transition="in">
                                      <p:cBhvr>
                                        <p:cTn dur="1000" id="9"/>
                                        <p:tgtEl>
                                          <p:spTgt spid="118"/>
                                        </p:tgtEl>
                                      </p:cBhvr>
                                    </p:animEffect>
                                  </p:childTnLst>
                                </p:cTn>
                              </p:par>
                              <p:par>
                                <p:cTn fill="hold" id="10" nodeType="withEffect" presetClass="entr" presetID="53" presetSubtype="0">
                                  <p:stCondLst>
                                    <p:cond delay="250"/>
                                  </p:stCondLst>
                                  <p:childTnLst>
                                    <p:set>
                                      <p:cBhvr>
                                        <p:cTn dur="1" fill="hold" id="11">
                                          <p:stCondLst>
                                            <p:cond delay="0"/>
                                          </p:stCondLst>
                                        </p:cTn>
                                        <p:tgtEl>
                                          <p:spTgt spid="120"/>
                                        </p:tgtEl>
                                        <p:attrNameLst>
                                          <p:attrName>style.visibility</p:attrName>
                                        </p:attrNameLst>
                                      </p:cBhvr>
                                      <p:to>
                                        <p:strVal val="visible"/>
                                      </p:to>
                                    </p:set>
                                    <p:anim calcmode="lin" valueType="num">
                                      <p:cBhvr>
                                        <p:cTn dur="500" fill="hold" id="12"/>
                                        <p:tgtEl>
                                          <p:spTgt spid="120"/>
                                        </p:tgtEl>
                                        <p:attrNameLst>
                                          <p:attrName>ppt_w</p:attrName>
                                        </p:attrNameLst>
                                      </p:cBhvr>
                                      <p:tavLst>
                                        <p:tav tm="0">
                                          <p:val>
                                            <p:fltVal val="0"/>
                                          </p:val>
                                        </p:tav>
                                        <p:tav tm="100000">
                                          <p:val>
                                            <p:strVal val="#ppt_w"/>
                                          </p:val>
                                        </p:tav>
                                      </p:tavLst>
                                    </p:anim>
                                    <p:anim calcmode="lin" valueType="num">
                                      <p:cBhvr>
                                        <p:cTn dur="500" fill="hold" id="13"/>
                                        <p:tgtEl>
                                          <p:spTgt spid="120"/>
                                        </p:tgtEl>
                                        <p:attrNameLst>
                                          <p:attrName>ppt_h</p:attrName>
                                        </p:attrNameLst>
                                      </p:cBhvr>
                                      <p:tavLst>
                                        <p:tav tm="0">
                                          <p:val>
                                            <p:fltVal val="0"/>
                                          </p:val>
                                        </p:tav>
                                        <p:tav tm="100000">
                                          <p:val>
                                            <p:strVal val="#ppt_h"/>
                                          </p:val>
                                        </p:tav>
                                      </p:tavLst>
                                    </p:anim>
                                    <p:animEffect filter="fade" transition="in">
                                      <p:cBhvr>
                                        <p:cTn dur="500" id="14"/>
                                        <p:tgtEl>
                                          <p:spTgt spid="120"/>
                                        </p:tgtEl>
                                      </p:cBhvr>
                                    </p:animEffect>
                                  </p:childTnLst>
                                </p:cTn>
                              </p:par>
                              <p:par>
                                <p:cTn fill="hold" id="15" nodeType="withEffect" presetClass="entr" presetID="53" presetSubtype="0">
                                  <p:stCondLst>
                                    <p:cond delay="250"/>
                                  </p:stCondLst>
                                  <p:childTnLst>
                                    <p:set>
                                      <p:cBhvr>
                                        <p:cTn dur="1" fill="hold" id="16">
                                          <p:stCondLst>
                                            <p:cond delay="0"/>
                                          </p:stCondLst>
                                        </p:cTn>
                                        <p:tgtEl>
                                          <p:spTgt spid="121"/>
                                        </p:tgtEl>
                                        <p:attrNameLst>
                                          <p:attrName>style.visibility</p:attrName>
                                        </p:attrNameLst>
                                      </p:cBhvr>
                                      <p:to>
                                        <p:strVal val="visible"/>
                                      </p:to>
                                    </p:set>
                                    <p:anim calcmode="lin" valueType="num">
                                      <p:cBhvr>
                                        <p:cTn dur="500" fill="hold" id="17"/>
                                        <p:tgtEl>
                                          <p:spTgt spid="121"/>
                                        </p:tgtEl>
                                        <p:attrNameLst>
                                          <p:attrName>ppt_w</p:attrName>
                                        </p:attrNameLst>
                                      </p:cBhvr>
                                      <p:tavLst>
                                        <p:tav tm="0">
                                          <p:val>
                                            <p:fltVal val="0"/>
                                          </p:val>
                                        </p:tav>
                                        <p:tav tm="100000">
                                          <p:val>
                                            <p:strVal val="#ppt_w"/>
                                          </p:val>
                                        </p:tav>
                                      </p:tavLst>
                                    </p:anim>
                                    <p:anim calcmode="lin" valueType="num">
                                      <p:cBhvr>
                                        <p:cTn dur="500" fill="hold" id="18"/>
                                        <p:tgtEl>
                                          <p:spTgt spid="121"/>
                                        </p:tgtEl>
                                        <p:attrNameLst>
                                          <p:attrName>ppt_h</p:attrName>
                                        </p:attrNameLst>
                                      </p:cBhvr>
                                      <p:tavLst>
                                        <p:tav tm="0">
                                          <p:val>
                                            <p:fltVal val="0"/>
                                          </p:val>
                                        </p:tav>
                                        <p:tav tm="100000">
                                          <p:val>
                                            <p:strVal val="#ppt_h"/>
                                          </p:val>
                                        </p:tav>
                                      </p:tavLst>
                                    </p:anim>
                                    <p:animEffect filter="fade" transition="in">
                                      <p:cBhvr>
                                        <p:cTn dur="500" id="19"/>
                                        <p:tgtEl>
                                          <p:spTgt spid="121"/>
                                        </p:tgtEl>
                                      </p:cBhvr>
                                    </p:animEffect>
                                  </p:childTnLst>
                                </p:cTn>
                              </p:par>
                              <p:par>
                                <p:cTn fill="hold" id="20" nodeType="withEffect" presetClass="entr" presetID="22" presetSubtype="8">
                                  <p:stCondLst>
                                    <p:cond delay="750"/>
                                  </p:stCondLst>
                                  <p:childTnLst>
                                    <p:set>
                                      <p:cBhvr>
                                        <p:cTn dur="1" fill="hold" id="21">
                                          <p:stCondLst>
                                            <p:cond delay="0"/>
                                          </p:stCondLst>
                                        </p:cTn>
                                        <p:tgtEl>
                                          <p:spTgt spid="119"/>
                                        </p:tgtEl>
                                        <p:attrNameLst>
                                          <p:attrName>style.visibility</p:attrName>
                                        </p:attrNameLst>
                                      </p:cBhvr>
                                      <p:to>
                                        <p:strVal val="visible"/>
                                      </p:to>
                                    </p:set>
                                    <p:animEffect filter="wipe(left)" transition="in">
                                      <p:cBhvr>
                                        <p:cTn dur="250" id="22"/>
                                        <p:tgtEl>
                                          <p:spTgt spid="119"/>
                                        </p:tgtEl>
                                      </p:cBhvr>
                                    </p:animEffect>
                                  </p:childTnLst>
                                </p:cTn>
                              </p:par>
                              <p:par>
                                <p:cTn fill="hold" id="23" nodeType="withEffect" presetClass="entr" presetID="22" presetSubtype="2">
                                  <p:stCondLst>
                                    <p:cond delay="750"/>
                                  </p:stCondLst>
                                  <p:childTnLst>
                                    <p:set>
                                      <p:cBhvr>
                                        <p:cTn dur="1" fill="hold" id="24">
                                          <p:stCondLst>
                                            <p:cond delay="0"/>
                                          </p:stCondLst>
                                        </p:cTn>
                                        <p:tgtEl>
                                          <p:spTgt spid="122"/>
                                        </p:tgtEl>
                                        <p:attrNameLst>
                                          <p:attrName>style.visibility</p:attrName>
                                        </p:attrNameLst>
                                      </p:cBhvr>
                                      <p:to>
                                        <p:strVal val="visible"/>
                                      </p:to>
                                    </p:set>
                                    <p:animEffect filter="wipe(right)" transition="in">
                                      <p:cBhvr>
                                        <p:cTn dur="250" id="25"/>
                                        <p:tgtEl>
                                          <p:spTgt spid="122"/>
                                        </p:tgtEl>
                                      </p:cBhvr>
                                    </p:animEffect>
                                  </p:childTnLst>
                                </p:cTn>
                              </p:par>
                            </p:childTnLst>
                          </p:cTn>
                        </p:par>
                        <p:par>
                          <p:cTn fill="hold" id="26" nodeType="afterGroup">
                            <p:stCondLst>
                              <p:cond delay="1000"/>
                            </p:stCondLst>
                            <p:childTnLst>
                              <p:par>
                                <p:cTn fill="hold" id="27" nodeType="afterEffect" presetClass="entr" presetID="17" presetSubtype="10">
                                  <p:stCondLst>
                                    <p:cond delay="0"/>
                                  </p:stCondLst>
                                  <p:childTnLst>
                                    <p:set>
                                      <p:cBhvr>
                                        <p:cTn dur="1" fill="hold" id="28">
                                          <p:stCondLst>
                                            <p:cond delay="0"/>
                                          </p:stCondLst>
                                        </p:cTn>
                                        <p:tgtEl>
                                          <p:spTgt spid="3"/>
                                        </p:tgtEl>
                                        <p:attrNameLst>
                                          <p:attrName>style.visibility</p:attrName>
                                        </p:attrNameLst>
                                      </p:cBhvr>
                                      <p:to>
                                        <p:strVal val="visible"/>
                                      </p:to>
                                    </p:set>
                                    <p:anim calcmode="lin" valueType="num">
                                      <p:cBhvr>
                                        <p:cTn dur="1000" fill="hold" id="29"/>
                                        <p:tgtEl>
                                          <p:spTgt spid="3"/>
                                        </p:tgtEl>
                                        <p:attrNameLst>
                                          <p:attrName>ppt_w</p:attrName>
                                        </p:attrNameLst>
                                      </p:cBhvr>
                                      <p:tavLst>
                                        <p:tav tm="0">
                                          <p:val>
                                            <p:fltVal val="0"/>
                                          </p:val>
                                        </p:tav>
                                        <p:tav tm="100000">
                                          <p:val>
                                            <p:strVal val="#ppt_w"/>
                                          </p:val>
                                        </p:tav>
                                      </p:tavLst>
                                    </p:anim>
                                    <p:anim calcmode="lin" valueType="num">
                                      <p:cBhvr>
                                        <p:cTn dur="1000" fill="hold" id="30"/>
                                        <p:tgtEl>
                                          <p:spTgt spid="3"/>
                                        </p:tgtEl>
                                        <p:attrNameLst>
                                          <p:attrName>ppt_h</p:attrName>
                                        </p:attrNameLst>
                                      </p:cBhvr>
                                      <p:tavLst>
                                        <p:tav tm="0">
                                          <p:val>
                                            <p:strVal val="#ppt_h"/>
                                          </p:val>
                                        </p:tav>
                                        <p:tav tm="100000">
                                          <p:val>
                                            <p:strVal val="#ppt_h"/>
                                          </p:val>
                                        </p:tav>
                                      </p:tavLst>
                                    </p:anim>
                                  </p:childTnLst>
                                </p:cTn>
                              </p:par>
                            </p:childTnLst>
                          </p:cTn>
                        </p:par>
                        <p:par>
                          <p:cTn fill="hold" id="31" nodeType="afterGroup">
                            <p:stCondLst>
                              <p:cond delay="2000"/>
                            </p:stCondLst>
                            <p:childTnLst>
                              <p:par>
                                <p:cTn fill="hold" grpId="0" id="32" nodeType="afterEffect" presetClass="entr" presetID="42" presetSubtype="0">
                                  <p:stCondLst>
                                    <p:cond delay="0"/>
                                  </p:stCondLst>
                                  <p:childTnLst>
                                    <p:set>
                                      <p:cBhvr>
                                        <p:cTn dur="1" fill="hold" id="33">
                                          <p:stCondLst>
                                            <p:cond delay="0"/>
                                          </p:stCondLst>
                                        </p:cTn>
                                        <p:tgtEl>
                                          <p:spTgt spid="154"/>
                                        </p:tgtEl>
                                        <p:attrNameLst>
                                          <p:attrName>style.visibility</p:attrName>
                                        </p:attrNameLst>
                                      </p:cBhvr>
                                      <p:to>
                                        <p:strVal val="visible"/>
                                      </p:to>
                                    </p:set>
                                    <p:animEffect filter="fade" transition="in">
                                      <p:cBhvr>
                                        <p:cTn dur="1000" id="34"/>
                                        <p:tgtEl>
                                          <p:spTgt spid="154"/>
                                        </p:tgtEl>
                                      </p:cBhvr>
                                    </p:animEffect>
                                    <p:anim calcmode="lin" valueType="num">
                                      <p:cBhvr>
                                        <p:cTn dur="1000" fill="hold" id="35"/>
                                        <p:tgtEl>
                                          <p:spTgt spid="154"/>
                                        </p:tgtEl>
                                        <p:attrNameLst>
                                          <p:attrName>ppt_x</p:attrName>
                                        </p:attrNameLst>
                                      </p:cBhvr>
                                      <p:tavLst>
                                        <p:tav tm="0">
                                          <p:val>
                                            <p:strVal val="#ppt_x"/>
                                          </p:val>
                                        </p:tav>
                                        <p:tav tm="100000">
                                          <p:val>
                                            <p:strVal val="#ppt_x"/>
                                          </p:val>
                                        </p:tav>
                                      </p:tavLst>
                                    </p:anim>
                                    <p:anim calcmode="lin" valueType="num">
                                      <p:cBhvr>
                                        <p:cTn dur="1000" fill="hold" id="36"/>
                                        <p:tgtEl>
                                          <p:spTgt spid="154"/>
                                        </p:tgtEl>
                                        <p:attrNameLst>
                                          <p:attrName>ppt_y</p:attrName>
                                        </p:attrNameLst>
                                      </p:cBhvr>
                                      <p:tavLst>
                                        <p:tav tm="0">
                                          <p:val>
                                            <p:strVal val="#ppt_y+.1"/>
                                          </p:val>
                                        </p:tav>
                                        <p:tav tm="100000">
                                          <p:val>
                                            <p:strVal val="#ppt_y"/>
                                          </p:val>
                                        </p:tav>
                                      </p:tavLst>
                                    </p:anim>
                                  </p:childTnLst>
                                </p:cTn>
                              </p:par>
                              <p:par>
                                <p:cTn fill="hold" grpId="0" id="37" nodeType="withEffect" presetClass="entr" presetID="42" presetSubtype="0">
                                  <p:stCondLst>
                                    <p:cond delay="0"/>
                                  </p:stCondLst>
                                  <p:childTnLst>
                                    <p:set>
                                      <p:cBhvr>
                                        <p:cTn dur="1" fill="hold" id="38">
                                          <p:stCondLst>
                                            <p:cond delay="0"/>
                                          </p:stCondLst>
                                        </p:cTn>
                                        <p:tgtEl>
                                          <p:spTgt spid="155"/>
                                        </p:tgtEl>
                                        <p:attrNameLst>
                                          <p:attrName>style.visibility</p:attrName>
                                        </p:attrNameLst>
                                      </p:cBhvr>
                                      <p:to>
                                        <p:strVal val="visible"/>
                                      </p:to>
                                    </p:set>
                                    <p:animEffect filter="fade" transition="in">
                                      <p:cBhvr>
                                        <p:cTn dur="1000" id="39"/>
                                        <p:tgtEl>
                                          <p:spTgt spid="155"/>
                                        </p:tgtEl>
                                      </p:cBhvr>
                                    </p:animEffect>
                                    <p:anim calcmode="lin" valueType="num">
                                      <p:cBhvr>
                                        <p:cTn dur="1000" fill="hold" id="40"/>
                                        <p:tgtEl>
                                          <p:spTgt spid="155"/>
                                        </p:tgtEl>
                                        <p:attrNameLst>
                                          <p:attrName>ppt_x</p:attrName>
                                        </p:attrNameLst>
                                      </p:cBhvr>
                                      <p:tavLst>
                                        <p:tav tm="0">
                                          <p:val>
                                            <p:strVal val="#ppt_x"/>
                                          </p:val>
                                        </p:tav>
                                        <p:tav tm="100000">
                                          <p:val>
                                            <p:strVal val="#ppt_x"/>
                                          </p:val>
                                        </p:tav>
                                      </p:tavLst>
                                    </p:anim>
                                    <p:anim calcmode="lin" valueType="num">
                                      <p:cBhvr>
                                        <p:cTn dur="1000" fill="hold" id="41"/>
                                        <p:tgtEl>
                                          <p:spTgt spid="155"/>
                                        </p:tgtEl>
                                        <p:attrNameLst>
                                          <p:attrName>ppt_y</p:attrName>
                                        </p:attrNameLst>
                                      </p:cBhvr>
                                      <p:tavLst>
                                        <p:tav tm="0">
                                          <p:val>
                                            <p:strVal val="#ppt_y+.1"/>
                                          </p:val>
                                        </p:tav>
                                        <p:tav tm="100000">
                                          <p:val>
                                            <p:strVal val="#ppt_y"/>
                                          </p:val>
                                        </p:tav>
                                      </p:tavLst>
                                    </p:anim>
                                  </p:childTnLst>
                                </p:cTn>
                              </p:par>
                              <p:par>
                                <p:cTn fill="hold" id="42" nodeType="withEffect" presetClass="entr" presetID="42" presetSubtype="0">
                                  <p:stCondLst>
                                    <p:cond delay="0"/>
                                  </p:stCondLst>
                                  <p:childTnLst>
                                    <p:set>
                                      <p:cBhvr>
                                        <p:cTn dur="1" fill="hold" id="43">
                                          <p:stCondLst>
                                            <p:cond delay="0"/>
                                          </p:stCondLst>
                                        </p:cTn>
                                        <p:tgtEl>
                                          <p:spTgt spid="156"/>
                                        </p:tgtEl>
                                        <p:attrNameLst>
                                          <p:attrName>style.visibility</p:attrName>
                                        </p:attrNameLst>
                                      </p:cBhvr>
                                      <p:to>
                                        <p:strVal val="visible"/>
                                      </p:to>
                                    </p:set>
                                    <p:animEffect filter="fade" transition="in">
                                      <p:cBhvr>
                                        <p:cTn dur="1000" id="44"/>
                                        <p:tgtEl>
                                          <p:spTgt spid="156"/>
                                        </p:tgtEl>
                                      </p:cBhvr>
                                    </p:animEffect>
                                    <p:anim calcmode="lin" valueType="num">
                                      <p:cBhvr>
                                        <p:cTn dur="1000" fill="hold" id="45"/>
                                        <p:tgtEl>
                                          <p:spTgt spid="156"/>
                                        </p:tgtEl>
                                        <p:attrNameLst>
                                          <p:attrName>ppt_x</p:attrName>
                                        </p:attrNameLst>
                                      </p:cBhvr>
                                      <p:tavLst>
                                        <p:tav tm="0">
                                          <p:val>
                                            <p:strVal val="#ppt_x"/>
                                          </p:val>
                                        </p:tav>
                                        <p:tav tm="100000">
                                          <p:val>
                                            <p:strVal val="#ppt_x"/>
                                          </p:val>
                                        </p:tav>
                                      </p:tavLst>
                                    </p:anim>
                                    <p:anim calcmode="lin" valueType="num">
                                      <p:cBhvr>
                                        <p:cTn dur="1000" fill="hold" id="46"/>
                                        <p:tgtEl>
                                          <p:spTgt spid="156"/>
                                        </p:tgtEl>
                                        <p:attrNameLst>
                                          <p:attrName>ppt_y</p:attrName>
                                        </p:attrNameLst>
                                      </p:cBhvr>
                                      <p:tavLst>
                                        <p:tav tm="0">
                                          <p:val>
                                            <p:strVal val="#ppt_y+.1"/>
                                          </p:val>
                                        </p:tav>
                                        <p:tav tm="100000">
                                          <p:val>
                                            <p:strVal val="#ppt_y"/>
                                          </p:val>
                                        </p:tav>
                                      </p:tavLst>
                                    </p:anim>
                                  </p:childTnLst>
                                </p:cTn>
                              </p:par>
                            </p:childTnLst>
                          </p:cTn>
                        </p:par>
                        <p:par>
                          <p:cTn fill="hold" id="47" nodeType="afterGroup">
                            <p:stCondLst>
                              <p:cond delay="3000"/>
                            </p:stCondLst>
                            <p:childTnLst>
                              <p:par>
                                <p:cTn fill="hold" id="48" nodeType="afterEffect" presetClass="entr" presetID="10" presetSubtype="0">
                                  <p:stCondLst>
                                    <p:cond delay="0"/>
                                  </p:stCondLst>
                                  <p:childTnLst>
                                    <p:set>
                                      <p:cBhvr>
                                        <p:cTn dur="1" fill="hold" id="49">
                                          <p:stCondLst>
                                            <p:cond delay="0"/>
                                          </p:stCondLst>
                                        </p:cTn>
                                        <p:tgtEl>
                                          <p:spTgt spid="158"/>
                                        </p:tgtEl>
                                        <p:attrNameLst>
                                          <p:attrName>style.visibility</p:attrName>
                                        </p:attrNameLst>
                                      </p:cBhvr>
                                      <p:to>
                                        <p:strVal val="visible"/>
                                      </p:to>
                                    </p:set>
                                    <p:animEffect filter="fade" transition="in">
                                      <p:cBhvr>
                                        <p:cTn dur="500" id="50"/>
                                        <p:tgtEl>
                                          <p:spTgt spid="158"/>
                                        </p:tgtEl>
                                      </p:cBhvr>
                                    </p:animEffect>
                                  </p:childTnLst>
                                </p:cTn>
                              </p:par>
                              <p:par>
                                <p:cTn fill="hold" id="51" nodeType="withEffect" presetClass="entr" presetID="10" presetSubtype="0">
                                  <p:stCondLst>
                                    <p:cond delay="250"/>
                                  </p:stCondLst>
                                  <p:childTnLst>
                                    <p:set>
                                      <p:cBhvr>
                                        <p:cTn dur="1" fill="hold" id="52">
                                          <p:stCondLst>
                                            <p:cond delay="0"/>
                                          </p:stCondLst>
                                        </p:cTn>
                                        <p:tgtEl>
                                          <p:spTgt spid="157"/>
                                        </p:tgtEl>
                                        <p:attrNameLst>
                                          <p:attrName>style.visibility</p:attrName>
                                        </p:attrNameLst>
                                      </p:cBhvr>
                                      <p:to>
                                        <p:strVal val="visible"/>
                                      </p:to>
                                    </p:set>
                                    <p:animEffect filter="fade" transition="in">
                                      <p:cBhvr>
                                        <p:cTn dur="500" id="53"/>
                                        <p:tgtEl>
                                          <p:spTgt spid="157"/>
                                        </p:tgtEl>
                                      </p:cBhvr>
                                    </p:animEffect>
                                  </p:childTnLst>
                                </p:cTn>
                              </p:par>
                              <p:par>
                                <p:cTn fill="hold" id="54" nodeType="withEffect" presetClass="entr" presetID="10" presetSubtype="0">
                                  <p:stCondLst>
                                    <p:cond delay="500"/>
                                  </p:stCondLst>
                                  <p:childTnLst>
                                    <p:set>
                                      <p:cBhvr>
                                        <p:cTn dur="1" fill="hold" id="55">
                                          <p:stCondLst>
                                            <p:cond delay="0"/>
                                          </p:stCondLst>
                                        </p:cTn>
                                        <p:tgtEl>
                                          <p:spTgt spid="160"/>
                                        </p:tgtEl>
                                        <p:attrNameLst>
                                          <p:attrName>style.visibility</p:attrName>
                                        </p:attrNameLst>
                                      </p:cBhvr>
                                      <p:to>
                                        <p:strVal val="visible"/>
                                      </p:to>
                                    </p:set>
                                    <p:animEffect filter="fade" transition="in">
                                      <p:cBhvr>
                                        <p:cTn dur="500" id="56"/>
                                        <p:tgtEl>
                                          <p:spTgt spid="160"/>
                                        </p:tgtEl>
                                      </p:cBhvr>
                                    </p:animEffect>
                                  </p:childTnLst>
                                </p:cTn>
                              </p:par>
                              <p:par>
                                <p:cTn fill="hold" id="57" nodeType="withEffect" presetClass="entr" presetID="10" presetSubtype="0">
                                  <p:stCondLst>
                                    <p:cond delay="750"/>
                                  </p:stCondLst>
                                  <p:childTnLst>
                                    <p:set>
                                      <p:cBhvr>
                                        <p:cTn dur="1" fill="hold" id="58">
                                          <p:stCondLst>
                                            <p:cond delay="0"/>
                                          </p:stCondLst>
                                        </p:cTn>
                                        <p:tgtEl>
                                          <p:spTgt spid="159"/>
                                        </p:tgtEl>
                                        <p:attrNameLst>
                                          <p:attrName>style.visibility</p:attrName>
                                        </p:attrNameLst>
                                      </p:cBhvr>
                                      <p:to>
                                        <p:strVal val="visible"/>
                                      </p:to>
                                    </p:set>
                                    <p:animEffect filter="fade" transition="in">
                                      <p:cBhvr>
                                        <p:cTn dur="500" id="59"/>
                                        <p:tgtEl>
                                          <p:spTgt spid="159"/>
                                        </p:tgtEl>
                                      </p:cBhvr>
                                    </p:animEffect>
                                  </p:childTnLst>
                                </p:cTn>
                              </p:par>
                              <p:par>
                                <p:cTn fill="hold" id="60" nodeType="withEffect" presetClass="entr" presetID="10" presetSubtype="0">
                                  <p:stCondLst>
                                    <p:cond delay="1000"/>
                                  </p:stCondLst>
                                  <p:childTnLst>
                                    <p:set>
                                      <p:cBhvr>
                                        <p:cTn dur="1" fill="hold" id="61">
                                          <p:stCondLst>
                                            <p:cond delay="0"/>
                                          </p:stCondLst>
                                        </p:cTn>
                                        <p:tgtEl>
                                          <p:spTgt spid="161"/>
                                        </p:tgtEl>
                                        <p:attrNameLst>
                                          <p:attrName>style.visibility</p:attrName>
                                        </p:attrNameLst>
                                      </p:cBhvr>
                                      <p:to>
                                        <p:strVal val="visible"/>
                                      </p:to>
                                    </p:set>
                                    <p:animEffect filter="fade" transition="in">
                                      <p:cBhvr>
                                        <p:cTn dur="500" id="62"/>
                                        <p:tgtEl>
                                          <p:spTgt spid="161"/>
                                        </p:tgtEl>
                                      </p:cBhvr>
                                    </p:animEffect>
                                  </p:childTnLst>
                                </p:cTn>
                              </p:par>
                            </p:childTnLst>
                          </p:cTn>
                        </p:par>
                        <p:par>
                          <p:cTn fill="hold" id="63" nodeType="afterGroup">
                            <p:stCondLst>
                              <p:cond delay="4500"/>
                            </p:stCondLst>
                            <p:childTnLst>
                              <p:par>
                                <p:cTn fill="hold" id="64" nodeType="afterEffect" presetClass="entr" presetID="2" presetSubtype="2">
                                  <p:stCondLst>
                                    <p:cond delay="0"/>
                                  </p:stCondLst>
                                  <p:childTnLst>
                                    <p:set>
                                      <p:cBhvr>
                                        <p:cTn dur="1" fill="hold" id="65">
                                          <p:stCondLst>
                                            <p:cond delay="0"/>
                                          </p:stCondLst>
                                        </p:cTn>
                                        <p:tgtEl>
                                          <p:spTgt spid="162"/>
                                        </p:tgtEl>
                                        <p:attrNameLst>
                                          <p:attrName>style.visibility</p:attrName>
                                        </p:attrNameLst>
                                      </p:cBhvr>
                                      <p:to>
                                        <p:strVal val="visible"/>
                                      </p:to>
                                    </p:set>
                                    <p:anim calcmode="lin" valueType="num">
                                      <p:cBhvr additive="base">
                                        <p:cTn dur="500" fill="hold" id="66"/>
                                        <p:tgtEl>
                                          <p:spTgt spid="162"/>
                                        </p:tgtEl>
                                        <p:attrNameLst>
                                          <p:attrName>ppt_x</p:attrName>
                                        </p:attrNameLst>
                                      </p:cBhvr>
                                      <p:tavLst>
                                        <p:tav tm="0">
                                          <p:val>
                                            <p:strVal val="1+#ppt_w/2"/>
                                          </p:val>
                                        </p:tav>
                                        <p:tav tm="100000">
                                          <p:val>
                                            <p:strVal val="#ppt_x"/>
                                          </p:val>
                                        </p:tav>
                                      </p:tavLst>
                                    </p:anim>
                                    <p:anim calcmode="lin" valueType="num">
                                      <p:cBhvr additive="base">
                                        <p:cTn dur="500" fill="hold" id="67"/>
                                        <p:tgtEl>
                                          <p:spTgt spid="162"/>
                                        </p:tgtEl>
                                        <p:attrNameLst>
                                          <p:attrName>ppt_y</p:attrName>
                                        </p:attrNameLst>
                                      </p:cBhvr>
                                      <p:tavLst>
                                        <p:tav tm="0">
                                          <p:val>
                                            <p:strVal val="#ppt_y"/>
                                          </p:val>
                                        </p:tav>
                                        <p:tav tm="100000">
                                          <p:val>
                                            <p:strVal val="#ppt_y"/>
                                          </p:val>
                                        </p:tav>
                                      </p:tavLst>
                                    </p:anim>
                                  </p:childTnLst>
                                </p:cTn>
                              </p:par>
                              <p:par>
                                <p:cTn fill="hold" id="68" nodeType="withEffect" presetClass="entr" presetID="2" presetSubtype="2">
                                  <p:stCondLst>
                                    <p:cond delay="0"/>
                                  </p:stCondLst>
                                  <p:childTnLst>
                                    <p:set>
                                      <p:cBhvr>
                                        <p:cTn dur="1" fill="hold" id="69">
                                          <p:stCondLst>
                                            <p:cond delay="0"/>
                                          </p:stCondLst>
                                        </p:cTn>
                                        <p:tgtEl>
                                          <p:spTgt spid="163"/>
                                        </p:tgtEl>
                                        <p:attrNameLst>
                                          <p:attrName>style.visibility</p:attrName>
                                        </p:attrNameLst>
                                      </p:cBhvr>
                                      <p:to>
                                        <p:strVal val="visible"/>
                                      </p:to>
                                    </p:set>
                                    <p:anim calcmode="lin" valueType="num">
                                      <p:cBhvr additive="base">
                                        <p:cTn dur="500" fill="hold" id="70"/>
                                        <p:tgtEl>
                                          <p:spTgt spid="163"/>
                                        </p:tgtEl>
                                        <p:attrNameLst>
                                          <p:attrName>ppt_x</p:attrName>
                                        </p:attrNameLst>
                                      </p:cBhvr>
                                      <p:tavLst>
                                        <p:tav tm="0">
                                          <p:val>
                                            <p:strVal val="1+#ppt_w/2"/>
                                          </p:val>
                                        </p:tav>
                                        <p:tav tm="100000">
                                          <p:val>
                                            <p:strVal val="#ppt_x"/>
                                          </p:val>
                                        </p:tav>
                                      </p:tavLst>
                                    </p:anim>
                                    <p:anim calcmode="lin" valueType="num">
                                      <p:cBhvr additive="base">
                                        <p:cTn dur="500" fill="hold" id="71"/>
                                        <p:tgtEl>
                                          <p:spTgt spid="163"/>
                                        </p:tgtEl>
                                        <p:attrNameLst>
                                          <p:attrName>ppt_y</p:attrName>
                                        </p:attrNameLst>
                                      </p:cBhvr>
                                      <p:tavLst>
                                        <p:tav tm="0">
                                          <p:val>
                                            <p:strVal val="#ppt_y"/>
                                          </p:val>
                                        </p:tav>
                                        <p:tav tm="100000">
                                          <p:val>
                                            <p:strVal val="#ppt_y"/>
                                          </p:val>
                                        </p:tav>
                                      </p:tavLst>
                                    </p:anim>
                                  </p:childTnLst>
                                </p:cTn>
                              </p:par>
                              <p:par>
                                <p:cTn fill="hold" id="72" nodeType="withEffect" presetClass="entr" presetID="2" presetSubtype="2">
                                  <p:stCondLst>
                                    <p:cond delay="0"/>
                                  </p:stCondLst>
                                  <p:childTnLst>
                                    <p:set>
                                      <p:cBhvr>
                                        <p:cTn dur="1" fill="hold" id="73">
                                          <p:stCondLst>
                                            <p:cond delay="0"/>
                                          </p:stCondLst>
                                        </p:cTn>
                                        <p:tgtEl>
                                          <p:spTgt spid="164"/>
                                        </p:tgtEl>
                                        <p:attrNameLst>
                                          <p:attrName>style.visibility</p:attrName>
                                        </p:attrNameLst>
                                      </p:cBhvr>
                                      <p:to>
                                        <p:strVal val="visible"/>
                                      </p:to>
                                    </p:set>
                                    <p:anim calcmode="lin" valueType="num">
                                      <p:cBhvr additive="base">
                                        <p:cTn dur="500" fill="hold" id="74"/>
                                        <p:tgtEl>
                                          <p:spTgt spid="164"/>
                                        </p:tgtEl>
                                        <p:attrNameLst>
                                          <p:attrName>ppt_x</p:attrName>
                                        </p:attrNameLst>
                                      </p:cBhvr>
                                      <p:tavLst>
                                        <p:tav tm="0">
                                          <p:val>
                                            <p:strVal val="1+#ppt_w/2"/>
                                          </p:val>
                                        </p:tav>
                                        <p:tav tm="100000">
                                          <p:val>
                                            <p:strVal val="#ppt_x"/>
                                          </p:val>
                                        </p:tav>
                                      </p:tavLst>
                                    </p:anim>
                                    <p:anim calcmode="lin" valueType="num">
                                      <p:cBhvr additive="base">
                                        <p:cTn dur="500" fill="hold" id="75"/>
                                        <p:tgtEl>
                                          <p:spTgt spid="164"/>
                                        </p:tgtEl>
                                        <p:attrNameLst>
                                          <p:attrName>ppt_y</p:attrName>
                                        </p:attrNameLst>
                                      </p:cBhvr>
                                      <p:tavLst>
                                        <p:tav tm="0">
                                          <p:val>
                                            <p:strVal val="#ppt_y"/>
                                          </p:val>
                                        </p:tav>
                                        <p:tav tm="100000">
                                          <p:val>
                                            <p:strVal val="#ppt_y"/>
                                          </p:val>
                                        </p:tav>
                                      </p:tavLst>
                                    </p:anim>
                                  </p:childTnLst>
                                </p:cTn>
                              </p:par>
                              <p:par>
                                <p:cTn fill="hold" id="76" nodeType="withEffect" presetClass="entr" presetID="2" presetSubtype="2">
                                  <p:stCondLst>
                                    <p:cond delay="0"/>
                                  </p:stCondLst>
                                  <p:childTnLst>
                                    <p:set>
                                      <p:cBhvr>
                                        <p:cTn dur="1" fill="hold" id="77">
                                          <p:stCondLst>
                                            <p:cond delay="0"/>
                                          </p:stCondLst>
                                        </p:cTn>
                                        <p:tgtEl>
                                          <p:spTgt spid="165"/>
                                        </p:tgtEl>
                                        <p:attrNameLst>
                                          <p:attrName>style.visibility</p:attrName>
                                        </p:attrNameLst>
                                      </p:cBhvr>
                                      <p:to>
                                        <p:strVal val="visible"/>
                                      </p:to>
                                    </p:set>
                                    <p:anim calcmode="lin" valueType="num">
                                      <p:cBhvr additive="base">
                                        <p:cTn dur="500" fill="hold" id="78"/>
                                        <p:tgtEl>
                                          <p:spTgt spid="165"/>
                                        </p:tgtEl>
                                        <p:attrNameLst>
                                          <p:attrName>ppt_x</p:attrName>
                                        </p:attrNameLst>
                                      </p:cBhvr>
                                      <p:tavLst>
                                        <p:tav tm="0">
                                          <p:val>
                                            <p:strVal val="1+#ppt_w/2"/>
                                          </p:val>
                                        </p:tav>
                                        <p:tav tm="100000">
                                          <p:val>
                                            <p:strVal val="#ppt_x"/>
                                          </p:val>
                                        </p:tav>
                                      </p:tavLst>
                                    </p:anim>
                                    <p:anim calcmode="lin" valueType="num">
                                      <p:cBhvr additive="base">
                                        <p:cTn dur="500" fill="hold" id="79"/>
                                        <p:tgtEl>
                                          <p:spTgt spid="165"/>
                                        </p:tgtEl>
                                        <p:attrNameLst>
                                          <p:attrName>ppt_y</p:attrName>
                                        </p:attrNameLst>
                                      </p:cBhvr>
                                      <p:tavLst>
                                        <p:tav tm="0">
                                          <p:val>
                                            <p:strVal val="#ppt_y"/>
                                          </p:val>
                                        </p:tav>
                                        <p:tav tm="100000">
                                          <p:val>
                                            <p:strVal val="#ppt_y"/>
                                          </p:val>
                                        </p:tav>
                                      </p:tavLst>
                                    </p:anim>
                                  </p:childTnLst>
                                </p:cTn>
                              </p:par>
                              <p:par>
                                <p:cTn fill="hold" id="80" nodeType="withEffect" presetClass="entr" presetID="2" presetSubtype="2">
                                  <p:stCondLst>
                                    <p:cond delay="0"/>
                                  </p:stCondLst>
                                  <p:childTnLst>
                                    <p:set>
                                      <p:cBhvr>
                                        <p:cTn dur="1" fill="hold" id="81">
                                          <p:stCondLst>
                                            <p:cond delay="0"/>
                                          </p:stCondLst>
                                        </p:cTn>
                                        <p:tgtEl>
                                          <p:spTgt spid="166"/>
                                        </p:tgtEl>
                                        <p:attrNameLst>
                                          <p:attrName>style.visibility</p:attrName>
                                        </p:attrNameLst>
                                      </p:cBhvr>
                                      <p:to>
                                        <p:strVal val="visible"/>
                                      </p:to>
                                    </p:set>
                                    <p:anim calcmode="lin" valueType="num">
                                      <p:cBhvr additive="base">
                                        <p:cTn dur="500" fill="hold" id="82"/>
                                        <p:tgtEl>
                                          <p:spTgt spid="166"/>
                                        </p:tgtEl>
                                        <p:attrNameLst>
                                          <p:attrName>ppt_x</p:attrName>
                                        </p:attrNameLst>
                                      </p:cBhvr>
                                      <p:tavLst>
                                        <p:tav tm="0">
                                          <p:val>
                                            <p:strVal val="1+#ppt_w/2"/>
                                          </p:val>
                                        </p:tav>
                                        <p:tav tm="100000">
                                          <p:val>
                                            <p:strVal val="#ppt_x"/>
                                          </p:val>
                                        </p:tav>
                                      </p:tavLst>
                                    </p:anim>
                                    <p:anim calcmode="lin" valueType="num">
                                      <p:cBhvr additive="base">
                                        <p:cTn dur="500" fill="hold" id="83"/>
                                        <p:tgtEl>
                                          <p:spTgt spid="166"/>
                                        </p:tgtEl>
                                        <p:attrNameLst>
                                          <p:attrName>ppt_y</p:attrName>
                                        </p:attrNameLst>
                                      </p:cBhvr>
                                      <p:tavLst>
                                        <p:tav tm="0">
                                          <p:val>
                                            <p:strVal val="#ppt_y"/>
                                          </p:val>
                                        </p:tav>
                                        <p:tav tm="100000">
                                          <p:val>
                                            <p:strVal val="#ppt_y"/>
                                          </p:val>
                                        </p:tav>
                                      </p:tavLst>
                                    </p:anim>
                                  </p:childTnLst>
                                </p:cTn>
                              </p:par>
                            </p:childTnLst>
                          </p:cTn>
                        </p:par>
                        <p:par>
                          <p:cTn fill="hold" id="84" nodeType="afterGroup">
                            <p:stCondLst>
                              <p:cond delay="5000"/>
                            </p:stCondLst>
                            <p:childTnLst>
                              <p:par>
                                <p:cTn fill="hold" id="85" nodeType="afterEffect" presetClass="entr" presetID="22" presetSubtype="8">
                                  <p:stCondLst>
                                    <p:cond delay="0"/>
                                  </p:stCondLst>
                                  <p:childTnLst>
                                    <p:set>
                                      <p:cBhvr>
                                        <p:cTn dur="1" fill="hold" id="86">
                                          <p:stCondLst>
                                            <p:cond delay="0"/>
                                          </p:stCondLst>
                                        </p:cTn>
                                        <p:tgtEl>
                                          <p:spTgt spid="130"/>
                                        </p:tgtEl>
                                        <p:attrNameLst>
                                          <p:attrName>style.visibility</p:attrName>
                                        </p:attrNameLst>
                                      </p:cBhvr>
                                      <p:to>
                                        <p:strVal val="visible"/>
                                      </p:to>
                                    </p:set>
                                    <p:animEffect filter="wipe(left)" transition="in">
                                      <p:cBhvr>
                                        <p:cTn dur="500" id="87"/>
                                        <p:tgtEl>
                                          <p:spTgt spid="130"/>
                                        </p:tgtEl>
                                      </p:cBhvr>
                                    </p:animEffect>
                                  </p:childTnLst>
                                </p:cTn>
                              </p:par>
                              <p:par>
                                <p:cTn fill="hold" id="88" nodeType="withEffect" presetClass="entr" presetID="22" presetSubtype="8">
                                  <p:stCondLst>
                                    <p:cond delay="0"/>
                                  </p:stCondLst>
                                  <p:childTnLst>
                                    <p:set>
                                      <p:cBhvr>
                                        <p:cTn dur="1" fill="hold" id="89">
                                          <p:stCondLst>
                                            <p:cond delay="0"/>
                                          </p:stCondLst>
                                        </p:cTn>
                                        <p:tgtEl>
                                          <p:spTgt spid="131"/>
                                        </p:tgtEl>
                                        <p:attrNameLst>
                                          <p:attrName>style.visibility</p:attrName>
                                        </p:attrNameLst>
                                      </p:cBhvr>
                                      <p:to>
                                        <p:strVal val="visible"/>
                                      </p:to>
                                    </p:set>
                                    <p:animEffect filter="wipe(left)" transition="in">
                                      <p:cBhvr>
                                        <p:cTn dur="500" id="90"/>
                                        <p:tgtEl>
                                          <p:spTgt spid="131"/>
                                        </p:tgtEl>
                                      </p:cBhvr>
                                    </p:animEffect>
                                  </p:childTnLst>
                                </p:cTn>
                              </p:par>
                              <p:par>
                                <p:cTn fill="hold" id="91" nodeType="withEffect" presetClass="entr" presetID="22" presetSubtype="8">
                                  <p:stCondLst>
                                    <p:cond delay="0"/>
                                  </p:stCondLst>
                                  <p:childTnLst>
                                    <p:set>
                                      <p:cBhvr>
                                        <p:cTn dur="1" fill="hold" id="92">
                                          <p:stCondLst>
                                            <p:cond delay="0"/>
                                          </p:stCondLst>
                                        </p:cTn>
                                        <p:tgtEl>
                                          <p:spTgt spid="132"/>
                                        </p:tgtEl>
                                        <p:attrNameLst>
                                          <p:attrName>style.visibility</p:attrName>
                                        </p:attrNameLst>
                                      </p:cBhvr>
                                      <p:to>
                                        <p:strVal val="visible"/>
                                      </p:to>
                                    </p:set>
                                    <p:animEffect filter="wipe(left)" transition="in">
                                      <p:cBhvr>
                                        <p:cTn dur="500" id="93"/>
                                        <p:tgtEl>
                                          <p:spTgt spid="132"/>
                                        </p:tgtEl>
                                      </p:cBhvr>
                                    </p:animEffect>
                                  </p:childTnLst>
                                </p:cTn>
                              </p:par>
                              <p:par>
                                <p:cTn fill="hold" id="94" nodeType="withEffect" presetClass="entr" presetID="22" presetSubtype="8">
                                  <p:stCondLst>
                                    <p:cond delay="0"/>
                                  </p:stCondLst>
                                  <p:childTnLst>
                                    <p:set>
                                      <p:cBhvr>
                                        <p:cTn dur="1" fill="hold" id="95">
                                          <p:stCondLst>
                                            <p:cond delay="0"/>
                                          </p:stCondLst>
                                        </p:cTn>
                                        <p:tgtEl>
                                          <p:spTgt spid="133"/>
                                        </p:tgtEl>
                                        <p:attrNameLst>
                                          <p:attrName>style.visibility</p:attrName>
                                        </p:attrNameLst>
                                      </p:cBhvr>
                                      <p:to>
                                        <p:strVal val="visible"/>
                                      </p:to>
                                    </p:set>
                                    <p:animEffect filter="wipe(left)" transition="in">
                                      <p:cBhvr>
                                        <p:cTn dur="500" id="96"/>
                                        <p:tgtEl>
                                          <p:spTgt spid="133"/>
                                        </p:tgtEl>
                                      </p:cBhvr>
                                    </p:animEffect>
                                  </p:childTnLst>
                                </p:cTn>
                              </p:par>
                            </p:childTnLst>
                          </p:cTn>
                        </p:par>
                        <p:par>
                          <p:cTn fill="hold" id="97" nodeType="afterGroup">
                            <p:stCondLst>
                              <p:cond delay="5500"/>
                            </p:stCondLst>
                            <p:childTnLst>
                              <p:par>
                                <p:cTn fill="hold" id="98" nodeType="afterEffect" presetClass="entr" presetID="22" presetSubtype="1">
                                  <p:stCondLst>
                                    <p:cond delay="0"/>
                                  </p:stCondLst>
                                  <p:childTnLst>
                                    <p:set>
                                      <p:cBhvr>
                                        <p:cTn dur="1" fill="hold" id="99">
                                          <p:stCondLst>
                                            <p:cond delay="0"/>
                                          </p:stCondLst>
                                        </p:cTn>
                                        <p:tgtEl>
                                          <p:spTgt spid="139"/>
                                        </p:tgtEl>
                                        <p:attrNameLst>
                                          <p:attrName>style.visibility</p:attrName>
                                        </p:attrNameLst>
                                      </p:cBhvr>
                                      <p:to>
                                        <p:strVal val="visible"/>
                                      </p:to>
                                    </p:set>
                                    <p:animEffect filter="wipe(up)" transition="in">
                                      <p:cBhvr>
                                        <p:cTn dur="500" id="100"/>
                                        <p:tgtEl>
                                          <p:spTgt spid="139"/>
                                        </p:tgtEl>
                                      </p:cBhvr>
                                    </p:animEffect>
                                  </p:childTnLst>
                                </p:cTn>
                              </p:par>
                              <p:par>
                                <p:cTn fill="hold" id="101" nodeType="withEffect" presetClass="entr" presetID="22" presetSubtype="1">
                                  <p:stCondLst>
                                    <p:cond delay="0"/>
                                  </p:stCondLst>
                                  <p:childTnLst>
                                    <p:set>
                                      <p:cBhvr>
                                        <p:cTn dur="1" fill="hold" id="102">
                                          <p:stCondLst>
                                            <p:cond delay="0"/>
                                          </p:stCondLst>
                                        </p:cTn>
                                        <p:tgtEl>
                                          <p:spTgt spid="142"/>
                                        </p:tgtEl>
                                        <p:attrNameLst>
                                          <p:attrName>style.visibility</p:attrName>
                                        </p:attrNameLst>
                                      </p:cBhvr>
                                      <p:to>
                                        <p:strVal val="visible"/>
                                      </p:to>
                                    </p:set>
                                    <p:animEffect filter="wipe(up)" transition="in">
                                      <p:cBhvr>
                                        <p:cTn dur="500" id="103"/>
                                        <p:tgtEl>
                                          <p:spTgt spid="142"/>
                                        </p:tgtEl>
                                      </p:cBhvr>
                                    </p:animEffect>
                                  </p:childTnLst>
                                </p:cTn>
                              </p:par>
                              <p:par>
                                <p:cTn fill="hold" id="104" nodeType="withEffect" presetClass="entr" presetID="22" presetSubtype="1">
                                  <p:stCondLst>
                                    <p:cond delay="0"/>
                                  </p:stCondLst>
                                  <p:childTnLst>
                                    <p:set>
                                      <p:cBhvr>
                                        <p:cTn dur="1" fill="hold" id="105">
                                          <p:stCondLst>
                                            <p:cond delay="0"/>
                                          </p:stCondLst>
                                        </p:cTn>
                                        <p:tgtEl>
                                          <p:spTgt spid="145"/>
                                        </p:tgtEl>
                                        <p:attrNameLst>
                                          <p:attrName>style.visibility</p:attrName>
                                        </p:attrNameLst>
                                      </p:cBhvr>
                                      <p:to>
                                        <p:strVal val="visible"/>
                                      </p:to>
                                    </p:set>
                                    <p:animEffect filter="wipe(up)" transition="in">
                                      <p:cBhvr>
                                        <p:cTn dur="500" id="106"/>
                                        <p:tgtEl>
                                          <p:spTgt spid="145"/>
                                        </p:tgtEl>
                                      </p:cBhvr>
                                    </p:animEffect>
                                  </p:childTnLst>
                                </p:cTn>
                              </p:par>
                              <p:par>
                                <p:cTn fill="hold" id="107" nodeType="withEffect" presetClass="entr" presetID="22" presetSubtype="1">
                                  <p:stCondLst>
                                    <p:cond delay="0"/>
                                  </p:stCondLst>
                                  <p:childTnLst>
                                    <p:set>
                                      <p:cBhvr>
                                        <p:cTn dur="1" fill="hold" id="108">
                                          <p:stCondLst>
                                            <p:cond delay="0"/>
                                          </p:stCondLst>
                                        </p:cTn>
                                        <p:tgtEl>
                                          <p:spTgt spid="148"/>
                                        </p:tgtEl>
                                        <p:attrNameLst>
                                          <p:attrName>style.visibility</p:attrName>
                                        </p:attrNameLst>
                                      </p:cBhvr>
                                      <p:to>
                                        <p:strVal val="visible"/>
                                      </p:to>
                                    </p:set>
                                    <p:animEffect filter="wipe(up)" transition="in">
                                      <p:cBhvr>
                                        <p:cTn dur="500" id="109"/>
                                        <p:tgtEl>
                                          <p:spTgt spid="148"/>
                                        </p:tgtEl>
                                      </p:cBhvr>
                                    </p:animEffect>
                                  </p:childTnLst>
                                </p:cTn>
                              </p:par>
                              <p:par>
                                <p:cTn fill="hold" id="110" nodeType="withEffect" presetClass="entr" presetID="22" presetSubtype="1">
                                  <p:stCondLst>
                                    <p:cond delay="0"/>
                                  </p:stCondLst>
                                  <p:childTnLst>
                                    <p:set>
                                      <p:cBhvr>
                                        <p:cTn dur="1" fill="hold" id="111">
                                          <p:stCondLst>
                                            <p:cond delay="0"/>
                                          </p:stCondLst>
                                        </p:cTn>
                                        <p:tgtEl>
                                          <p:spTgt spid="151"/>
                                        </p:tgtEl>
                                        <p:attrNameLst>
                                          <p:attrName>style.visibility</p:attrName>
                                        </p:attrNameLst>
                                      </p:cBhvr>
                                      <p:to>
                                        <p:strVal val="visible"/>
                                      </p:to>
                                    </p:set>
                                    <p:animEffect filter="wipe(up)" transition="in">
                                      <p:cBhvr>
                                        <p:cTn dur="500" id="112"/>
                                        <p:tgtEl>
                                          <p:spTgt spid="151"/>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118"/>
      <p:bldP grpId="0" spid="154"/>
      <p:bldP grpId="0" spid="155"/>
    </p:bldLst>
  </p:timing>
</p:sld>
</file>

<file path=ppt/slides/slide12.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grpSp>
        <p:nvGrpSpPr>
          <p:cNvPr id="2" name="组合 1">
            <a:extLst>
              <a:ext uri="{FF2B5EF4-FFF2-40B4-BE49-F238E27FC236}">
                <a16:creationId xmlns:a16="http://schemas.microsoft.com/office/drawing/2014/main" id="{B2A0F406-A0AE-4F52-A7C2-A4586811BB7F}"/>
              </a:ext>
            </a:extLst>
          </p:cNvPr>
          <p:cNvGrpSpPr/>
          <p:nvPr/>
        </p:nvGrpSpPr>
        <p:grpSpPr>
          <a:xfrm>
            <a:off x="535507" y="1527656"/>
            <a:ext cx="2309159" cy="2323502"/>
            <a:chOff x="1602049" y="1338987"/>
            <a:chExt cx="1743762" cy="1754593"/>
          </a:xfrm>
          <a:solidFill>
            <a:schemeClr val="bg1">
              <a:lumMod val="65000"/>
            </a:schemeClr>
          </a:solidFill>
        </p:grpSpPr>
        <p:sp>
          <p:nvSpPr>
            <p:cNvPr id="45" name="íšḷïḓê">
              <a:extLst>
                <a:ext uri="{FF2B5EF4-FFF2-40B4-BE49-F238E27FC236}">
                  <a16:creationId xmlns:a16="http://schemas.microsoft.com/office/drawing/2014/main" id="{B490C479-B6FD-4E1E-BFC0-F55F77045AC9}"/>
                </a:ext>
              </a:extLst>
            </p:cNvPr>
            <p:cNvSpPr/>
            <p:nvPr/>
          </p:nvSpPr>
          <p:spPr bwMode="auto">
            <a:xfrm>
              <a:off x="2441439" y="1338987"/>
              <a:ext cx="32492" cy="232864"/>
            </a:xfrm>
            <a:custGeom>
              <a:gdLst>
                <a:gd fmla="*/ 4 w 4" name="T0"/>
                <a:gd fmla="*/ 25 h 27" name="T1"/>
                <a:gd fmla="*/ 4 w 4" name="T2"/>
                <a:gd fmla="*/ 2 h 27" name="T3"/>
                <a:gd fmla="*/ 2 w 4" name="T4"/>
                <a:gd fmla="*/ 0 h 27" name="T5"/>
                <a:gd fmla="*/ 0 w 4" name="T6"/>
                <a:gd fmla="*/ 2 h 27" name="T7"/>
                <a:gd fmla="*/ 0 w 4" name="T8"/>
                <a:gd fmla="*/ 25 h 27" name="T9"/>
                <a:gd fmla="*/ 2 w 4" name="T10"/>
                <a:gd fmla="*/ 27 h 27" name="T11"/>
                <a:gd fmla="*/ 4 w 4" name="T12"/>
                <a:gd fmla="*/ 25 h 27" name="T13"/>
              </a:gdLst>
              <a:cxnLst>
                <a:cxn ang="0">
                  <a:pos x="T0" y="T1"/>
                </a:cxn>
                <a:cxn ang="0">
                  <a:pos x="T2" y="T3"/>
                </a:cxn>
                <a:cxn ang="0">
                  <a:pos x="T4" y="T5"/>
                </a:cxn>
                <a:cxn ang="0">
                  <a:pos x="T6" y="T7"/>
                </a:cxn>
                <a:cxn ang="0">
                  <a:pos x="T8" y="T9"/>
                </a:cxn>
                <a:cxn ang="0">
                  <a:pos x="T10" y="T11"/>
                </a:cxn>
                <a:cxn ang="0">
                  <a:pos x="T12" y="T13"/>
                </a:cxn>
              </a:cxnLst>
              <a:rect b="b" l="0" r="r" t="0"/>
              <a:pathLst>
                <a:path h="27" w="4">
                  <a:moveTo>
                    <a:pt x="4" y="25"/>
                  </a:moveTo>
                  <a:cubicBezTo>
                    <a:pt x="4" y="2"/>
                    <a:pt x="4" y="2"/>
                    <a:pt x="4" y="2"/>
                  </a:cubicBezTo>
                  <a:cubicBezTo>
                    <a:pt x="4" y="1"/>
                    <a:pt x="3" y="0"/>
                    <a:pt x="2" y="0"/>
                  </a:cubicBezTo>
                  <a:cubicBezTo>
                    <a:pt x="1" y="0"/>
                    <a:pt x="0" y="1"/>
                    <a:pt x="0" y="2"/>
                  </a:cubicBezTo>
                  <a:cubicBezTo>
                    <a:pt x="0" y="25"/>
                    <a:pt x="0" y="25"/>
                    <a:pt x="0" y="25"/>
                  </a:cubicBezTo>
                  <a:cubicBezTo>
                    <a:pt x="0" y="26"/>
                    <a:pt x="1" y="27"/>
                    <a:pt x="2" y="27"/>
                  </a:cubicBezTo>
                  <a:cubicBezTo>
                    <a:pt x="3" y="27"/>
                    <a:pt x="4" y="26"/>
                    <a:pt x="4" y="25"/>
                  </a:cubicBezTo>
                </a:path>
              </a:pathLst>
            </a:custGeom>
            <a:grpFill/>
            <a:ln>
              <a:noFill/>
            </a:ln>
            <a:extLst>
              <a:ext uri="{91240B29-F687-4F45-9708-019B960494DF}">
                <a14:hiddenLine w="9525">
                  <a:solidFill>
                    <a:srgbClr val="000000"/>
                  </a:solidFill>
                  <a:round/>
                  <a:headEnd/>
                  <a:tailEnd/>
                </a14:hiddenLine>
              </a:ext>
            </a:extLst>
          </p:spPr>
          <p:txBody>
            <a:bodyPr anchor="ctr"/>
            <a:lstStyle/>
            <a:p>
              <a:pPr algn="ctr"/>
              <a:endParaRPr/>
            </a:p>
          </p:txBody>
        </p:sp>
        <p:sp>
          <p:nvSpPr>
            <p:cNvPr id="46" name="íś1iďè">
              <a:extLst>
                <a:ext uri="{FF2B5EF4-FFF2-40B4-BE49-F238E27FC236}">
                  <a16:creationId xmlns:a16="http://schemas.microsoft.com/office/drawing/2014/main" id="{D2E77032-5CFD-4195-9B04-10F54433DC0C}"/>
                </a:ext>
              </a:extLst>
            </p:cNvPr>
            <p:cNvSpPr/>
            <p:nvPr/>
          </p:nvSpPr>
          <p:spPr bwMode="auto">
            <a:xfrm>
              <a:off x="1807835" y="1631419"/>
              <a:ext cx="178710" cy="167879"/>
            </a:xfrm>
            <a:custGeom>
              <a:gdLst>
                <a:gd fmla="*/ 20 w 21" name="T0"/>
                <a:gd fmla="*/ 17 h 20" name="T1"/>
                <a:gd fmla="*/ 4 w 21" name="T2"/>
                <a:gd fmla="*/ 1 h 20" name="T3"/>
                <a:gd fmla="*/ 1 w 21" name="T4"/>
                <a:gd fmla="*/ 1 h 20" name="T5"/>
                <a:gd fmla="*/ 1 w 21" name="T6"/>
                <a:gd fmla="*/ 4 h 20" name="T7"/>
                <a:gd fmla="*/ 17 w 21" name="T8"/>
                <a:gd fmla="*/ 20 h 20" name="T9"/>
                <a:gd fmla="*/ 20 w 21" name="T10"/>
                <a:gd fmla="*/ 20 h 20" name="T11"/>
                <a:gd fmla="*/ 20 w 21" name="T12"/>
                <a:gd fmla="*/ 17 h 20" name="T13"/>
              </a:gdLst>
              <a:cxnLst>
                <a:cxn ang="0">
                  <a:pos x="T0" y="T1"/>
                </a:cxn>
                <a:cxn ang="0">
                  <a:pos x="T2" y="T3"/>
                </a:cxn>
                <a:cxn ang="0">
                  <a:pos x="T4" y="T5"/>
                </a:cxn>
                <a:cxn ang="0">
                  <a:pos x="T6" y="T7"/>
                </a:cxn>
                <a:cxn ang="0">
                  <a:pos x="T8" y="T9"/>
                </a:cxn>
                <a:cxn ang="0">
                  <a:pos x="T10" y="T11"/>
                </a:cxn>
                <a:cxn ang="0">
                  <a:pos x="T12" y="T13"/>
                </a:cxn>
              </a:cxnLst>
              <a:rect b="b" l="0" r="r" t="0"/>
              <a:pathLst>
                <a:path h="20" w="21">
                  <a:moveTo>
                    <a:pt x="20" y="17"/>
                  </a:moveTo>
                  <a:cubicBezTo>
                    <a:pt x="4" y="1"/>
                    <a:pt x="4" y="1"/>
                    <a:pt x="4" y="1"/>
                  </a:cubicBezTo>
                  <a:cubicBezTo>
                    <a:pt x="3" y="0"/>
                    <a:pt x="2" y="0"/>
                    <a:pt x="1" y="1"/>
                  </a:cubicBezTo>
                  <a:cubicBezTo>
                    <a:pt x="0" y="2"/>
                    <a:pt x="0" y="3"/>
                    <a:pt x="1" y="4"/>
                  </a:cubicBezTo>
                  <a:cubicBezTo>
                    <a:pt x="17" y="20"/>
                    <a:pt x="17" y="20"/>
                    <a:pt x="17" y="20"/>
                  </a:cubicBezTo>
                  <a:cubicBezTo>
                    <a:pt x="18" y="20"/>
                    <a:pt x="19" y="20"/>
                    <a:pt x="20" y="20"/>
                  </a:cubicBezTo>
                  <a:cubicBezTo>
                    <a:pt x="21" y="19"/>
                    <a:pt x="21" y="18"/>
                    <a:pt x="20" y="17"/>
                  </a:cubicBezTo>
                </a:path>
              </a:pathLst>
            </a:custGeom>
            <a:grpFill/>
            <a:ln>
              <a:noFill/>
            </a:ln>
            <a:extLst>
              <a:ext uri="{91240B29-F687-4F45-9708-019B960494DF}">
                <a14:hiddenLine w="9525">
                  <a:solidFill>
                    <a:srgbClr val="000000"/>
                  </a:solidFill>
                  <a:round/>
                  <a:headEnd/>
                  <a:tailEnd/>
                </a14:hiddenLine>
              </a:ext>
            </a:extLst>
          </p:spPr>
          <p:txBody>
            <a:bodyPr anchor="ctr"/>
            <a:lstStyle/>
            <a:p>
              <a:pPr algn="ctr"/>
              <a:endParaRPr/>
            </a:p>
          </p:txBody>
        </p:sp>
        <p:sp>
          <p:nvSpPr>
            <p:cNvPr id="47" name="iślïḍê">
              <a:extLst>
                <a:ext uri="{FF2B5EF4-FFF2-40B4-BE49-F238E27FC236}">
                  <a16:creationId xmlns:a16="http://schemas.microsoft.com/office/drawing/2014/main" id="{1FED2600-7999-4FBA-A0DB-96B25BFFA068}"/>
                </a:ext>
              </a:extLst>
            </p:cNvPr>
            <p:cNvSpPr/>
            <p:nvPr/>
          </p:nvSpPr>
          <p:spPr bwMode="auto">
            <a:xfrm>
              <a:off x="1602049" y="2205453"/>
              <a:ext cx="232864" cy="32492"/>
            </a:xfrm>
            <a:custGeom>
              <a:gdLst>
                <a:gd fmla="*/ 25 w 27" name="T0"/>
                <a:gd fmla="*/ 0 h 4" name="T1"/>
                <a:gd fmla="*/ 2 w 27" name="T2"/>
                <a:gd fmla="*/ 0 h 4" name="T3"/>
                <a:gd fmla="*/ 0 w 27" name="T4"/>
                <a:gd fmla="*/ 2 h 4" name="T5"/>
                <a:gd fmla="*/ 2 w 27" name="T6"/>
                <a:gd fmla="*/ 4 h 4" name="T7"/>
                <a:gd fmla="*/ 25 w 27" name="T8"/>
                <a:gd fmla="*/ 4 h 4" name="T9"/>
                <a:gd fmla="*/ 27 w 27" name="T10"/>
                <a:gd fmla="*/ 2 h 4" name="T11"/>
                <a:gd fmla="*/ 25 w 27" name="T12"/>
                <a:gd fmla="*/ 0 h 4" name="T13"/>
              </a:gdLst>
              <a:cxnLst>
                <a:cxn ang="0">
                  <a:pos x="T0" y="T1"/>
                </a:cxn>
                <a:cxn ang="0">
                  <a:pos x="T2" y="T3"/>
                </a:cxn>
                <a:cxn ang="0">
                  <a:pos x="T4" y="T5"/>
                </a:cxn>
                <a:cxn ang="0">
                  <a:pos x="T6" y="T7"/>
                </a:cxn>
                <a:cxn ang="0">
                  <a:pos x="T8" y="T9"/>
                </a:cxn>
                <a:cxn ang="0">
                  <a:pos x="T10" y="T11"/>
                </a:cxn>
                <a:cxn ang="0">
                  <a:pos x="T12" y="T13"/>
                </a:cxn>
              </a:cxnLst>
              <a:rect b="b" l="0" r="r" t="0"/>
              <a:pathLst>
                <a:path h="4" w="27">
                  <a:moveTo>
                    <a:pt x="25" y="0"/>
                  </a:moveTo>
                  <a:cubicBezTo>
                    <a:pt x="2" y="0"/>
                    <a:pt x="2" y="0"/>
                    <a:pt x="2" y="0"/>
                  </a:cubicBezTo>
                  <a:cubicBezTo>
                    <a:pt x="1" y="0"/>
                    <a:pt x="0" y="1"/>
                    <a:pt x="0" y="2"/>
                  </a:cubicBezTo>
                  <a:cubicBezTo>
                    <a:pt x="0" y="3"/>
                    <a:pt x="1" y="4"/>
                    <a:pt x="2" y="4"/>
                  </a:cubicBezTo>
                  <a:cubicBezTo>
                    <a:pt x="25" y="4"/>
                    <a:pt x="25" y="4"/>
                    <a:pt x="25" y="4"/>
                  </a:cubicBezTo>
                  <a:cubicBezTo>
                    <a:pt x="26" y="4"/>
                    <a:pt x="27" y="3"/>
                    <a:pt x="27" y="2"/>
                  </a:cubicBezTo>
                  <a:cubicBezTo>
                    <a:pt x="27" y="1"/>
                    <a:pt x="26" y="0"/>
                    <a:pt x="25" y="0"/>
                  </a:cubicBezTo>
                </a:path>
              </a:pathLst>
            </a:custGeom>
            <a:grpFill/>
            <a:ln>
              <a:noFill/>
            </a:ln>
            <a:extLst>
              <a:ext uri="{91240B29-F687-4F45-9708-019B960494DF}">
                <a14:hiddenLine w="9525">
                  <a:solidFill>
                    <a:srgbClr val="000000"/>
                  </a:solidFill>
                  <a:round/>
                  <a:headEnd/>
                  <a:tailEnd/>
                </a14:hiddenLine>
              </a:ext>
            </a:extLst>
          </p:spPr>
          <p:txBody>
            <a:bodyPr anchor="ctr"/>
            <a:lstStyle/>
            <a:p>
              <a:pPr algn="ctr"/>
              <a:endParaRPr/>
            </a:p>
          </p:txBody>
        </p:sp>
        <p:sp>
          <p:nvSpPr>
            <p:cNvPr id="48" name="iš1íďé">
              <a:extLst>
                <a:ext uri="{FF2B5EF4-FFF2-40B4-BE49-F238E27FC236}">
                  <a16:creationId xmlns:a16="http://schemas.microsoft.com/office/drawing/2014/main" id="{6A6B3435-8486-4817-B012-97A0E9BB40F8}"/>
                </a:ext>
              </a:extLst>
            </p:cNvPr>
            <p:cNvSpPr/>
            <p:nvPr/>
          </p:nvSpPr>
          <p:spPr bwMode="auto">
            <a:xfrm>
              <a:off x="3118364" y="2194622"/>
              <a:ext cx="227447" cy="37910"/>
            </a:xfrm>
            <a:custGeom>
              <a:gdLst>
                <a:gd fmla="*/ 2 w 27" name="T0"/>
                <a:gd fmla="*/ 4 h 4" name="T1"/>
                <a:gd fmla="*/ 25 w 27" name="T2"/>
                <a:gd fmla="*/ 4 h 4" name="T3"/>
                <a:gd fmla="*/ 27 w 27" name="T4"/>
                <a:gd fmla="*/ 2 h 4" name="T5"/>
                <a:gd fmla="*/ 25 w 27" name="T6"/>
                <a:gd fmla="*/ 0 h 4" name="T7"/>
                <a:gd fmla="*/ 2 w 27" name="T8"/>
                <a:gd fmla="*/ 0 h 4" name="T9"/>
                <a:gd fmla="*/ 0 w 27" name="T10"/>
                <a:gd fmla="*/ 2 h 4" name="T11"/>
                <a:gd fmla="*/ 2 w 27" name="T12"/>
                <a:gd fmla="*/ 4 h 4" name="T13"/>
              </a:gdLst>
              <a:cxnLst>
                <a:cxn ang="0">
                  <a:pos x="T0" y="T1"/>
                </a:cxn>
                <a:cxn ang="0">
                  <a:pos x="T2" y="T3"/>
                </a:cxn>
                <a:cxn ang="0">
                  <a:pos x="T4" y="T5"/>
                </a:cxn>
                <a:cxn ang="0">
                  <a:pos x="T6" y="T7"/>
                </a:cxn>
                <a:cxn ang="0">
                  <a:pos x="T8" y="T9"/>
                </a:cxn>
                <a:cxn ang="0">
                  <a:pos x="T10" y="T11"/>
                </a:cxn>
                <a:cxn ang="0">
                  <a:pos x="T12" y="T13"/>
                </a:cxn>
              </a:cxnLst>
              <a:rect b="b" l="0" r="r" t="0"/>
              <a:pathLst>
                <a:path h="4" w="27">
                  <a:moveTo>
                    <a:pt x="2" y="4"/>
                  </a:moveTo>
                  <a:cubicBezTo>
                    <a:pt x="25" y="4"/>
                    <a:pt x="25" y="4"/>
                    <a:pt x="25" y="4"/>
                  </a:cubicBezTo>
                  <a:cubicBezTo>
                    <a:pt x="26" y="4"/>
                    <a:pt x="27" y="3"/>
                    <a:pt x="27" y="2"/>
                  </a:cubicBezTo>
                  <a:cubicBezTo>
                    <a:pt x="27" y="1"/>
                    <a:pt x="26" y="0"/>
                    <a:pt x="25" y="0"/>
                  </a:cubicBezTo>
                  <a:cubicBezTo>
                    <a:pt x="2" y="0"/>
                    <a:pt x="2" y="0"/>
                    <a:pt x="2" y="0"/>
                  </a:cubicBezTo>
                  <a:cubicBezTo>
                    <a:pt x="1" y="0"/>
                    <a:pt x="0" y="1"/>
                    <a:pt x="0" y="2"/>
                  </a:cubicBezTo>
                  <a:cubicBezTo>
                    <a:pt x="0" y="3"/>
                    <a:pt x="1" y="4"/>
                    <a:pt x="2" y="4"/>
                  </a:cubicBezTo>
                </a:path>
              </a:pathLst>
            </a:custGeom>
            <a:grpFill/>
            <a:ln>
              <a:noFill/>
            </a:ln>
            <a:extLst>
              <a:ext uri="{91240B29-F687-4F45-9708-019B960494DF}">
                <a14:hiddenLine w="9525">
                  <a:solidFill>
                    <a:srgbClr val="000000"/>
                  </a:solidFill>
                  <a:round/>
                  <a:headEnd/>
                  <a:tailEnd/>
                </a14:hiddenLine>
              </a:ext>
            </a:extLst>
          </p:spPr>
          <p:txBody>
            <a:bodyPr anchor="ctr"/>
            <a:lstStyle/>
            <a:p>
              <a:pPr algn="ctr"/>
              <a:endParaRPr/>
            </a:p>
          </p:txBody>
        </p:sp>
        <p:sp>
          <p:nvSpPr>
            <p:cNvPr id="49" name="iS1ïḑê">
              <a:extLst>
                <a:ext uri="{FF2B5EF4-FFF2-40B4-BE49-F238E27FC236}">
                  <a16:creationId xmlns:a16="http://schemas.microsoft.com/office/drawing/2014/main" id="{11E4733E-1488-4D81-9466-0A22BDB4A28B}"/>
                </a:ext>
              </a:extLst>
            </p:cNvPr>
            <p:cNvSpPr/>
            <p:nvPr/>
          </p:nvSpPr>
          <p:spPr bwMode="auto">
            <a:xfrm>
              <a:off x="2880086" y="1561021"/>
              <a:ext cx="178710" cy="167879"/>
            </a:xfrm>
            <a:custGeom>
              <a:gdLst>
                <a:gd fmla="*/ 4 w 21" name="T0"/>
                <a:gd fmla="*/ 19 h 20" name="T1"/>
                <a:gd fmla="*/ 20 w 21" name="T2"/>
                <a:gd fmla="*/ 3 h 20" name="T3"/>
                <a:gd fmla="*/ 20 w 21" name="T4"/>
                <a:gd fmla="*/ 1 h 20" name="T5"/>
                <a:gd fmla="*/ 17 w 21" name="T6"/>
                <a:gd fmla="*/ 1 h 20" name="T7"/>
                <a:gd fmla="*/ 1 w 21" name="T8"/>
                <a:gd fmla="*/ 17 h 20" name="T9"/>
                <a:gd fmla="*/ 1 w 21" name="T10"/>
                <a:gd fmla="*/ 19 h 20" name="T11"/>
                <a:gd fmla="*/ 4 w 21" name="T12"/>
                <a:gd fmla="*/ 19 h 20" name="T13"/>
              </a:gdLst>
              <a:cxnLst>
                <a:cxn ang="0">
                  <a:pos x="T0" y="T1"/>
                </a:cxn>
                <a:cxn ang="0">
                  <a:pos x="T2" y="T3"/>
                </a:cxn>
                <a:cxn ang="0">
                  <a:pos x="T4" y="T5"/>
                </a:cxn>
                <a:cxn ang="0">
                  <a:pos x="T6" y="T7"/>
                </a:cxn>
                <a:cxn ang="0">
                  <a:pos x="T8" y="T9"/>
                </a:cxn>
                <a:cxn ang="0">
                  <a:pos x="T10" y="T11"/>
                </a:cxn>
                <a:cxn ang="0">
                  <a:pos x="T12" y="T13"/>
                </a:cxn>
              </a:cxnLst>
              <a:rect b="b" l="0" r="r" t="0"/>
              <a:pathLst>
                <a:path h="20" w="21">
                  <a:moveTo>
                    <a:pt x="4" y="19"/>
                  </a:moveTo>
                  <a:cubicBezTo>
                    <a:pt x="20" y="3"/>
                    <a:pt x="20" y="3"/>
                    <a:pt x="20" y="3"/>
                  </a:cubicBezTo>
                  <a:cubicBezTo>
                    <a:pt x="21" y="3"/>
                    <a:pt x="21" y="1"/>
                    <a:pt x="20" y="1"/>
                  </a:cubicBezTo>
                  <a:cubicBezTo>
                    <a:pt x="19" y="0"/>
                    <a:pt x="18" y="0"/>
                    <a:pt x="17" y="1"/>
                  </a:cubicBezTo>
                  <a:cubicBezTo>
                    <a:pt x="1" y="17"/>
                    <a:pt x="1" y="17"/>
                    <a:pt x="1" y="17"/>
                  </a:cubicBezTo>
                  <a:cubicBezTo>
                    <a:pt x="0" y="17"/>
                    <a:pt x="0" y="19"/>
                    <a:pt x="1" y="19"/>
                  </a:cubicBezTo>
                  <a:cubicBezTo>
                    <a:pt x="2" y="20"/>
                    <a:pt x="3" y="20"/>
                    <a:pt x="4" y="19"/>
                  </a:cubicBezTo>
                </a:path>
              </a:pathLst>
            </a:custGeom>
            <a:grpFill/>
            <a:ln>
              <a:noFill/>
            </a:ln>
            <a:extLst>
              <a:ext uri="{91240B29-F687-4F45-9708-019B960494DF}">
                <a14:hiddenLine w="9525">
                  <a:solidFill>
                    <a:srgbClr val="000000"/>
                  </a:solidFill>
                  <a:round/>
                  <a:headEnd/>
                  <a:tailEnd/>
                </a14:hiddenLine>
              </a:ext>
            </a:extLst>
          </p:spPr>
          <p:txBody>
            <a:bodyPr anchor="ctr"/>
            <a:lstStyle/>
            <a:p>
              <a:pPr algn="ctr"/>
              <a:endParaRPr/>
            </a:p>
          </p:txBody>
        </p:sp>
        <p:sp>
          <p:nvSpPr>
            <p:cNvPr id="50" name="íşļîḍè">
              <a:extLst>
                <a:ext uri="{FF2B5EF4-FFF2-40B4-BE49-F238E27FC236}">
                  <a16:creationId xmlns:a16="http://schemas.microsoft.com/office/drawing/2014/main" id="{F92CD42F-E14E-45B4-815F-5866218A4ED5}"/>
                </a:ext>
              </a:extLst>
            </p:cNvPr>
            <p:cNvSpPr/>
            <p:nvPr/>
          </p:nvSpPr>
          <p:spPr bwMode="auto">
            <a:xfrm>
              <a:off x="2473932" y="2866133"/>
              <a:ext cx="37910" cy="227447"/>
            </a:xfrm>
            <a:custGeom>
              <a:gdLst>
                <a:gd fmla="*/ 0 w 4" name="T0"/>
                <a:gd fmla="*/ 2 h 27" name="T1"/>
                <a:gd fmla="*/ 0 w 4" name="T2"/>
                <a:gd fmla="*/ 25 h 27" name="T3"/>
                <a:gd fmla="*/ 2 w 4" name="T4"/>
                <a:gd fmla="*/ 27 h 27" name="T5"/>
                <a:gd fmla="*/ 4 w 4" name="T6"/>
                <a:gd fmla="*/ 25 h 27" name="T7"/>
                <a:gd fmla="*/ 4 w 4" name="T8"/>
                <a:gd fmla="*/ 2 h 27" name="T9"/>
                <a:gd fmla="*/ 2 w 4" name="T10"/>
                <a:gd fmla="*/ 0 h 27" name="T11"/>
                <a:gd fmla="*/ 0 w 4" name="T12"/>
                <a:gd fmla="*/ 2 h 27" name="T13"/>
              </a:gdLst>
              <a:cxnLst>
                <a:cxn ang="0">
                  <a:pos x="T0" y="T1"/>
                </a:cxn>
                <a:cxn ang="0">
                  <a:pos x="T2" y="T3"/>
                </a:cxn>
                <a:cxn ang="0">
                  <a:pos x="T4" y="T5"/>
                </a:cxn>
                <a:cxn ang="0">
                  <a:pos x="T6" y="T7"/>
                </a:cxn>
                <a:cxn ang="0">
                  <a:pos x="T8" y="T9"/>
                </a:cxn>
                <a:cxn ang="0">
                  <a:pos x="T10" y="T11"/>
                </a:cxn>
                <a:cxn ang="0">
                  <a:pos x="T12" y="T13"/>
                </a:cxn>
              </a:cxnLst>
              <a:rect b="b" l="0" r="r" t="0"/>
              <a:pathLst>
                <a:path h="27" w="4">
                  <a:moveTo>
                    <a:pt x="0" y="2"/>
                  </a:moveTo>
                  <a:cubicBezTo>
                    <a:pt x="0" y="25"/>
                    <a:pt x="0" y="25"/>
                    <a:pt x="0" y="25"/>
                  </a:cubicBezTo>
                  <a:cubicBezTo>
                    <a:pt x="0" y="26"/>
                    <a:pt x="1" y="27"/>
                    <a:pt x="2" y="27"/>
                  </a:cubicBezTo>
                  <a:cubicBezTo>
                    <a:pt x="3" y="27"/>
                    <a:pt x="4" y="26"/>
                    <a:pt x="4" y="25"/>
                  </a:cubicBezTo>
                  <a:cubicBezTo>
                    <a:pt x="4" y="2"/>
                    <a:pt x="4" y="2"/>
                    <a:pt x="4" y="2"/>
                  </a:cubicBezTo>
                  <a:cubicBezTo>
                    <a:pt x="4" y="1"/>
                    <a:pt x="3" y="0"/>
                    <a:pt x="2" y="0"/>
                  </a:cubicBezTo>
                  <a:cubicBezTo>
                    <a:pt x="1" y="0"/>
                    <a:pt x="0" y="1"/>
                    <a:pt x="0" y="2"/>
                  </a:cubicBezTo>
                </a:path>
              </a:pathLst>
            </a:custGeom>
            <a:grpFill/>
            <a:ln>
              <a:noFill/>
            </a:ln>
            <a:extLst>
              <a:ext uri="{91240B29-F687-4F45-9708-019B960494DF}">
                <a14:hiddenLine w="9525">
                  <a:solidFill>
                    <a:srgbClr val="000000"/>
                  </a:solidFill>
                  <a:round/>
                  <a:headEnd/>
                  <a:tailEnd/>
                </a14:hiddenLine>
              </a:ext>
            </a:extLst>
          </p:spPr>
          <p:txBody>
            <a:bodyPr anchor="ctr"/>
            <a:lstStyle/>
            <a:p>
              <a:pPr algn="ctr"/>
              <a:endParaRPr/>
            </a:p>
          </p:txBody>
        </p:sp>
        <p:sp>
          <p:nvSpPr>
            <p:cNvPr id="51" name="îṥľîḓê">
              <a:extLst>
                <a:ext uri="{FF2B5EF4-FFF2-40B4-BE49-F238E27FC236}">
                  <a16:creationId xmlns:a16="http://schemas.microsoft.com/office/drawing/2014/main" id="{B34DAC97-AA09-4C22-9D63-F6352433BBB5}"/>
                </a:ext>
              </a:extLst>
            </p:cNvPr>
            <p:cNvSpPr/>
            <p:nvPr/>
          </p:nvSpPr>
          <p:spPr bwMode="auto">
            <a:xfrm>
              <a:off x="2966732" y="2627855"/>
              <a:ext cx="178710" cy="178710"/>
            </a:xfrm>
            <a:custGeom>
              <a:gdLst>
                <a:gd fmla="*/ 1 w 21" name="T0"/>
                <a:gd fmla="*/ 4 h 21" name="T1"/>
                <a:gd fmla="*/ 17 w 21" name="T2"/>
                <a:gd fmla="*/ 20 h 21" name="T3"/>
                <a:gd fmla="*/ 20 w 21" name="T4"/>
                <a:gd fmla="*/ 20 h 21" name="T5"/>
                <a:gd fmla="*/ 20 w 21" name="T6"/>
                <a:gd fmla="*/ 17 h 21" name="T7"/>
                <a:gd fmla="*/ 4 w 21" name="T8"/>
                <a:gd fmla="*/ 1 h 21" name="T9"/>
                <a:gd fmla="*/ 1 w 21" name="T10"/>
                <a:gd fmla="*/ 1 h 21" name="T11"/>
                <a:gd fmla="*/ 1 w 21" name="T12"/>
                <a:gd fmla="*/ 4 h 21" name="T13"/>
              </a:gdLst>
              <a:cxnLst>
                <a:cxn ang="0">
                  <a:pos x="T0" y="T1"/>
                </a:cxn>
                <a:cxn ang="0">
                  <a:pos x="T2" y="T3"/>
                </a:cxn>
                <a:cxn ang="0">
                  <a:pos x="T4" y="T5"/>
                </a:cxn>
                <a:cxn ang="0">
                  <a:pos x="T6" y="T7"/>
                </a:cxn>
                <a:cxn ang="0">
                  <a:pos x="T8" y="T9"/>
                </a:cxn>
                <a:cxn ang="0">
                  <a:pos x="T10" y="T11"/>
                </a:cxn>
                <a:cxn ang="0">
                  <a:pos x="T12" y="T13"/>
                </a:cxn>
              </a:cxnLst>
              <a:rect b="b" l="0" r="r" t="0"/>
              <a:pathLst>
                <a:path h="21" w="21">
                  <a:moveTo>
                    <a:pt x="1" y="4"/>
                  </a:moveTo>
                  <a:cubicBezTo>
                    <a:pt x="17" y="20"/>
                    <a:pt x="17" y="20"/>
                    <a:pt x="17" y="20"/>
                  </a:cubicBezTo>
                  <a:cubicBezTo>
                    <a:pt x="18" y="21"/>
                    <a:pt x="19" y="21"/>
                    <a:pt x="20" y="20"/>
                  </a:cubicBezTo>
                  <a:cubicBezTo>
                    <a:pt x="21" y="19"/>
                    <a:pt x="21" y="18"/>
                    <a:pt x="20" y="17"/>
                  </a:cubicBezTo>
                  <a:cubicBezTo>
                    <a:pt x="4" y="1"/>
                    <a:pt x="4" y="1"/>
                    <a:pt x="4" y="1"/>
                  </a:cubicBezTo>
                  <a:cubicBezTo>
                    <a:pt x="3" y="0"/>
                    <a:pt x="2" y="0"/>
                    <a:pt x="1" y="1"/>
                  </a:cubicBezTo>
                  <a:cubicBezTo>
                    <a:pt x="0" y="2"/>
                    <a:pt x="0" y="3"/>
                    <a:pt x="1" y="4"/>
                  </a:cubicBezTo>
                </a:path>
              </a:pathLst>
            </a:custGeom>
            <a:grpFill/>
            <a:ln>
              <a:noFill/>
            </a:ln>
            <a:extLst>
              <a:ext uri="{91240B29-F687-4F45-9708-019B960494DF}">
                <a14:hiddenLine w="9525">
                  <a:solidFill>
                    <a:srgbClr val="000000"/>
                  </a:solidFill>
                  <a:round/>
                  <a:headEnd/>
                  <a:tailEnd/>
                </a14:hiddenLine>
              </a:ext>
            </a:extLst>
          </p:spPr>
          <p:txBody>
            <a:bodyPr anchor="ctr"/>
            <a:lstStyle/>
            <a:p>
              <a:pPr algn="ctr"/>
              <a:endParaRPr/>
            </a:p>
          </p:txBody>
        </p:sp>
        <p:sp>
          <p:nvSpPr>
            <p:cNvPr id="52" name="ïS1îḍè">
              <a:extLst>
                <a:ext uri="{FF2B5EF4-FFF2-40B4-BE49-F238E27FC236}">
                  <a16:creationId xmlns:a16="http://schemas.microsoft.com/office/drawing/2014/main" id="{CD6FAB31-8CF7-4A04-B195-8F7EEC9A2734}"/>
                </a:ext>
              </a:extLst>
            </p:cNvPr>
            <p:cNvSpPr/>
            <p:nvPr/>
          </p:nvSpPr>
          <p:spPr bwMode="auto">
            <a:xfrm>
              <a:off x="1889067" y="2703670"/>
              <a:ext cx="173293" cy="167879"/>
            </a:xfrm>
            <a:custGeom>
              <a:gdLst>
                <a:gd fmla="*/ 17 w 20" name="T0"/>
                <a:gd fmla="*/ 0 h 20" name="T1"/>
                <a:gd fmla="*/ 1 w 20" name="T2"/>
                <a:gd fmla="*/ 17 h 20" name="T3"/>
                <a:gd fmla="*/ 1 w 20" name="T4"/>
                <a:gd fmla="*/ 19 h 20" name="T5"/>
                <a:gd fmla="*/ 4 w 20" name="T6"/>
                <a:gd fmla="*/ 19 h 20" name="T7"/>
                <a:gd fmla="*/ 20 w 20" name="T8"/>
                <a:gd fmla="*/ 3 h 20" name="T9"/>
                <a:gd fmla="*/ 20 w 20" name="T10"/>
                <a:gd fmla="*/ 0 h 20" name="T11"/>
                <a:gd fmla="*/ 17 w 20" name="T12"/>
                <a:gd fmla="*/ 0 h 20" name="T13"/>
              </a:gdLst>
              <a:cxnLst>
                <a:cxn ang="0">
                  <a:pos x="T0" y="T1"/>
                </a:cxn>
                <a:cxn ang="0">
                  <a:pos x="T2" y="T3"/>
                </a:cxn>
                <a:cxn ang="0">
                  <a:pos x="T4" y="T5"/>
                </a:cxn>
                <a:cxn ang="0">
                  <a:pos x="T6" y="T7"/>
                </a:cxn>
                <a:cxn ang="0">
                  <a:pos x="T8" y="T9"/>
                </a:cxn>
                <a:cxn ang="0">
                  <a:pos x="T10" y="T11"/>
                </a:cxn>
                <a:cxn ang="0">
                  <a:pos x="T12" y="T13"/>
                </a:cxn>
              </a:cxnLst>
              <a:rect b="b" l="0" r="r" t="0"/>
              <a:pathLst>
                <a:path h="20" w="20">
                  <a:moveTo>
                    <a:pt x="17" y="0"/>
                  </a:moveTo>
                  <a:cubicBezTo>
                    <a:pt x="1" y="17"/>
                    <a:pt x="1" y="17"/>
                    <a:pt x="1" y="17"/>
                  </a:cubicBezTo>
                  <a:cubicBezTo>
                    <a:pt x="0" y="17"/>
                    <a:pt x="0" y="19"/>
                    <a:pt x="1" y="19"/>
                  </a:cubicBezTo>
                  <a:cubicBezTo>
                    <a:pt x="2" y="20"/>
                    <a:pt x="3" y="20"/>
                    <a:pt x="4" y="19"/>
                  </a:cubicBezTo>
                  <a:cubicBezTo>
                    <a:pt x="20" y="3"/>
                    <a:pt x="20" y="3"/>
                    <a:pt x="20" y="3"/>
                  </a:cubicBezTo>
                  <a:cubicBezTo>
                    <a:pt x="20" y="3"/>
                    <a:pt x="20" y="1"/>
                    <a:pt x="20" y="0"/>
                  </a:cubicBezTo>
                  <a:cubicBezTo>
                    <a:pt x="19" y="0"/>
                    <a:pt x="18" y="0"/>
                    <a:pt x="17" y="0"/>
                  </a:cubicBezTo>
                </a:path>
              </a:pathLst>
            </a:custGeom>
            <a:grpFill/>
            <a:ln>
              <a:noFill/>
            </a:ln>
            <a:extLst>
              <a:ext uri="{91240B29-F687-4F45-9708-019B960494DF}">
                <a14:hiddenLine w="9525">
                  <a:solidFill>
                    <a:srgbClr val="000000"/>
                  </a:solidFill>
                  <a:round/>
                  <a:headEnd/>
                  <a:tailEnd/>
                </a14:hiddenLine>
              </a:ext>
            </a:extLst>
          </p:spPr>
          <p:txBody>
            <a:bodyPr anchor="ctr"/>
            <a:lstStyle/>
            <a:p>
              <a:pPr algn="ctr"/>
              <a:endParaRPr/>
            </a:p>
          </p:txBody>
        </p:sp>
        <p:sp>
          <p:nvSpPr>
            <p:cNvPr id="53" name="îš1íḑê">
              <a:extLst>
                <a:ext uri="{FF2B5EF4-FFF2-40B4-BE49-F238E27FC236}">
                  <a16:creationId xmlns:a16="http://schemas.microsoft.com/office/drawing/2014/main" id="{390F429D-5284-4B8B-94C1-1837A74F2D48}"/>
                </a:ext>
              </a:extLst>
            </p:cNvPr>
            <p:cNvSpPr/>
            <p:nvPr/>
          </p:nvSpPr>
          <p:spPr bwMode="auto">
            <a:xfrm>
              <a:off x="2668886" y="1393141"/>
              <a:ext cx="113725" cy="211203"/>
            </a:xfrm>
            <a:custGeom>
              <a:gdLst>
                <a:gd fmla="*/ 4 w 13" name="T0"/>
                <a:gd fmla="*/ 24 h 25" name="T1"/>
                <a:gd fmla="*/ 12 w 13" name="T2"/>
                <a:gd fmla="*/ 2 h 25" name="T3"/>
                <a:gd fmla="*/ 11 w 13" name="T4"/>
                <a:gd fmla="*/ 0 h 25" name="T5"/>
                <a:gd fmla="*/ 9 w 13" name="T6"/>
                <a:gd fmla="*/ 1 h 25" name="T7"/>
                <a:gd fmla="*/ 1 w 13" name="T8"/>
                <a:gd fmla="*/ 22 h 25" name="T9"/>
                <a:gd fmla="*/ 2 w 13" name="T10"/>
                <a:gd fmla="*/ 25 h 25" name="T11"/>
                <a:gd fmla="*/ 4 w 13" name="T12"/>
                <a:gd fmla="*/ 24 h 25" name="T13"/>
              </a:gdLst>
              <a:cxnLst>
                <a:cxn ang="0">
                  <a:pos x="T0" y="T1"/>
                </a:cxn>
                <a:cxn ang="0">
                  <a:pos x="T2" y="T3"/>
                </a:cxn>
                <a:cxn ang="0">
                  <a:pos x="T4" y="T5"/>
                </a:cxn>
                <a:cxn ang="0">
                  <a:pos x="T6" y="T7"/>
                </a:cxn>
                <a:cxn ang="0">
                  <a:pos x="T8" y="T9"/>
                </a:cxn>
                <a:cxn ang="0">
                  <a:pos x="T10" y="T11"/>
                </a:cxn>
                <a:cxn ang="0">
                  <a:pos x="T12" y="T13"/>
                </a:cxn>
              </a:cxnLst>
              <a:rect b="b" l="0" r="r" t="0"/>
              <a:pathLst>
                <a:path h="25" w="13">
                  <a:moveTo>
                    <a:pt x="4" y="24"/>
                  </a:moveTo>
                  <a:cubicBezTo>
                    <a:pt x="12" y="2"/>
                    <a:pt x="12" y="2"/>
                    <a:pt x="12" y="2"/>
                  </a:cubicBezTo>
                  <a:cubicBezTo>
                    <a:pt x="13" y="1"/>
                    <a:pt x="12" y="0"/>
                    <a:pt x="11" y="0"/>
                  </a:cubicBezTo>
                  <a:cubicBezTo>
                    <a:pt x="10" y="0"/>
                    <a:pt x="9" y="0"/>
                    <a:pt x="9" y="1"/>
                  </a:cubicBezTo>
                  <a:cubicBezTo>
                    <a:pt x="1" y="22"/>
                    <a:pt x="1" y="22"/>
                    <a:pt x="1" y="22"/>
                  </a:cubicBezTo>
                  <a:cubicBezTo>
                    <a:pt x="0" y="23"/>
                    <a:pt x="1" y="25"/>
                    <a:pt x="2" y="25"/>
                  </a:cubicBezTo>
                  <a:cubicBezTo>
                    <a:pt x="3" y="25"/>
                    <a:pt x="4" y="25"/>
                    <a:pt x="4" y="24"/>
                  </a:cubicBezTo>
                </a:path>
              </a:pathLst>
            </a:custGeom>
            <a:grpFill/>
            <a:ln>
              <a:noFill/>
            </a:ln>
            <a:extLst>
              <a:ext uri="{91240B29-F687-4F45-9708-019B960494DF}">
                <a14:hiddenLine w="9525">
                  <a:solidFill>
                    <a:srgbClr val="000000"/>
                  </a:solidFill>
                  <a:round/>
                  <a:headEnd/>
                  <a:tailEnd/>
                </a14:hiddenLine>
              </a:ext>
            </a:extLst>
          </p:spPr>
          <p:txBody>
            <a:bodyPr anchor="ctr"/>
            <a:lstStyle/>
            <a:p>
              <a:pPr algn="ctr"/>
              <a:endParaRPr/>
            </a:p>
          </p:txBody>
        </p:sp>
        <p:sp>
          <p:nvSpPr>
            <p:cNvPr id="54" name="i$1iḓê">
              <a:extLst>
                <a:ext uri="{FF2B5EF4-FFF2-40B4-BE49-F238E27FC236}">
                  <a16:creationId xmlns:a16="http://schemas.microsoft.com/office/drawing/2014/main" id="{8903C3ED-1754-4C6C-A815-E43CC92B3A21}"/>
                </a:ext>
              </a:extLst>
            </p:cNvPr>
            <p:cNvSpPr/>
            <p:nvPr/>
          </p:nvSpPr>
          <p:spPr bwMode="auto">
            <a:xfrm>
              <a:off x="2046113" y="1436464"/>
              <a:ext cx="119139" cy="216616"/>
            </a:xfrm>
            <a:custGeom>
              <a:gdLst>
                <a:gd fmla="*/ 14 w 14" name="T0"/>
                <a:gd fmla="*/ 23 h 26" name="T1"/>
                <a:gd fmla="*/ 4 w 14" name="T2"/>
                <a:gd fmla="*/ 2 h 26" name="T3"/>
                <a:gd fmla="*/ 2 w 14" name="T4"/>
                <a:gd fmla="*/ 1 h 26" name="T5"/>
                <a:gd fmla="*/ 1 w 14" name="T6"/>
                <a:gd fmla="*/ 4 h 26" name="T7"/>
                <a:gd fmla="*/ 10 w 14" name="T8"/>
                <a:gd fmla="*/ 24 h 26" name="T9"/>
                <a:gd fmla="*/ 13 w 14" name="T10"/>
                <a:gd fmla="*/ 25 h 26" name="T11"/>
                <a:gd fmla="*/ 14 w 14" name="T12"/>
                <a:gd fmla="*/ 23 h 26" name="T13"/>
              </a:gdLst>
              <a:cxnLst>
                <a:cxn ang="0">
                  <a:pos x="T0" y="T1"/>
                </a:cxn>
                <a:cxn ang="0">
                  <a:pos x="T2" y="T3"/>
                </a:cxn>
                <a:cxn ang="0">
                  <a:pos x="T4" y="T5"/>
                </a:cxn>
                <a:cxn ang="0">
                  <a:pos x="T6" y="T7"/>
                </a:cxn>
                <a:cxn ang="0">
                  <a:pos x="T8" y="T9"/>
                </a:cxn>
                <a:cxn ang="0">
                  <a:pos x="T10" y="T11"/>
                </a:cxn>
                <a:cxn ang="0">
                  <a:pos x="T12" y="T13"/>
                </a:cxn>
              </a:cxnLst>
              <a:rect b="b" l="0" r="r" t="0"/>
              <a:pathLst>
                <a:path h="26" w="14">
                  <a:moveTo>
                    <a:pt x="14" y="23"/>
                  </a:moveTo>
                  <a:cubicBezTo>
                    <a:pt x="4" y="2"/>
                    <a:pt x="4" y="2"/>
                    <a:pt x="4" y="2"/>
                  </a:cubicBezTo>
                  <a:cubicBezTo>
                    <a:pt x="4" y="1"/>
                    <a:pt x="3" y="0"/>
                    <a:pt x="2" y="1"/>
                  </a:cubicBezTo>
                  <a:cubicBezTo>
                    <a:pt x="1" y="1"/>
                    <a:pt x="0" y="3"/>
                    <a:pt x="1" y="4"/>
                  </a:cubicBezTo>
                  <a:cubicBezTo>
                    <a:pt x="10" y="24"/>
                    <a:pt x="10" y="24"/>
                    <a:pt x="10" y="24"/>
                  </a:cubicBezTo>
                  <a:cubicBezTo>
                    <a:pt x="11" y="25"/>
                    <a:pt x="12" y="26"/>
                    <a:pt x="13" y="25"/>
                  </a:cubicBezTo>
                  <a:cubicBezTo>
                    <a:pt x="14" y="25"/>
                    <a:pt x="14" y="24"/>
                    <a:pt x="14" y="23"/>
                  </a:cubicBezTo>
                </a:path>
              </a:pathLst>
            </a:custGeom>
            <a:grpFill/>
            <a:ln>
              <a:noFill/>
            </a:ln>
            <a:extLst>
              <a:ext uri="{91240B29-F687-4F45-9708-019B960494DF}">
                <a14:hiddenLine w="9525">
                  <a:solidFill>
                    <a:srgbClr val="000000"/>
                  </a:solidFill>
                  <a:round/>
                  <a:headEnd/>
                  <a:tailEnd/>
                </a14:hiddenLine>
              </a:ext>
            </a:extLst>
          </p:spPr>
          <p:txBody>
            <a:bodyPr anchor="ctr"/>
            <a:lstStyle/>
            <a:p>
              <a:pPr algn="ctr"/>
              <a:endParaRPr/>
            </a:p>
          </p:txBody>
        </p:sp>
        <p:sp>
          <p:nvSpPr>
            <p:cNvPr id="55" name="ïṥḷiḓê">
              <a:extLst>
                <a:ext uri="{FF2B5EF4-FFF2-40B4-BE49-F238E27FC236}">
                  <a16:creationId xmlns:a16="http://schemas.microsoft.com/office/drawing/2014/main" id="{E8FCCC96-A2E8-4707-A905-6A71A23501E2}"/>
                </a:ext>
              </a:extLst>
            </p:cNvPr>
            <p:cNvSpPr/>
            <p:nvPr/>
          </p:nvSpPr>
          <p:spPr bwMode="auto">
            <a:xfrm>
              <a:off x="1656203" y="1907607"/>
              <a:ext cx="216616" cy="102894"/>
            </a:xfrm>
            <a:custGeom>
              <a:gdLst>
                <a:gd fmla="*/ 24 w 26" name="T0"/>
                <a:gd fmla="*/ 8 h 12" name="T1"/>
                <a:gd fmla="*/ 3 w 26" name="T2"/>
                <a:gd fmla="*/ 0 h 12" name="T3"/>
                <a:gd fmla="*/ 0 w 26" name="T4"/>
                <a:gd fmla="*/ 1 h 12" name="T5"/>
                <a:gd fmla="*/ 1 w 26" name="T6"/>
                <a:gd fmla="*/ 4 h 12" name="T7"/>
                <a:gd fmla="*/ 23 w 26" name="T8"/>
                <a:gd fmla="*/ 12 h 12" name="T9"/>
                <a:gd fmla="*/ 25 w 26" name="T10"/>
                <a:gd fmla="*/ 11 h 12" name="T11"/>
                <a:gd fmla="*/ 24 w 26" name="T12"/>
                <a:gd fmla="*/ 8 h 12" name="T13"/>
              </a:gdLst>
              <a:cxnLst>
                <a:cxn ang="0">
                  <a:pos x="T0" y="T1"/>
                </a:cxn>
                <a:cxn ang="0">
                  <a:pos x="T2" y="T3"/>
                </a:cxn>
                <a:cxn ang="0">
                  <a:pos x="T4" y="T5"/>
                </a:cxn>
                <a:cxn ang="0">
                  <a:pos x="T6" y="T7"/>
                </a:cxn>
                <a:cxn ang="0">
                  <a:pos x="T8" y="T9"/>
                </a:cxn>
                <a:cxn ang="0">
                  <a:pos x="T10" y="T11"/>
                </a:cxn>
                <a:cxn ang="0">
                  <a:pos x="T12" y="T13"/>
                </a:cxn>
              </a:cxnLst>
              <a:rect b="b" l="0" r="r" t="0"/>
              <a:pathLst>
                <a:path h="12" w="26">
                  <a:moveTo>
                    <a:pt x="24" y="8"/>
                  </a:moveTo>
                  <a:cubicBezTo>
                    <a:pt x="3" y="0"/>
                    <a:pt x="3" y="0"/>
                    <a:pt x="3" y="0"/>
                  </a:cubicBezTo>
                  <a:cubicBezTo>
                    <a:pt x="2" y="0"/>
                    <a:pt x="1" y="0"/>
                    <a:pt x="0" y="1"/>
                  </a:cubicBezTo>
                  <a:cubicBezTo>
                    <a:pt x="0" y="2"/>
                    <a:pt x="0" y="3"/>
                    <a:pt x="1" y="4"/>
                  </a:cubicBezTo>
                  <a:cubicBezTo>
                    <a:pt x="23" y="12"/>
                    <a:pt x="23" y="12"/>
                    <a:pt x="23" y="12"/>
                  </a:cubicBezTo>
                  <a:cubicBezTo>
                    <a:pt x="24" y="12"/>
                    <a:pt x="25" y="12"/>
                    <a:pt x="25" y="11"/>
                  </a:cubicBezTo>
                  <a:cubicBezTo>
                    <a:pt x="26" y="10"/>
                    <a:pt x="25" y="8"/>
                    <a:pt x="24" y="8"/>
                  </a:cubicBezTo>
                </a:path>
              </a:pathLst>
            </a:custGeom>
            <a:grpFill/>
            <a:ln>
              <a:noFill/>
            </a:ln>
            <a:extLst>
              <a:ext uri="{91240B29-F687-4F45-9708-019B960494DF}">
                <a14:hiddenLine w="9525">
                  <a:solidFill>
                    <a:srgbClr val="000000"/>
                  </a:solidFill>
                  <a:round/>
                  <a:headEnd/>
                  <a:tailEnd/>
                </a14:hiddenLine>
              </a:ext>
            </a:extLst>
          </p:spPr>
          <p:txBody>
            <a:bodyPr anchor="ctr"/>
            <a:lstStyle/>
            <a:p>
              <a:pPr algn="ctr"/>
              <a:endParaRPr/>
            </a:p>
          </p:txBody>
        </p:sp>
        <p:sp>
          <p:nvSpPr>
            <p:cNvPr id="56" name="îṡḷîḋê">
              <a:extLst>
                <a:ext uri="{FF2B5EF4-FFF2-40B4-BE49-F238E27FC236}">
                  <a16:creationId xmlns:a16="http://schemas.microsoft.com/office/drawing/2014/main" id="{8F06EFC6-B779-4A76-8B02-E15FF3419B54}"/>
                </a:ext>
              </a:extLst>
            </p:cNvPr>
            <p:cNvSpPr/>
            <p:nvPr/>
          </p:nvSpPr>
          <p:spPr bwMode="auto">
            <a:xfrm>
              <a:off x="3075041" y="2422069"/>
              <a:ext cx="222034" cy="102894"/>
            </a:xfrm>
            <a:custGeom>
              <a:gdLst>
                <a:gd fmla="*/ 2 w 26" name="T0"/>
                <a:gd fmla="*/ 4 h 12" name="T1"/>
                <a:gd fmla="*/ 23 w 26" name="T2"/>
                <a:gd fmla="*/ 12 h 12" name="T3"/>
                <a:gd fmla="*/ 26 w 26" name="T4"/>
                <a:gd fmla="*/ 11 h 12" name="T5"/>
                <a:gd fmla="*/ 24 w 26" name="T6"/>
                <a:gd fmla="*/ 8 h 12" name="T7"/>
                <a:gd fmla="*/ 3 w 26" name="T8"/>
                <a:gd fmla="*/ 0 h 12" name="T9"/>
                <a:gd fmla="*/ 1 w 26" name="T10"/>
                <a:gd fmla="*/ 1 h 12" name="T11"/>
                <a:gd fmla="*/ 2 w 26" name="T12"/>
                <a:gd fmla="*/ 4 h 12" name="T13"/>
              </a:gdLst>
              <a:cxnLst>
                <a:cxn ang="0">
                  <a:pos x="T0" y="T1"/>
                </a:cxn>
                <a:cxn ang="0">
                  <a:pos x="T2" y="T3"/>
                </a:cxn>
                <a:cxn ang="0">
                  <a:pos x="T4" y="T5"/>
                </a:cxn>
                <a:cxn ang="0">
                  <a:pos x="T6" y="T7"/>
                </a:cxn>
                <a:cxn ang="0">
                  <a:pos x="T8" y="T9"/>
                </a:cxn>
                <a:cxn ang="0">
                  <a:pos x="T10" y="T11"/>
                </a:cxn>
                <a:cxn ang="0">
                  <a:pos x="T12" y="T13"/>
                </a:cxn>
              </a:cxnLst>
              <a:rect b="b" l="0" r="r" t="0"/>
              <a:pathLst>
                <a:path h="12" w="26">
                  <a:moveTo>
                    <a:pt x="2" y="4"/>
                  </a:moveTo>
                  <a:cubicBezTo>
                    <a:pt x="23" y="12"/>
                    <a:pt x="23" y="12"/>
                    <a:pt x="23" y="12"/>
                  </a:cubicBezTo>
                  <a:cubicBezTo>
                    <a:pt x="24" y="12"/>
                    <a:pt x="25" y="12"/>
                    <a:pt x="26" y="11"/>
                  </a:cubicBezTo>
                  <a:cubicBezTo>
                    <a:pt x="26" y="10"/>
                    <a:pt x="26" y="8"/>
                    <a:pt x="24" y="8"/>
                  </a:cubicBezTo>
                  <a:cubicBezTo>
                    <a:pt x="3" y="0"/>
                    <a:pt x="3" y="0"/>
                    <a:pt x="3" y="0"/>
                  </a:cubicBezTo>
                  <a:cubicBezTo>
                    <a:pt x="2" y="0"/>
                    <a:pt x="1" y="0"/>
                    <a:pt x="1" y="1"/>
                  </a:cubicBezTo>
                  <a:cubicBezTo>
                    <a:pt x="0" y="2"/>
                    <a:pt x="1" y="4"/>
                    <a:pt x="2" y="4"/>
                  </a:cubicBezTo>
                </a:path>
              </a:pathLst>
            </a:custGeom>
            <a:grpFill/>
            <a:ln>
              <a:noFill/>
            </a:ln>
            <a:extLst>
              <a:ext uri="{91240B29-F687-4F45-9708-019B960494DF}">
                <a14:hiddenLine w="9525">
                  <a:solidFill>
                    <a:srgbClr val="000000"/>
                  </a:solidFill>
                  <a:round/>
                  <a:headEnd/>
                  <a:tailEnd/>
                </a14:hiddenLine>
              </a:ext>
            </a:extLst>
          </p:spPr>
          <p:txBody>
            <a:bodyPr anchor="ctr"/>
            <a:lstStyle/>
            <a:p>
              <a:pPr algn="ctr"/>
              <a:endParaRPr/>
            </a:p>
          </p:txBody>
        </p:sp>
        <p:sp>
          <p:nvSpPr>
            <p:cNvPr id="57" name="îṥ1iḍê">
              <a:extLst>
                <a:ext uri="{FF2B5EF4-FFF2-40B4-BE49-F238E27FC236}">
                  <a16:creationId xmlns:a16="http://schemas.microsoft.com/office/drawing/2014/main" id="{6EFEC2B2-FDB5-42F4-89D9-7D622497A9BA}"/>
                </a:ext>
              </a:extLst>
            </p:cNvPr>
            <p:cNvSpPr/>
            <p:nvPr/>
          </p:nvSpPr>
          <p:spPr bwMode="auto">
            <a:xfrm>
              <a:off x="3037134" y="1799299"/>
              <a:ext cx="211203" cy="119139"/>
            </a:xfrm>
            <a:custGeom>
              <a:gdLst>
                <a:gd fmla="*/ 3 w 25" name="T0"/>
                <a:gd fmla="*/ 13 h 14" name="T1"/>
                <a:gd fmla="*/ 24 w 25" name="T2"/>
                <a:gd fmla="*/ 4 h 14" name="T3"/>
                <a:gd fmla="*/ 25 w 25" name="T4"/>
                <a:gd fmla="*/ 1 h 14" name="T5"/>
                <a:gd fmla="*/ 22 w 25" name="T6"/>
                <a:gd fmla="*/ 0 h 14" name="T7"/>
                <a:gd fmla="*/ 1 w 25" name="T8"/>
                <a:gd fmla="*/ 10 h 14" name="T9"/>
                <a:gd fmla="*/ 0 w 25" name="T10"/>
                <a:gd fmla="*/ 12 h 14" name="T11"/>
                <a:gd fmla="*/ 3 w 25" name="T12"/>
                <a:gd fmla="*/ 13 h 14" name="T13"/>
              </a:gdLst>
              <a:cxnLst>
                <a:cxn ang="0">
                  <a:pos x="T0" y="T1"/>
                </a:cxn>
                <a:cxn ang="0">
                  <a:pos x="T2" y="T3"/>
                </a:cxn>
                <a:cxn ang="0">
                  <a:pos x="T4" y="T5"/>
                </a:cxn>
                <a:cxn ang="0">
                  <a:pos x="T6" y="T7"/>
                </a:cxn>
                <a:cxn ang="0">
                  <a:pos x="T8" y="T9"/>
                </a:cxn>
                <a:cxn ang="0">
                  <a:pos x="T10" y="T11"/>
                </a:cxn>
                <a:cxn ang="0">
                  <a:pos x="T12" y="T13"/>
                </a:cxn>
              </a:cxnLst>
              <a:rect b="b" l="0" r="r" t="0"/>
              <a:pathLst>
                <a:path h="14" w="25">
                  <a:moveTo>
                    <a:pt x="3" y="13"/>
                  </a:moveTo>
                  <a:cubicBezTo>
                    <a:pt x="24" y="4"/>
                    <a:pt x="24" y="4"/>
                    <a:pt x="24" y="4"/>
                  </a:cubicBezTo>
                  <a:cubicBezTo>
                    <a:pt x="25" y="3"/>
                    <a:pt x="25" y="2"/>
                    <a:pt x="25" y="1"/>
                  </a:cubicBezTo>
                  <a:cubicBezTo>
                    <a:pt x="24" y="0"/>
                    <a:pt x="23" y="0"/>
                    <a:pt x="22" y="0"/>
                  </a:cubicBezTo>
                  <a:cubicBezTo>
                    <a:pt x="1" y="10"/>
                    <a:pt x="1" y="10"/>
                    <a:pt x="1" y="10"/>
                  </a:cubicBezTo>
                  <a:cubicBezTo>
                    <a:pt x="0" y="10"/>
                    <a:pt x="0" y="11"/>
                    <a:pt x="0" y="12"/>
                  </a:cubicBezTo>
                  <a:cubicBezTo>
                    <a:pt x="1" y="13"/>
                    <a:pt x="2" y="14"/>
                    <a:pt x="3" y="13"/>
                  </a:cubicBezTo>
                </a:path>
              </a:pathLst>
            </a:custGeom>
            <a:grpFill/>
            <a:ln>
              <a:noFill/>
            </a:ln>
            <a:extLst>
              <a:ext uri="{91240B29-F687-4F45-9708-019B960494DF}">
                <a14:hiddenLine w="9525">
                  <a:solidFill>
                    <a:srgbClr val="000000"/>
                  </a:solidFill>
                  <a:round/>
                  <a:headEnd/>
                  <a:tailEnd/>
                </a14:hiddenLine>
              </a:ext>
            </a:extLst>
          </p:spPr>
          <p:txBody>
            <a:bodyPr anchor="ctr"/>
            <a:lstStyle/>
            <a:p>
              <a:pPr algn="ctr"/>
              <a:endParaRPr/>
            </a:p>
          </p:txBody>
        </p:sp>
        <p:sp>
          <p:nvSpPr>
            <p:cNvPr id="58" name="îṥļïḋé">
              <a:extLst>
                <a:ext uri="{FF2B5EF4-FFF2-40B4-BE49-F238E27FC236}">
                  <a16:creationId xmlns:a16="http://schemas.microsoft.com/office/drawing/2014/main" id="{B904514D-E417-4E93-8C20-5F8C965E5C8D}"/>
                </a:ext>
              </a:extLst>
            </p:cNvPr>
            <p:cNvSpPr/>
            <p:nvPr/>
          </p:nvSpPr>
          <p:spPr bwMode="auto">
            <a:xfrm>
              <a:off x="2170669" y="2828226"/>
              <a:ext cx="108308" cy="211203"/>
            </a:xfrm>
            <a:custGeom>
              <a:gdLst>
                <a:gd fmla="*/ 8 w 13" name="T0"/>
                <a:gd fmla="*/ 1 h 25" name="T1"/>
                <a:gd fmla="*/ 0 w 13" name="T2"/>
                <a:gd fmla="*/ 22 h 25" name="T3"/>
                <a:gd fmla="*/ 2 w 13" name="T4"/>
                <a:gd fmla="*/ 25 h 25" name="T5"/>
                <a:gd fmla="*/ 4 w 13" name="T6"/>
                <a:gd fmla="*/ 24 h 25" name="T7"/>
                <a:gd fmla="*/ 12 w 13" name="T8"/>
                <a:gd fmla="*/ 3 h 25" name="T9"/>
                <a:gd fmla="*/ 11 w 13" name="T10"/>
                <a:gd fmla="*/ 0 h 25" name="T11"/>
                <a:gd fmla="*/ 8 w 13" name="T12"/>
                <a:gd fmla="*/ 1 h 25" name="T13"/>
              </a:gdLst>
              <a:cxnLst>
                <a:cxn ang="0">
                  <a:pos x="T0" y="T1"/>
                </a:cxn>
                <a:cxn ang="0">
                  <a:pos x="T2" y="T3"/>
                </a:cxn>
                <a:cxn ang="0">
                  <a:pos x="T4" y="T5"/>
                </a:cxn>
                <a:cxn ang="0">
                  <a:pos x="T6" y="T7"/>
                </a:cxn>
                <a:cxn ang="0">
                  <a:pos x="T8" y="T9"/>
                </a:cxn>
                <a:cxn ang="0">
                  <a:pos x="T10" y="T11"/>
                </a:cxn>
                <a:cxn ang="0">
                  <a:pos x="T12" y="T13"/>
                </a:cxn>
              </a:cxnLst>
              <a:rect b="b" l="0" r="r" t="0"/>
              <a:pathLst>
                <a:path h="25" w="13">
                  <a:moveTo>
                    <a:pt x="8" y="1"/>
                  </a:moveTo>
                  <a:cubicBezTo>
                    <a:pt x="0" y="22"/>
                    <a:pt x="0" y="22"/>
                    <a:pt x="0" y="22"/>
                  </a:cubicBezTo>
                  <a:cubicBezTo>
                    <a:pt x="0" y="23"/>
                    <a:pt x="1" y="25"/>
                    <a:pt x="2" y="25"/>
                  </a:cubicBezTo>
                  <a:cubicBezTo>
                    <a:pt x="3" y="25"/>
                    <a:pt x="4" y="25"/>
                    <a:pt x="4" y="24"/>
                  </a:cubicBezTo>
                  <a:cubicBezTo>
                    <a:pt x="12" y="3"/>
                    <a:pt x="12" y="3"/>
                    <a:pt x="12" y="3"/>
                  </a:cubicBezTo>
                  <a:cubicBezTo>
                    <a:pt x="13" y="2"/>
                    <a:pt x="12" y="0"/>
                    <a:pt x="11" y="0"/>
                  </a:cubicBezTo>
                  <a:cubicBezTo>
                    <a:pt x="10" y="0"/>
                    <a:pt x="9" y="0"/>
                    <a:pt x="8" y="1"/>
                  </a:cubicBezTo>
                </a:path>
              </a:pathLst>
            </a:custGeom>
            <a:grpFill/>
            <a:ln>
              <a:noFill/>
            </a:ln>
            <a:extLst>
              <a:ext uri="{91240B29-F687-4F45-9708-019B960494DF}">
                <a14:hiddenLine w="9525">
                  <a:solidFill>
                    <a:srgbClr val="000000"/>
                  </a:solidFill>
                  <a:round/>
                  <a:headEnd/>
                  <a:tailEnd/>
                </a14:hiddenLine>
              </a:ext>
            </a:extLst>
          </p:spPr>
          <p:txBody>
            <a:bodyPr anchor="ctr"/>
            <a:lstStyle/>
            <a:p>
              <a:pPr algn="ctr"/>
              <a:endParaRPr/>
            </a:p>
          </p:txBody>
        </p:sp>
        <p:sp>
          <p:nvSpPr>
            <p:cNvPr id="59" name="îšlîḑè">
              <a:extLst>
                <a:ext uri="{FF2B5EF4-FFF2-40B4-BE49-F238E27FC236}">
                  <a16:creationId xmlns:a16="http://schemas.microsoft.com/office/drawing/2014/main" id="{47F724B5-0ED6-46D9-B463-07EF1AF78A3F}"/>
                </a:ext>
              </a:extLst>
            </p:cNvPr>
            <p:cNvSpPr/>
            <p:nvPr/>
          </p:nvSpPr>
          <p:spPr bwMode="auto">
            <a:xfrm>
              <a:off x="2788025" y="2779486"/>
              <a:ext cx="119139" cy="211203"/>
            </a:xfrm>
            <a:custGeom>
              <a:gdLst>
                <a:gd fmla="*/ 0 w 14" name="T0"/>
                <a:gd fmla="*/ 3 h 25" name="T1"/>
                <a:gd fmla="*/ 9 w 14" name="T2"/>
                <a:gd fmla="*/ 24 h 25" name="T3"/>
                <a:gd fmla="*/ 12 w 14" name="T4"/>
                <a:gd fmla="*/ 25 h 25" name="T5"/>
                <a:gd fmla="*/ 13 w 14" name="T6"/>
                <a:gd fmla="*/ 22 h 25" name="T7"/>
                <a:gd fmla="*/ 4 w 14" name="T8"/>
                <a:gd fmla="*/ 2 h 25" name="T9"/>
                <a:gd fmla="*/ 1 w 14" name="T10"/>
                <a:gd fmla="*/ 1 h 25" name="T11"/>
                <a:gd fmla="*/ 0 w 14" name="T12"/>
                <a:gd fmla="*/ 3 h 25" name="T13"/>
              </a:gdLst>
              <a:cxnLst>
                <a:cxn ang="0">
                  <a:pos x="T0" y="T1"/>
                </a:cxn>
                <a:cxn ang="0">
                  <a:pos x="T2" y="T3"/>
                </a:cxn>
                <a:cxn ang="0">
                  <a:pos x="T4" y="T5"/>
                </a:cxn>
                <a:cxn ang="0">
                  <a:pos x="T6" y="T7"/>
                </a:cxn>
                <a:cxn ang="0">
                  <a:pos x="T8" y="T9"/>
                </a:cxn>
                <a:cxn ang="0">
                  <a:pos x="T10" y="T11"/>
                </a:cxn>
                <a:cxn ang="0">
                  <a:pos x="T12" y="T13"/>
                </a:cxn>
              </a:cxnLst>
              <a:rect b="b" l="0" r="r" t="0"/>
              <a:pathLst>
                <a:path h="25" w="14">
                  <a:moveTo>
                    <a:pt x="0" y="3"/>
                  </a:moveTo>
                  <a:cubicBezTo>
                    <a:pt x="9" y="24"/>
                    <a:pt x="9" y="24"/>
                    <a:pt x="9" y="24"/>
                  </a:cubicBezTo>
                  <a:cubicBezTo>
                    <a:pt x="10" y="25"/>
                    <a:pt x="11" y="25"/>
                    <a:pt x="12" y="25"/>
                  </a:cubicBezTo>
                  <a:cubicBezTo>
                    <a:pt x="13" y="25"/>
                    <a:pt x="14" y="23"/>
                    <a:pt x="13" y="22"/>
                  </a:cubicBezTo>
                  <a:cubicBezTo>
                    <a:pt x="4" y="2"/>
                    <a:pt x="4" y="2"/>
                    <a:pt x="4" y="2"/>
                  </a:cubicBezTo>
                  <a:cubicBezTo>
                    <a:pt x="3" y="1"/>
                    <a:pt x="2" y="0"/>
                    <a:pt x="1" y="1"/>
                  </a:cubicBezTo>
                  <a:cubicBezTo>
                    <a:pt x="0" y="1"/>
                    <a:pt x="0" y="2"/>
                    <a:pt x="0" y="3"/>
                  </a:cubicBezTo>
                </a:path>
              </a:pathLst>
            </a:custGeom>
            <a:grpFill/>
            <a:ln>
              <a:noFill/>
            </a:ln>
            <a:extLst>
              <a:ext uri="{91240B29-F687-4F45-9708-019B960494DF}">
                <a14:hiddenLine w="9525">
                  <a:solidFill>
                    <a:srgbClr val="000000"/>
                  </a:solidFill>
                  <a:round/>
                  <a:headEnd/>
                  <a:tailEnd/>
                </a14:hiddenLine>
              </a:ext>
            </a:extLst>
          </p:spPr>
          <p:txBody>
            <a:bodyPr anchor="ctr"/>
            <a:lstStyle/>
            <a:p>
              <a:pPr algn="ctr"/>
              <a:endParaRPr/>
            </a:p>
          </p:txBody>
        </p:sp>
        <p:sp>
          <p:nvSpPr>
            <p:cNvPr id="60" name="íṩḷîḓe">
              <a:extLst>
                <a:ext uri="{FF2B5EF4-FFF2-40B4-BE49-F238E27FC236}">
                  <a16:creationId xmlns:a16="http://schemas.microsoft.com/office/drawing/2014/main" id="{B7BA3656-7553-4176-B869-67529A90296E}"/>
                </a:ext>
              </a:extLst>
            </p:cNvPr>
            <p:cNvSpPr/>
            <p:nvPr/>
          </p:nvSpPr>
          <p:spPr bwMode="auto">
            <a:xfrm>
              <a:off x="1704943" y="2519546"/>
              <a:ext cx="211203" cy="113725"/>
            </a:xfrm>
            <a:custGeom>
              <a:gdLst>
                <a:gd fmla="*/ 22 w 25" name="T0"/>
                <a:gd fmla="*/ 1 h 14" name="T1"/>
                <a:gd fmla="*/ 1 w 25" name="T2"/>
                <a:gd fmla="*/ 10 h 14" name="T3"/>
                <a:gd fmla="*/ 0 w 25" name="T4"/>
                <a:gd fmla="*/ 13 h 14" name="T5"/>
                <a:gd fmla="*/ 3 w 25" name="T6"/>
                <a:gd fmla="*/ 14 h 14" name="T7"/>
                <a:gd fmla="*/ 23 w 25" name="T8"/>
                <a:gd fmla="*/ 4 h 14" name="T9"/>
                <a:gd fmla="*/ 24 w 25" name="T10"/>
                <a:gd fmla="*/ 2 h 14" name="T11"/>
                <a:gd fmla="*/ 22 w 25" name="T12"/>
                <a:gd fmla="*/ 1 h 14" name="T13"/>
              </a:gdLst>
              <a:cxnLst>
                <a:cxn ang="0">
                  <a:pos x="T0" y="T1"/>
                </a:cxn>
                <a:cxn ang="0">
                  <a:pos x="T2" y="T3"/>
                </a:cxn>
                <a:cxn ang="0">
                  <a:pos x="T4" y="T5"/>
                </a:cxn>
                <a:cxn ang="0">
                  <a:pos x="T6" y="T7"/>
                </a:cxn>
                <a:cxn ang="0">
                  <a:pos x="T8" y="T9"/>
                </a:cxn>
                <a:cxn ang="0">
                  <a:pos x="T10" y="T11"/>
                </a:cxn>
                <a:cxn ang="0">
                  <a:pos x="T12" y="T13"/>
                </a:cxn>
              </a:cxnLst>
              <a:rect b="b" l="0" r="r" t="0"/>
              <a:pathLst>
                <a:path h="14" w="25">
                  <a:moveTo>
                    <a:pt x="22" y="1"/>
                  </a:moveTo>
                  <a:cubicBezTo>
                    <a:pt x="1" y="10"/>
                    <a:pt x="1" y="10"/>
                    <a:pt x="1" y="10"/>
                  </a:cubicBezTo>
                  <a:cubicBezTo>
                    <a:pt x="0" y="11"/>
                    <a:pt x="0" y="12"/>
                    <a:pt x="0" y="13"/>
                  </a:cubicBezTo>
                  <a:cubicBezTo>
                    <a:pt x="1" y="14"/>
                    <a:pt x="2" y="14"/>
                    <a:pt x="3" y="14"/>
                  </a:cubicBezTo>
                  <a:cubicBezTo>
                    <a:pt x="23" y="4"/>
                    <a:pt x="23" y="4"/>
                    <a:pt x="23" y="4"/>
                  </a:cubicBezTo>
                  <a:cubicBezTo>
                    <a:pt x="24" y="4"/>
                    <a:pt x="25" y="3"/>
                    <a:pt x="24" y="2"/>
                  </a:cubicBezTo>
                  <a:cubicBezTo>
                    <a:pt x="24" y="1"/>
                    <a:pt x="23" y="0"/>
                    <a:pt x="22" y="1"/>
                  </a:cubicBezTo>
                </a:path>
              </a:pathLst>
            </a:custGeom>
            <a:grpFill/>
            <a:ln>
              <a:noFill/>
            </a:ln>
            <a:extLst>
              <a:ext uri="{91240B29-F687-4F45-9708-019B960494DF}">
                <a14:hiddenLine w="9525">
                  <a:solidFill>
                    <a:srgbClr val="000000"/>
                  </a:solidFill>
                  <a:round/>
                  <a:headEnd/>
                  <a:tailEnd/>
                </a14:hiddenLine>
              </a:ext>
            </a:extLst>
          </p:spPr>
          <p:txBody>
            <a:bodyPr anchor="ctr"/>
            <a:lstStyle/>
            <a:p>
              <a:pPr algn="ctr"/>
              <a:endParaRPr/>
            </a:p>
          </p:txBody>
        </p:sp>
      </p:grpSp>
      <p:sp>
        <p:nvSpPr>
          <p:cNvPr id="7" name="椭圆 6">
            <a:extLst>
              <a:ext uri="{FF2B5EF4-FFF2-40B4-BE49-F238E27FC236}">
                <a16:creationId xmlns:a16="http://schemas.microsoft.com/office/drawing/2014/main" id="{97F35CCF-B1AD-40AD-9D77-E1886CA3C847}"/>
              </a:ext>
            </a:extLst>
          </p:cNvPr>
          <p:cNvSpPr/>
          <p:nvPr/>
        </p:nvSpPr>
        <p:spPr>
          <a:xfrm>
            <a:off x="11325281" y="5957455"/>
            <a:ext cx="1193212" cy="1193212"/>
          </a:xfrm>
          <a:prstGeom prst="ellipse">
            <a:avLst/>
          </a:prstGeom>
          <a:solidFill>
            <a:srgbClr val="A0CBD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10" name="文本框 9">
            <a:extLst>
              <a:ext uri="{FF2B5EF4-FFF2-40B4-BE49-F238E27FC236}">
                <a16:creationId xmlns:a16="http://schemas.microsoft.com/office/drawing/2014/main" id="{3EF1E9ED-80AB-4909-8BA5-A43F4FCE2334}"/>
              </a:ext>
            </a:extLst>
          </p:cNvPr>
          <p:cNvSpPr txBox="1"/>
          <p:nvPr/>
        </p:nvSpPr>
        <p:spPr>
          <a:xfrm>
            <a:off x="4133850" y="390618"/>
            <a:ext cx="3924300" cy="640080"/>
          </a:xfrm>
          <a:prstGeom prst="rect">
            <a:avLst/>
          </a:prstGeom>
          <a:noFill/>
        </p:spPr>
        <p:txBody>
          <a:bodyPr rtlCol="0" wrap="square">
            <a:spAutoFit/>
          </a:bodyPr>
          <a:lstStyle/>
          <a:p>
            <a:pPr algn="ctr"/>
            <a:r>
              <a:rPr altLang="en-US" lang="zh-CN" sz="3600">
                <a:solidFill>
                  <a:schemeClr val="tx1">
                    <a:lumMod val="85000"/>
                    <a:lumOff val="15000"/>
                  </a:schemeClr>
                </a:solidFill>
                <a:latin charset="-122" panose="02000500000000000000" pitchFamily="2" typeface="方正雅士黑 简"/>
                <a:ea charset="-122" panose="02000500000000000000" pitchFamily="2" typeface="方正雅士黑 简"/>
              </a:rPr>
              <a:t>工作成果展示</a:t>
            </a:r>
          </a:p>
        </p:txBody>
      </p:sp>
      <p:cxnSp>
        <p:nvCxnSpPr>
          <p:cNvPr id="13" name="直接连接符 12">
            <a:extLst>
              <a:ext uri="{FF2B5EF4-FFF2-40B4-BE49-F238E27FC236}">
                <a16:creationId xmlns:a16="http://schemas.microsoft.com/office/drawing/2014/main" id="{63C006F1-C17E-4B5D-A667-14B1AFD009FE}"/>
              </a:ext>
            </a:extLst>
          </p:cNvPr>
          <p:cNvCxnSpPr/>
          <p:nvPr/>
        </p:nvCxnSpPr>
        <p:spPr>
          <a:xfrm>
            <a:off x="7791452" y="683005"/>
            <a:ext cx="571498" cy="0"/>
          </a:xfrm>
          <a:prstGeom prst="line">
            <a:avLst/>
          </a:prstGeom>
          <a:ln cap="rnd" w="19050">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pic>
        <p:nvPicPr>
          <p:cNvPr id="15" name="图形 14">
            <a:extLst>
              <a:ext uri="{FF2B5EF4-FFF2-40B4-BE49-F238E27FC236}">
                <a16:creationId xmlns:a16="http://schemas.microsoft.com/office/drawing/2014/main" id="{D0B6809A-9193-440B-AB59-9B5857A764E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314825" y="597280"/>
            <a:ext cx="171450" cy="171450"/>
          </a:xfrm>
          <a:prstGeom prst="rect">
            <a:avLst/>
          </a:prstGeom>
        </p:spPr>
      </p:pic>
      <p:pic>
        <p:nvPicPr>
          <p:cNvPr id="16" name="图形 15">
            <a:extLst>
              <a:ext uri="{FF2B5EF4-FFF2-40B4-BE49-F238E27FC236}">
                <a16:creationId xmlns:a16="http://schemas.microsoft.com/office/drawing/2014/main" id="{1508760C-4270-4AAF-AD1C-A51CD87667C3}"/>
              </a:ext>
            </a:extLst>
          </p:cNvPr>
          <p:cNvPicPr>
            <a:picLocks noChangeAspect="1"/>
          </p:cNvPicPr>
          <p:nvPr/>
        </p:nvPicPr>
        <p:blipFill>
          <a:blip r:embed="rId3">
            <a:extLst>
              <a:ext uri="{96DAC541-7B7A-43D3-8B79-37D633B846F1}">
                <asvg:svgBlip xmlns:asvg="http://schemas.microsoft.com/office/drawing/2016/SVG/main" r:embed="rId5"/>
              </a:ext>
            </a:extLst>
          </a:blip>
          <a:stretch>
            <a:fillRect/>
          </a:stretch>
        </p:blipFill>
        <p:spPr>
          <a:xfrm>
            <a:off x="7705727" y="597280"/>
            <a:ext cx="171450" cy="171450"/>
          </a:xfrm>
          <a:prstGeom prst="rect">
            <a:avLst/>
          </a:prstGeom>
        </p:spPr>
      </p:pic>
      <p:cxnSp>
        <p:nvCxnSpPr>
          <p:cNvPr id="18" name="直接连接符 17">
            <a:extLst>
              <a:ext uri="{FF2B5EF4-FFF2-40B4-BE49-F238E27FC236}">
                <a16:creationId xmlns:a16="http://schemas.microsoft.com/office/drawing/2014/main" id="{D59B9B17-AB83-41D0-BA0B-C09A6571714C}"/>
              </a:ext>
            </a:extLst>
          </p:cNvPr>
          <p:cNvCxnSpPr/>
          <p:nvPr/>
        </p:nvCxnSpPr>
        <p:spPr>
          <a:xfrm>
            <a:off x="3829052" y="683005"/>
            <a:ext cx="571498" cy="0"/>
          </a:xfrm>
          <a:prstGeom prst="line">
            <a:avLst/>
          </a:prstGeom>
          <a:ln cap="rnd" w="19050">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pic>
        <p:nvPicPr>
          <p:cNvPr id="11" name="图形 10">
            <a:extLst>
              <a:ext uri="{FF2B5EF4-FFF2-40B4-BE49-F238E27FC236}">
                <a16:creationId xmlns:a16="http://schemas.microsoft.com/office/drawing/2014/main" id="{DC2978AE-F650-4F98-B221-17A2FCD5F42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192576" y="5633038"/>
            <a:ext cx="871735" cy="1193212"/>
          </a:xfrm>
          <a:prstGeom prst="rect">
            <a:avLst/>
          </a:prstGeom>
        </p:spPr>
      </p:pic>
      <p:grpSp>
        <p:nvGrpSpPr>
          <p:cNvPr id="90" name="组合 89">
            <a:extLst>
              <a:ext uri="{FF2B5EF4-FFF2-40B4-BE49-F238E27FC236}">
                <a16:creationId xmlns:a16="http://schemas.microsoft.com/office/drawing/2014/main" id="{EAF50D44-1DA1-4F37-8756-E203AD34C814}"/>
              </a:ext>
            </a:extLst>
          </p:cNvPr>
          <p:cNvGrpSpPr/>
          <p:nvPr/>
        </p:nvGrpSpPr>
        <p:grpSpPr>
          <a:xfrm>
            <a:off x="6677730" y="3015701"/>
            <a:ext cx="301194" cy="301194"/>
            <a:chOff x="7233504" y="3456738"/>
            <a:chExt cx="301194" cy="301194"/>
          </a:xfrm>
          <a:solidFill>
            <a:srgbClr val="B3E4FF"/>
          </a:solidFill>
        </p:grpSpPr>
        <p:sp>
          <p:nvSpPr>
            <p:cNvPr id="35" name="íṩ1îḋê">
              <a:extLst>
                <a:ext uri="{FF2B5EF4-FFF2-40B4-BE49-F238E27FC236}">
                  <a16:creationId xmlns:a16="http://schemas.microsoft.com/office/drawing/2014/main" id="{1B5B19E4-57EB-4456-856D-23C9D92F5BF7}"/>
                </a:ext>
              </a:extLst>
            </p:cNvPr>
            <p:cNvSpPr/>
            <p:nvPr/>
          </p:nvSpPr>
          <p:spPr bwMode="auto">
            <a:xfrm>
              <a:off x="7233504" y="3578648"/>
              <a:ext cx="301194" cy="50202"/>
            </a:xfrm>
            <a:custGeom>
              <a:gdLst>
                <a:gd fmla="*/ 25 w 27" name="T0"/>
                <a:gd fmla="*/ 0 h 4" name="T1"/>
                <a:gd fmla="*/ 2 w 27" name="T2"/>
                <a:gd fmla="*/ 0 h 4" name="T3"/>
                <a:gd fmla="*/ 0 w 27" name="T4"/>
                <a:gd fmla="*/ 2 h 4" name="T5"/>
                <a:gd fmla="*/ 2 w 27" name="T6"/>
                <a:gd fmla="*/ 4 h 4" name="T7"/>
                <a:gd fmla="*/ 25 w 27" name="T8"/>
                <a:gd fmla="*/ 4 h 4" name="T9"/>
                <a:gd fmla="*/ 27 w 27" name="T10"/>
                <a:gd fmla="*/ 2 h 4" name="T11"/>
                <a:gd fmla="*/ 25 w 27" name="T12"/>
                <a:gd fmla="*/ 0 h 4" name="T13"/>
              </a:gdLst>
              <a:cxnLst>
                <a:cxn ang="0">
                  <a:pos x="T0" y="T1"/>
                </a:cxn>
                <a:cxn ang="0">
                  <a:pos x="T2" y="T3"/>
                </a:cxn>
                <a:cxn ang="0">
                  <a:pos x="T4" y="T5"/>
                </a:cxn>
                <a:cxn ang="0">
                  <a:pos x="T6" y="T7"/>
                </a:cxn>
                <a:cxn ang="0">
                  <a:pos x="T8" y="T9"/>
                </a:cxn>
                <a:cxn ang="0">
                  <a:pos x="T10" y="T11"/>
                </a:cxn>
                <a:cxn ang="0">
                  <a:pos x="T12" y="T13"/>
                </a:cxn>
              </a:cxnLst>
              <a:rect b="b" l="0" r="r" t="0"/>
              <a:pathLst>
                <a:path h="4" w="27">
                  <a:moveTo>
                    <a:pt x="25" y="0"/>
                  </a:moveTo>
                  <a:cubicBezTo>
                    <a:pt x="2" y="0"/>
                    <a:pt x="2" y="0"/>
                    <a:pt x="2" y="0"/>
                  </a:cubicBezTo>
                  <a:cubicBezTo>
                    <a:pt x="1" y="0"/>
                    <a:pt x="0" y="1"/>
                    <a:pt x="0" y="2"/>
                  </a:cubicBezTo>
                  <a:cubicBezTo>
                    <a:pt x="0" y="4"/>
                    <a:pt x="1" y="4"/>
                    <a:pt x="2" y="4"/>
                  </a:cubicBezTo>
                  <a:cubicBezTo>
                    <a:pt x="25" y="4"/>
                    <a:pt x="25" y="4"/>
                    <a:pt x="25" y="4"/>
                  </a:cubicBezTo>
                  <a:cubicBezTo>
                    <a:pt x="26" y="4"/>
                    <a:pt x="27" y="4"/>
                    <a:pt x="27" y="2"/>
                  </a:cubicBezTo>
                  <a:cubicBezTo>
                    <a:pt x="27" y="1"/>
                    <a:pt x="26" y="0"/>
                    <a:pt x="25" y="0"/>
                  </a:cubicBezTo>
                </a:path>
              </a:pathLst>
            </a:custGeom>
            <a:grpFill/>
            <a:ln>
              <a:noFill/>
            </a:ln>
            <a:extLst>
              <a:ext uri="{91240B29-F687-4F45-9708-019B960494DF}">
                <a14:hiddenLine w="9525">
                  <a:solidFill>
                    <a:srgbClr val="000000"/>
                  </a:solidFill>
                  <a:round/>
                  <a:headEnd/>
                  <a:tailEnd/>
                </a14:hiddenLine>
              </a:ext>
            </a:extLst>
          </p:spPr>
          <p:txBody>
            <a:bodyPr anchor="ctr"/>
            <a:lstStyle/>
            <a:p>
              <a:pPr algn="ctr"/>
              <a:endParaRPr/>
            </a:p>
          </p:txBody>
        </p:sp>
        <p:sp>
          <p:nvSpPr>
            <p:cNvPr id="36" name="ïśḷíḑe">
              <a:extLst>
                <a:ext uri="{FF2B5EF4-FFF2-40B4-BE49-F238E27FC236}">
                  <a16:creationId xmlns:a16="http://schemas.microsoft.com/office/drawing/2014/main" id="{52B44009-86CE-4274-B8AB-7FE175D62799}"/>
                </a:ext>
              </a:extLst>
            </p:cNvPr>
            <p:cNvSpPr/>
            <p:nvPr/>
          </p:nvSpPr>
          <p:spPr bwMode="auto">
            <a:xfrm>
              <a:off x="7369762" y="3456738"/>
              <a:ext cx="43027" cy="301194"/>
            </a:xfrm>
            <a:custGeom>
              <a:gdLst>
                <a:gd fmla="*/ 4 w 4" name="T0"/>
                <a:gd fmla="*/ 25 h 27" name="T1"/>
                <a:gd fmla="*/ 4 w 4" name="T2"/>
                <a:gd fmla="*/ 2 h 27" name="T3"/>
                <a:gd fmla="*/ 2 w 4" name="T4"/>
                <a:gd fmla="*/ 0 h 27" name="T5"/>
                <a:gd fmla="*/ 0 w 4" name="T6"/>
                <a:gd fmla="*/ 2 h 27" name="T7"/>
                <a:gd fmla="*/ 0 w 4" name="T8"/>
                <a:gd fmla="*/ 25 h 27" name="T9"/>
                <a:gd fmla="*/ 2 w 4" name="T10"/>
                <a:gd fmla="*/ 27 h 27" name="T11"/>
                <a:gd fmla="*/ 4 w 4" name="T12"/>
                <a:gd fmla="*/ 25 h 27" name="T13"/>
              </a:gdLst>
              <a:cxnLst>
                <a:cxn ang="0">
                  <a:pos x="T0" y="T1"/>
                </a:cxn>
                <a:cxn ang="0">
                  <a:pos x="T2" y="T3"/>
                </a:cxn>
                <a:cxn ang="0">
                  <a:pos x="T4" y="T5"/>
                </a:cxn>
                <a:cxn ang="0">
                  <a:pos x="T6" y="T7"/>
                </a:cxn>
                <a:cxn ang="0">
                  <a:pos x="T8" y="T9"/>
                </a:cxn>
                <a:cxn ang="0">
                  <a:pos x="T10" y="T11"/>
                </a:cxn>
                <a:cxn ang="0">
                  <a:pos x="T12" y="T13"/>
                </a:cxn>
              </a:cxnLst>
              <a:rect b="b" l="0" r="r" t="0"/>
              <a:pathLst>
                <a:path h="27" w="4">
                  <a:moveTo>
                    <a:pt x="4" y="25"/>
                  </a:moveTo>
                  <a:cubicBezTo>
                    <a:pt x="4" y="2"/>
                    <a:pt x="4" y="2"/>
                    <a:pt x="4" y="2"/>
                  </a:cubicBezTo>
                  <a:cubicBezTo>
                    <a:pt x="4" y="1"/>
                    <a:pt x="3" y="0"/>
                    <a:pt x="2" y="0"/>
                  </a:cubicBezTo>
                  <a:cubicBezTo>
                    <a:pt x="1" y="0"/>
                    <a:pt x="0" y="1"/>
                    <a:pt x="0" y="2"/>
                  </a:cubicBezTo>
                  <a:cubicBezTo>
                    <a:pt x="0" y="25"/>
                    <a:pt x="0" y="25"/>
                    <a:pt x="0" y="25"/>
                  </a:cubicBezTo>
                  <a:cubicBezTo>
                    <a:pt x="0" y="26"/>
                    <a:pt x="1" y="27"/>
                    <a:pt x="2" y="27"/>
                  </a:cubicBezTo>
                  <a:cubicBezTo>
                    <a:pt x="3" y="27"/>
                    <a:pt x="4" y="26"/>
                    <a:pt x="4" y="25"/>
                  </a:cubicBezTo>
                </a:path>
              </a:pathLst>
            </a:custGeom>
            <a:grpFill/>
            <a:ln>
              <a:noFill/>
            </a:ln>
            <a:extLst>
              <a:ext uri="{91240B29-F687-4F45-9708-019B960494DF}">
                <a14:hiddenLine w="9525">
                  <a:solidFill>
                    <a:srgbClr val="000000"/>
                  </a:solidFill>
                  <a:round/>
                  <a:headEnd/>
                  <a:tailEnd/>
                </a14:hiddenLine>
              </a:ext>
            </a:extLst>
          </p:spPr>
          <p:txBody>
            <a:bodyPr anchor="ctr"/>
            <a:lstStyle/>
            <a:p>
              <a:pPr algn="ctr"/>
              <a:endParaRPr/>
            </a:p>
          </p:txBody>
        </p:sp>
      </p:grpSp>
      <p:sp>
        <p:nvSpPr>
          <p:cNvPr id="37" name="îṩḷíḑe">
            <a:extLst>
              <a:ext uri="{FF2B5EF4-FFF2-40B4-BE49-F238E27FC236}">
                <a16:creationId xmlns:a16="http://schemas.microsoft.com/office/drawing/2014/main" id="{6E0FE5CF-9182-4AFA-B9FE-F1BF2C04FC0D}"/>
              </a:ext>
            </a:extLst>
          </p:cNvPr>
          <p:cNvSpPr/>
          <p:nvPr/>
        </p:nvSpPr>
        <p:spPr bwMode="auto">
          <a:xfrm>
            <a:off x="5385769" y="2040406"/>
            <a:ext cx="207970" cy="222312"/>
          </a:xfrm>
          <a:custGeom>
            <a:gdLst>
              <a:gd fmla="*/ 17 w 19" name="T0"/>
              <a:gd fmla="*/ 10 h 20" name="T1"/>
              <a:gd fmla="*/ 15 w 19" name="T2"/>
              <a:gd fmla="*/ 10 h 20" name="T3"/>
              <a:gd fmla="*/ 9 w 19" name="T4"/>
              <a:gd fmla="*/ 16 h 20" name="T5"/>
              <a:gd fmla="*/ 4 w 19" name="T6"/>
              <a:gd fmla="*/ 10 h 20" name="T7"/>
              <a:gd fmla="*/ 9 w 19" name="T8"/>
              <a:gd fmla="*/ 4 h 20" name="T9"/>
              <a:gd fmla="*/ 15 w 19" name="T10"/>
              <a:gd fmla="*/ 10 h 20" name="T11"/>
              <a:gd fmla="*/ 17 w 19" name="T12"/>
              <a:gd fmla="*/ 10 h 20" name="T13"/>
              <a:gd fmla="*/ 19 w 19" name="T14"/>
              <a:gd fmla="*/ 10 h 20" name="T15"/>
              <a:gd fmla="*/ 9 w 19" name="T16"/>
              <a:gd fmla="*/ 0 h 20" name="T17"/>
              <a:gd fmla="*/ 0 w 19" name="T18"/>
              <a:gd fmla="*/ 10 h 20" name="T19"/>
              <a:gd fmla="*/ 9 w 19" name="T20"/>
              <a:gd fmla="*/ 20 h 20" name="T21"/>
              <a:gd fmla="*/ 19 w 19" name="T22"/>
              <a:gd fmla="*/ 10 h 20" name="T23"/>
              <a:gd fmla="*/ 17 w 19" name="T24"/>
              <a:gd fmla="*/ 10 h 20" name="T2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b="b" l="0" r="r" t="0"/>
            <a:pathLst>
              <a:path h="20" w="19">
                <a:moveTo>
                  <a:pt x="17" y="10"/>
                </a:moveTo>
                <a:cubicBezTo>
                  <a:pt x="15" y="10"/>
                  <a:pt x="15" y="10"/>
                  <a:pt x="15" y="10"/>
                </a:cubicBezTo>
                <a:cubicBezTo>
                  <a:pt x="15" y="13"/>
                  <a:pt x="13" y="16"/>
                  <a:pt x="9" y="16"/>
                </a:cubicBezTo>
                <a:cubicBezTo>
                  <a:pt x="6" y="16"/>
                  <a:pt x="4" y="13"/>
                  <a:pt x="4" y="10"/>
                </a:cubicBezTo>
                <a:cubicBezTo>
                  <a:pt x="4" y="7"/>
                  <a:pt x="6" y="4"/>
                  <a:pt x="9" y="4"/>
                </a:cubicBezTo>
                <a:cubicBezTo>
                  <a:pt x="13" y="4"/>
                  <a:pt x="15" y="7"/>
                  <a:pt x="15" y="10"/>
                </a:cubicBezTo>
                <a:cubicBezTo>
                  <a:pt x="17" y="10"/>
                  <a:pt x="17" y="10"/>
                  <a:pt x="17" y="10"/>
                </a:cubicBezTo>
                <a:cubicBezTo>
                  <a:pt x="19" y="10"/>
                  <a:pt x="19" y="10"/>
                  <a:pt x="19" y="10"/>
                </a:cubicBezTo>
                <a:cubicBezTo>
                  <a:pt x="19" y="5"/>
                  <a:pt x="15" y="0"/>
                  <a:pt x="9" y="0"/>
                </a:cubicBezTo>
                <a:cubicBezTo>
                  <a:pt x="4" y="0"/>
                  <a:pt x="0" y="5"/>
                  <a:pt x="0" y="10"/>
                </a:cubicBezTo>
                <a:cubicBezTo>
                  <a:pt x="0" y="15"/>
                  <a:pt x="4" y="20"/>
                  <a:pt x="9" y="20"/>
                </a:cubicBezTo>
                <a:cubicBezTo>
                  <a:pt x="15" y="20"/>
                  <a:pt x="19" y="15"/>
                  <a:pt x="19" y="10"/>
                </a:cubicBezTo>
                <a:lnTo>
                  <a:pt x="17" y="10"/>
                </a:lnTo>
                <a:close/>
              </a:path>
            </a:pathLst>
          </a:custGeom>
          <a:solidFill>
            <a:srgbClr val="FFE9B3"/>
          </a:solidFill>
          <a:ln>
            <a:noFill/>
          </a:ln>
        </p:spPr>
        <p:txBody>
          <a:bodyPr anchor="ctr"/>
          <a:lstStyle/>
          <a:p>
            <a:pPr algn="ctr"/>
            <a:endParaRPr/>
          </a:p>
        </p:txBody>
      </p:sp>
      <p:sp>
        <p:nvSpPr>
          <p:cNvPr id="38" name="íṥlïdè">
            <a:extLst>
              <a:ext uri="{FF2B5EF4-FFF2-40B4-BE49-F238E27FC236}">
                <a16:creationId xmlns:a16="http://schemas.microsoft.com/office/drawing/2014/main" id="{86D0FAB4-1B5E-4B61-A854-EDEEC31D3724}"/>
              </a:ext>
            </a:extLst>
          </p:cNvPr>
          <p:cNvSpPr/>
          <p:nvPr/>
        </p:nvSpPr>
        <p:spPr bwMode="auto">
          <a:xfrm>
            <a:off x="6721197" y="2305743"/>
            <a:ext cx="380080" cy="380080"/>
          </a:xfrm>
          <a:custGeom>
            <a:gdLst>
              <a:gd fmla="*/ 32 w 34" name="T0"/>
              <a:gd fmla="*/ 17 h 34" name="T1"/>
              <a:gd fmla="*/ 30 w 34" name="T2"/>
              <a:gd fmla="*/ 17 h 34" name="T3"/>
              <a:gd fmla="*/ 17 w 34" name="T4"/>
              <a:gd fmla="*/ 30 h 34" name="T5"/>
              <a:gd fmla="*/ 4 w 34" name="T6"/>
              <a:gd fmla="*/ 17 h 34" name="T7"/>
              <a:gd fmla="*/ 17 w 34" name="T8"/>
              <a:gd fmla="*/ 4 h 34" name="T9"/>
              <a:gd fmla="*/ 30 w 34" name="T10"/>
              <a:gd fmla="*/ 17 h 34" name="T11"/>
              <a:gd fmla="*/ 32 w 34" name="T12"/>
              <a:gd fmla="*/ 17 h 34" name="T13"/>
              <a:gd fmla="*/ 34 w 34" name="T14"/>
              <a:gd fmla="*/ 17 h 34" name="T15"/>
              <a:gd fmla="*/ 17 w 34" name="T16"/>
              <a:gd fmla="*/ 0 h 34" name="T17"/>
              <a:gd fmla="*/ 0 w 34" name="T18"/>
              <a:gd fmla="*/ 17 h 34" name="T19"/>
              <a:gd fmla="*/ 17 w 34" name="T20"/>
              <a:gd fmla="*/ 34 h 34" name="T21"/>
              <a:gd fmla="*/ 34 w 34" name="T22"/>
              <a:gd fmla="*/ 17 h 34" name="T23"/>
              <a:gd fmla="*/ 32 w 34" name="T24"/>
              <a:gd fmla="*/ 17 h 34" name="T2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b="b" l="0" r="r" t="0"/>
            <a:pathLst>
              <a:path h="34" w="34">
                <a:moveTo>
                  <a:pt x="32" y="17"/>
                </a:moveTo>
                <a:cubicBezTo>
                  <a:pt x="30" y="17"/>
                  <a:pt x="30" y="17"/>
                  <a:pt x="30" y="17"/>
                </a:cubicBezTo>
                <a:cubicBezTo>
                  <a:pt x="30" y="24"/>
                  <a:pt x="24" y="30"/>
                  <a:pt x="17" y="30"/>
                </a:cubicBezTo>
                <a:cubicBezTo>
                  <a:pt x="10" y="30"/>
                  <a:pt x="4" y="24"/>
                  <a:pt x="4" y="17"/>
                </a:cubicBezTo>
                <a:cubicBezTo>
                  <a:pt x="4" y="10"/>
                  <a:pt x="10" y="4"/>
                  <a:pt x="17" y="4"/>
                </a:cubicBezTo>
                <a:cubicBezTo>
                  <a:pt x="24" y="4"/>
                  <a:pt x="30" y="10"/>
                  <a:pt x="30" y="17"/>
                </a:cubicBezTo>
                <a:cubicBezTo>
                  <a:pt x="32" y="17"/>
                  <a:pt x="32" y="17"/>
                  <a:pt x="32" y="17"/>
                </a:cubicBezTo>
                <a:cubicBezTo>
                  <a:pt x="34" y="17"/>
                  <a:pt x="34" y="17"/>
                  <a:pt x="34" y="17"/>
                </a:cubicBezTo>
                <a:cubicBezTo>
                  <a:pt x="34" y="8"/>
                  <a:pt x="26" y="0"/>
                  <a:pt x="17" y="0"/>
                </a:cubicBezTo>
                <a:cubicBezTo>
                  <a:pt x="7" y="0"/>
                  <a:pt x="0" y="8"/>
                  <a:pt x="0" y="17"/>
                </a:cubicBezTo>
                <a:cubicBezTo>
                  <a:pt x="0" y="27"/>
                  <a:pt x="7" y="34"/>
                  <a:pt x="17" y="34"/>
                </a:cubicBezTo>
                <a:cubicBezTo>
                  <a:pt x="26" y="34"/>
                  <a:pt x="34" y="27"/>
                  <a:pt x="34" y="17"/>
                </a:cubicBezTo>
                <a:lnTo>
                  <a:pt x="32" y="17"/>
                </a:lnTo>
                <a:close/>
              </a:path>
            </a:pathLst>
          </a:custGeom>
          <a:solidFill>
            <a:srgbClr val="A0CBD0"/>
          </a:solidFill>
          <a:ln>
            <a:noFill/>
          </a:ln>
        </p:spPr>
        <p:txBody>
          <a:bodyPr anchor="ctr"/>
          <a:lstStyle/>
          <a:p>
            <a:pPr algn="ctr"/>
            <a:endParaRPr/>
          </a:p>
        </p:txBody>
      </p:sp>
      <p:sp>
        <p:nvSpPr>
          <p:cNvPr id="39" name="ïSliḍê">
            <a:extLst>
              <a:ext uri="{FF2B5EF4-FFF2-40B4-BE49-F238E27FC236}">
                <a16:creationId xmlns:a16="http://schemas.microsoft.com/office/drawing/2014/main" id="{961D958F-18F0-4FE9-86A8-23399B0C3AA4}"/>
              </a:ext>
            </a:extLst>
          </p:cNvPr>
          <p:cNvSpPr/>
          <p:nvPr/>
        </p:nvSpPr>
        <p:spPr bwMode="auto">
          <a:xfrm>
            <a:off x="606778" y="5597369"/>
            <a:ext cx="222312" cy="229481"/>
          </a:xfrm>
          <a:custGeom>
            <a:gdLst>
              <a:gd fmla="*/ 0 w 20" name="T0"/>
              <a:gd fmla="*/ 4 h 20" name="T1"/>
              <a:gd fmla="*/ 16 w 20" name="T2"/>
              <a:gd fmla="*/ 20 h 20" name="T3"/>
              <a:gd fmla="*/ 19 w 20" name="T4"/>
              <a:gd fmla="*/ 20 h 20" name="T5"/>
              <a:gd fmla="*/ 19 w 20" name="T6"/>
              <a:gd fmla="*/ 17 h 20" name="T7"/>
              <a:gd fmla="*/ 3 w 20" name="T8"/>
              <a:gd fmla="*/ 1 h 20" name="T9"/>
              <a:gd fmla="*/ 0 w 20" name="T10"/>
              <a:gd fmla="*/ 1 h 20" name="T11"/>
              <a:gd fmla="*/ 0 w 20" name="T12"/>
              <a:gd fmla="*/ 4 h 20" name="T13"/>
            </a:gdLst>
            <a:cxnLst>
              <a:cxn ang="0">
                <a:pos x="T0" y="T1"/>
              </a:cxn>
              <a:cxn ang="0">
                <a:pos x="T2" y="T3"/>
              </a:cxn>
              <a:cxn ang="0">
                <a:pos x="T4" y="T5"/>
              </a:cxn>
              <a:cxn ang="0">
                <a:pos x="T6" y="T7"/>
              </a:cxn>
              <a:cxn ang="0">
                <a:pos x="T8" y="T9"/>
              </a:cxn>
              <a:cxn ang="0">
                <a:pos x="T10" y="T11"/>
              </a:cxn>
              <a:cxn ang="0">
                <a:pos x="T12" y="T13"/>
              </a:cxn>
            </a:cxnLst>
            <a:rect b="b" l="0" r="r" t="0"/>
            <a:pathLst>
              <a:path h="20" w="20">
                <a:moveTo>
                  <a:pt x="0" y="4"/>
                </a:moveTo>
                <a:cubicBezTo>
                  <a:pt x="16" y="20"/>
                  <a:pt x="16" y="20"/>
                  <a:pt x="16" y="20"/>
                </a:cubicBezTo>
                <a:cubicBezTo>
                  <a:pt x="17" y="20"/>
                  <a:pt x="19" y="20"/>
                  <a:pt x="19" y="20"/>
                </a:cubicBezTo>
                <a:cubicBezTo>
                  <a:pt x="20" y="19"/>
                  <a:pt x="20" y="18"/>
                  <a:pt x="19" y="17"/>
                </a:cubicBezTo>
                <a:cubicBezTo>
                  <a:pt x="3" y="1"/>
                  <a:pt x="3" y="1"/>
                  <a:pt x="3" y="1"/>
                </a:cubicBezTo>
                <a:cubicBezTo>
                  <a:pt x="2" y="0"/>
                  <a:pt x="1" y="0"/>
                  <a:pt x="0" y="1"/>
                </a:cubicBezTo>
                <a:cubicBezTo>
                  <a:pt x="0" y="2"/>
                  <a:pt x="0" y="3"/>
                  <a:pt x="0" y="4"/>
                </a:cubicBezTo>
              </a:path>
            </a:pathLst>
          </a:custGeom>
          <a:solidFill>
            <a:srgbClr val="FFB9BE"/>
          </a:solidFill>
          <a:ln>
            <a:noFill/>
          </a:ln>
        </p:spPr>
        <p:txBody>
          <a:bodyPr anchor="ctr"/>
          <a:lstStyle/>
          <a:p>
            <a:pPr algn="ctr"/>
            <a:endParaRPr/>
          </a:p>
        </p:txBody>
      </p:sp>
      <p:sp>
        <p:nvSpPr>
          <p:cNvPr id="40" name="îŝḷíḍé">
            <a:extLst>
              <a:ext uri="{FF2B5EF4-FFF2-40B4-BE49-F238E27FC236}">
                <a16:creationId xmlns:a16="http://schemas.microsoft.com/office/drawing/2014/main" id="{909D315F-E929-4C9D-A64A-76C923526CDB}"/>
              </a:ext>
            </a:extLst>
          </p:cNvPr>
          <p:cNvSpPr/>
          <p:nvPr/>
        </p:nvSpPr>
        <p:spPr bwMode="auto">
          <a:xfrm>
            <a:off x="606778" y="5597369"/>
            <a:ext cx="222312" cy="229481"/>
          </a:xfrm>
          <a:custGeom>
            <a:gdLst>
              <a:gd fmla="*/ 3 w 20" name="T0"/>
              <a:gd fmla="*/ 20 h 20" name="T1"/>
              <a:gd fmla="*/ 19 w 20" name="T2"/>
              <a:gd fmla="*/ 4 h 20" name="T3"/>
              <a:gd fmla="*/ 19 w 20" name="T4"/>
              <a:gd fmla="*/ 1 h 20" name="T5"/>
              <a:gd fmla="*/ 16 w 20" name="T6"/>
              <a:gd fmla="*/ 1 h 20" name="T7"/>
              <a:gd fmla="*/ 0 w 20" name="T8"/>
              <a:gd fmla="*/ 17 h 20" name="T9"/>
              <a:gd fmla="*/ 0 w 20" name="T10"/>
              <a:gd fmla="*/ 20 h 20" name="T11"/>
              <a:gd fmla="*/ 3 w 20" name="T12"/>
              <a:gd fmla="*/ 20 h 20" name="T13"/>
            </a:gdLst>
            <a:cxnLst>
              <a:cxn ang="0">
                <a:pos x="T0" y="T1"/>
              </a:cxn>
              <a:cxn ang="0">
                <a:pos x="T2" y="T3"/>
              </a:cxn>
              <a:cxn ang="0">
                <a:pos x="T4" y="T5"/>
              </a:cxn>
              <a:cxn ang="0">
                <a:pos x="T6" y="T7"/>
              </a:cxn>
              <a:cxn ang="0">
                <a:pos x="T8" y="T9"/>
              </a:cxn>
              <a:cxn ang="0">
                <a:pos x="T10" y="T11"/>
              </a:cxn>
              <a:cxn ang="0">
                <a:pos x="T12" y="T13"/>
              </a:cxn>
            </a:cxnLst>
            <a:rect b="b" l="0" r="r" t="0"/>
            <a:pathLst>
              <a:path h="20" w="20">
                <a:moveTo>
                  <a:pt x="3" y="20"/>
                </a:moveTo>
                <a:cubicBezTo>
                  <a:pt x="19" y="4"/>
                  <a:pt x="19" y="4"/>
                  <a:pt x="19" y="4"/>
                </a:cubicBezTo>
                <a:cubicBezTo>
                  <a:pt x="20" y="3"/>
                  <a:pt x="20" y="2"/>
                  <a:pt x="19" y="1"/>
                </a:cubicBezTo>
                <a:cubicBezTo>
                  <a:pt x="19" y="0"/>
                  <a:pt x="17" y="0"/>
                  <a:pt x="16" y="1"/>
                </a:cubicBezTo>
                <a:cubicBezTo>
                  <a:pt x="0" y="17"/>
                  <a:pt x="0" y="17"/>
                  <a:pt x="0" y="17"/>
                </a:cubicBezTo>
                <a:cubicBezTo>
                  <a:pt x="0" y="18"/>
                  <a:pt x="0" y="19"/>
                  <a:pt x="0" y="20"/>
                </a:cubicBezTo>
                <a:cubicBezTo>
                  <a:pt x="1" y="20"/>
                  <a:pt x="2" y="20"/>
                  <a:pt x="3" y="20"/>
                </a:cubicBezTo>
              </a:path>
            </a:pathLst>
          </a:custGeom>
          <a:solidFill>
            <a:srgbClr val="FFB9BE"/>
          </a:solidFill>
          <a:ln>
            <a:noFill/>
          </a:ln>
        </p:spPr>
        <p:txBody>
          <a:bodyPr anchor="ctr"/>
          <a:lstStyle/>
          <a:p>
            <a:pPr algn="ctr"/>
            <a:endParaRPr/>
          </a:p>
        </p:txBody>
      </p:sp>
      <p:sp>
        <p:nvSpPr>
          <p:cNvPr id="41" name="î$ḻïḍè">
            <a:extLst>
              <a:ext uri="{FF2B5EF4-FFF2-40B4-BE49-F238E27FC236}">
                <a16:creationId xmlns:a16="http://schemas.microsoft.com/office/drawing/2014/main" id="{CA1B3BC6-EDF0-48C3-8E97-5C46CE2FE6B8}"/>
              </a:ext>
            </a:extLst>
          </p:cNvPr>
          <p:cNvSpPr/>
          <p:nvPr/>
        </p:nvSpPr>
        <p:spPr bwMode="auto">
          <a:xfrm>
            <a:off x="951001" y="4930436"/>
            <a:ext cx="222312" cy="207970"/>
          </a:xfrm>
          <a:custGeom>
            <a:gdLst>
              <a:gd fmla="*/ 10 w 20" name="T0"/>
              <a:gd fmla="*/ 2 h 19" name="T1"/>
              <a:gd fmla="*/ 10 w 20" name="T2"/>
              <a:gd fmla="*/ 0 h 19" name="T3"/>
              <a:gd fmla="*/ 0 w 20" name="T4"/>
              <a:gd fmla="*/ 9 h 19" name="T5"/>
              <a:gd fmla="*/ 10 w 20" name="T6"/>
              <a:gd fmla="*/ 19 h 19" name="T7"/>
              <a:gd fmla="*/ 20 w 20" name="T8"/>
              <a:gd fmla="*/ 9 h 19" name="T9"/>
              <a:gd fmla="*/ 10 w 20" name="T10"/>
              <a:gd fmla="*/ 0 h 19" name="T11"/>
              <a:gd fmla="*/ 10 w 20" name="T12"/>
              <a:gd fmla="*/ 2 h 19" name="T13"/>
              <a:gd fmla="*/ 10 w 20" name="T14"/>
              <a:gd fmla="*/ 4 h 19" name="T15"/>
              <a:gd fmla="*/ 16 w 20" name="T16"/>
              <a:gd fmla="*/ 9 h 19" name="T17"/>
              <a:gd fmla="*/ 10 w 20" name="T18"/>
              <a:gd fmla="*/ 15 h 19" name="T19"/>
              <a:gd fmla="*/ 4 w 20" name="T20"/>
              <a:gd fmla="*/ 9 h 19" name="T21"/>
              <a:gd fmla="*/ 10 w 20" name="T22"/>
              <a:gd fmla="*/ 4 h 19" name="T23"/>
              <a:gd fmla="*/ 10 w 20" name="T24"/>
              <a:gd fmla="*/ 2 h 19" name="T2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b="b" l="0" r="r" t="0"/>
            <a:pathLst>
              <a:path h="19" w="20">
                <a:moveTo>
                  <a:pt x="10" y="2"/>
                </a:moveTo>
                <a:cubicBezTo>
                  <a:pt x="10" y="0"/>
                  <a:pt x="10" y="0"/>
                  <a:pt x="10" y="0"/>
                </a:cubicBezTo>
                <a:cubicBezTo>
                  <a:pt x="5" y="0"/>
                  <a:pt x="0" y="4"/>
                  <a:pt x="0" y="9"/>
                </a:cubicBezTo>
                <a:cubicBezTo>
                  <a:pt x="0" y="15"/>
                  <a:pt x="5" y="19"/>
                  <a:pt x="10" y="19"/>
                </a:cubicBezTo>
                <a:cubicBezTo>
                  <a:pt x="15" y="19"/>
                  <a:pt x="20" y="15"/>
                  <a:pt x="20" y="9"/>
                </a:cubicBezTo>
                <a:cubicBezTo>
                  <a:pt x="20" y="4"/>
                  <a:pt x="15" y="0"/>
                  <a:pt x="10" y="0"/>
                </a:cubicBezTo>
                <a:cubicBezTo>
                  <a:pt x="10" y="2"/>
                  <a:pt x="10" y="2"/>
                  <a:pt x="10" y="2"/>
                </a:cubicBezTo>
                <a:cubicBezTo>
                  <a:pt x="10" y="4"/>
                  <a:pt x="10" y="4"/>
                  <a:pt x="10" y="4"/>
                </a:cubicBezTo>
                <a:cubicBezTo>
                  <a:pt x="13" y="4"/>
                  <a:pt x="16" y="6"/>
                  <a:pt x="16" y="9"/>
                </a:cubicBezTo>
                <a:cubicBezTo>
                  <a:pt x="16" y="12"/>
                  <a:pt x="13" y="15"/>
                  <a:pt x="10" y="15"/>
                </a:cubicBezTo>
                <a:cubicBezTo>
                  <a:pt x="7" y="15"/>
                  <a:pt x="4" y="12"/>
                  <a:pt x="4" y="9"/>
                </a:cubicBezTo>
                <a:cubicBezTo>
                  <a:pt x="4" y="6"/>
                  <a:pt x="7" y="4"/>
                  <a:pt x="10" y="4"/>
                </a:cubicBezTo>
                <a:lnTo>
                  <a:pt x="10" y="2"/>
                </a:lnTo>
                <a:close/>
              </a:path>
            </a:pathLst>
          </a:custGeom>
          <a:solidFill>
            <a:srgbClr val="FFB9BE"/>
          </a:solidFill>
          <a:ln>
            <a:noFill/>
          </a:ln>
        </p:spPr>
        <p:txBody>
          <a:bodyPr anchor="ctr"/>
          <a:lstStyle/>
          <a:p>
            <a:pPr algn="ctr"/>
            <a:endParaRPr/>
          </a:p>
        </p:txBody>
      </p:sp>
      <p:sp>
        <p:nvSpPr>
          <p:cNvPr id="42" name="ísľidê">
            <a:extLst>
              <a:ext uri="{FF2B5EF4-FFF2-40B4-BE49-F238E27FC236}">
                <a16:creationId xmlns:a16="http://schemas.microsoft.com/office/drawing/2014/main" id="{38B2E5CA-B4B2-4197-B5BC-6FCBB626E98E}"/>
              </a:ext>
            </a:extLst>
          </p:cNvPr>
          <p:cNvSpPr/>
          <p:nvPr/>
        </p:nvSpPr>
        <p:spPr bwMode="auto">
          <a:xfrm>
            <a:off x="1209167" y="5955936"/>
            <a:ext cx="301194" cy="308367"/>
          </a:xfrm>
          <a:custGeom>
            <a:gdLst>
              <a:gd fmla="*/ 13 w 27" name="T0"/>
              <a:gd fmla="*/ 2 h 27" name="T1"/>
              <a:gd fmla="*/ 13 w 27" name="T2"/>
              <a:gd fmla="*/ 0 h 27" name="T3"/>
              <a:gd fmla="*/ 0 w 27" name="T4"/>
              <a:gd fmla="*/ 13 h 27" name="T5"/>
              <a:gd fmla="*/ 13 w 27" name="T6"/>
              <a:gd fmla="*/ 27 h 27" name="T7"/>
              <a:gd fmla="*/ 27 w 27" name="T8"/>
              <a:gd fmla="*/ 13 h 27" name="T9"/>
              <a:gd fmla="*/ 13 w 27" name="T10"/>
              <a:gd fmla="*/ 0 h 27" name="T11"/>
              <a:gd fmla="*/ 13 w 27" name="T12"/>
              <a:gd fmla="*/ 2 h 27" name="T13"/>
              <a:gd fmla="*/ 13 w 27" name="T14"/>
              <a:gd fmla="*/ 4 h 27" name="T15"/>
              <a:gd fmla="*/ 23 w 27" name="T16"/>
              <a:gd fmla="*/ 13 h 27" name="T17"/>
              <a:gd fmla="*/ 13 w 27" name="T18"/>
              <a:gd fmla="*/ 23 h 27" name="T19"/>
              <a:gd fmla="*/ 4 w 27" name="T20"/>
              <a:gd fmla="*/ 13 h 27" name="T21"/>
              <a:gd fmla="*/ 13 w 27" name="T22"/>
              <a:gd fmla="*/ 4 h 27" name="T23"/>
              <a:gd fmla="*/ 13 w 27" name="T24"/>
              <a:gd fmla="*/ 2 h 27" name="T2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b="b" l="0" r="r" t="0"/>
            <a:pathLst>
              <a:path h="27" w="27">
                <a:moveTo>
                  <a:pt x="13" y="2"/>
                </a:moveTo>
                <a:cubicBezTo>
                  <a:pt x="13" y="0"/>
                  <a:pt x="13" y="0"/>
                  <a:pt x="13" y="0"/>
                </a:cubicBezTo>
                <a:cubicBezTo>
                  <a:pt x="6" y="0"/>
                  <a:pt x="0" y="6"/>
                  <a:pt x="0" y="13"/>
                </a:cubicBezTo>
                <a:cubicBezTo>
                  <a:pt x="0" y="21"/>
                  <a:pt x="6" y="27"/>
                  <a:pt x="13" y="27"/>
                </a:cubicBezTo>
                <a:cubicBezTo>
                  <a:pt x="21" y="27"/>
                  <a:pt x="27" y="21"/>
                  <a:pt x="27" y="13"/>
                </a:cubicBezTo>
                <a:cubicBezTo>
                  <a:pt x="27" y="6"/>
                  <a:pt x="21" y="0"/>
                  <a:pt x="13" y="0"/>
                </a:cubicBezTo>
                <a:cubicBezTo>
                  <a:pt x="13" y="2"/>
                  <a:pt x="13" y="2"/>
                  <a:pt x="13" y="2"/>
                </a:cubicBezTo>
                <a:cubicBezTo>
                  <a:pt x="13" y="4"/>
                  <a:pt x="13" y="4"/>
                  <a:pt x="13" y="4"/>
                </a:cubicBezTo>
                <a:cubicBezTo>
                  <a:pt x="19" y="4"/>
                  <a:pt x="23" y="8"/>
                  <a:pt x="23" y="13"/>
                </a:cubicBezTo>
                <a:cubicBezTo>
                  <a:pt x="23" y="19"/>
                  <a:pt x="19" y="23"/>
                  <a:pt x="13" y="23"/>
                </a:cubicBezTo>
                <a:cubicBezTo>
                  <a:pt x="8" y="23"/>
                  <a:pt x="4" y="19"/>
                  <a:pt x="4" y="13"/>
                </a:cubicBezTo>
                <a:cubicBezTo>
                  <a:pt x="4" y="8"/>
                  <a:pt x="8" y="4"/>
                  <a:pt x="13" y="4"/>
                </a:cubicBezTo>
                <a:lnTo>
                  <a:pt x="13" y="2"/>
                </a:lnTo>
                <a:close/>
              </a:path>
            </a:pathLst>
          </a:custGeom>
          <a:solidFill>
            <a:srgbClr val="FFE9B3"/>
          </a:solidFill>
          <a:ln>
            <a:noFill/>
          </a:ln>
        </p:spPr>
        <p:txBody>
          <a:bodyPr anchor="ctr"/>
          <a:lstStyle/>
          <a:p>
            <a:pPr algn="ctr"/>
            <a:endParaRPr/>
          </a:p>
        </p:txBody>
      </p:sp>
      <p:sp>
        <p:nvSpPr>
          <p:cNvPr id="43" name="išḷîḑê">
            <a:extLst>
              <a:ext uri="{FF2B5EF4-FFF2-40B4-BE49-F238E27FC236}">
                <a16:creationId xmlns:a16="http://schemas.microsoft.com/office/drawing/2014/main" id="{33D559DE-C13B-414D-8978-1A4B3C3F42BB}"/>
              </a:ext>
            </a:extLst>
          </p:cNvPr>
          <p:cNvSpPr/>
          <p:nvPr/>
        </p:nvSpPr>
        <p:spPr bwMode="auto">
          <a:xfrm>
            <a:off x="6337094" y="1957934"/>
            <a:ext cx="222312" cy="222312"/>
          </a:xfrm>
          <a:custGeom>
            <a:gdLst>
              <a:gd fmla="*/ 20 w 20" name="T0"/>
              <a:gd fmla="*/ 17 h 20" name="T1"/>
              <a:gd fmla="*/ 4 w 20" name="T2"/>
              <a:gd fmla="*/ 0 h 20" name="T3"/>
              <a:gd fmla="*/ 1 w 20" name="T4"/>
              <a:gd fmla="*/ 0 h 20" name="T5"/>
              <a:gd fmla="*/ 1 w 20" name="T6"/>
              <a:gd fmla="*/ 3 h 20" name="T7"/>
              <a:gd fmla="*/ 17 w 20" name="T8"/>
              <a:gd fmla="*/ 19 h 20" name="T9"/>
              <a:gd fmla="*/ 20 w 20" name="T10"/>
              <a:gd fmla="*/ 19 h 20" name="T11"/>
              <a:gd fmla="*/ 20 w 20" name="T12"/>
              <a:gd fmla="*/ 17 h 20" name="T13"/>
            </a:gdLst>
            <a:cxnLst>
              <a:cxn ang="0">
                <a:pos x="T0" y="T1"/>
              </a:cxn>
              <a:cxn ang="0">
                <a:pos x="T2" y="T3"/>
              </a:cxn>
              <a:cxn ang="0">
                <a:pos x="T4" y="T5"/>
              </a:cxn>
              <a:cxn ang="0">
                <a:pos x="T6" y="T7"/>
              </a:cxn>
              <a:cxn ang="0">
                <a:pos x="T8" y="T9"/>
              </a:cxn>
              <a:cxn ang="0">
                <a:pos x="T10" y="T11"/>
              </a:cxn>
              <a:cxn ang="0">
                <a:pos x="T12" y="T13"/>
              </a:cxn>
            </a:cxnLst>
            <a:rect b="b" l="0" r="r" t="0"/>
            <a:pathLst>
              <a:path h="20" w="20">
                <a:moveTo>
                  <a:pt x="20" y="17"/>
                </a:moveTo>
                <a:cubicBezTo>
                  <a:pt x="4" y="0"/>
                  <a:pt x="4" y="0"/>
                  <a:pt x="4" y="0"/>
                </a:cubicBezTo>
                <a:cubicBezTo>
                  <a:pt x="3" y="0"/>
                  <a:pt x="2" y="0"/>
                  <a:pt x="1" y="0"/>
                </a:cubicBezTo>
                <a:cubicBezTo>
                  <a:pt x="0" y="1"/>
                  <a:pt x="0" y="3"/>
                  <a:pt x="1" y="3"/>
                </a:cubicBezTo>
                <a:cubicBezTo>
                  <a:pt x="17" y="19"/>
                  <a:pt x="17" y="19"/>
                  <a:pt x="17" y="19"/>
                </a:cubicBezTo>
                <a:cubicBezTo>
                  <a:pt x="18" y="20"/>
                  <a:pt x="19" y="20"/>
                  <a:pt x="20" y="19"/>
                </a:cubicBezTo>
                <a:cubicBezTo>
                  <a:pt x="20" y="19"/>
                  <a:pt x="20" y="17"/>
                  <a:pt x="20" y="17"/>
                </a:cubicBezTo>
              </a:path>
            </a:pathLst>
          </a:custGeom>
          <a:solidFill>
            <a:srgbClr val="A0CBD0"/>
          </a:solidFill>
          <a:ln>
            <a:noFill/>
          </a:ln>
        </p:spPr>
        <p:txBody>
          <a:bodyPr anchor="ctr"/>
          <a:lstStyle/>
          <a:p>
            <a:pPr algn="ctr"/>
            <a:endParaRPr/>
          </a:p>
        </p:txBody>
      </p:sp>
      <p:sp>
        <p:nvSpPr>
          <p:cNvPr id="44" name="îṣľîḓe">
            <a:extLst>
              <a:ext uri="{FF2B5EF4-FFF2-40B4-BE49-F238E27FC236}">
                <a16:creationId xmlns:a16="http://schemas.microsoft.com/office/drawing/2014/main" id="{429965F7-3A4C-46D1-974D-4F25769F66C4}"/>
              </a:ext>
            </a:extLst>
          </p:cNvPr>
          <p:cNvSpPr/>
          <p:nvPr/>
        </p:nvSpPr>
        <p:spPr bwMode="auto">
          <a:xfrm>
            <a:off x="6337094" y="1957934"/>
            <a:ext cx="222312" cy="222312"/>
          </a:xfrm>
          <a:custGeom>
            <a:gdLst>
              <a:gd fmla="*/ 4 w 20" name="T0"/>
              <a:gd fmla="*/ 19 h 20" name="T1"/>
              <a:gd fmla="*/ 20 w 20" name="T2"/>
              <a:gd fmla="*/ 3 h 20" name="T3"/>
              <a:gd fmla="*/ 20 w 20" name="T4"/>
              <a:gd fmla="*/ 0 h 20" name="T5"/>
              <a:gd fmla="*/ 17 w 20" name="T6"/>
              <a:gd fmla="*/ 0 h 20" name="T7"/>
              <a:gd fmla="*/ 1 w 20" name="T8"/>
              <a:gd fmla="*/ 17 h 20" name="T9"/>
              <a:gd fmla="*/ 1 w 20" name="T10"/>
              <a:gd fmla="*/ 19 h 20" name="T11"/>
              <a:gd fmla="*/ 4 w 20" name="T12"/>
              <a:gd fmla="*/ 19 h 20" name="T13"/>
            </a:gdLst>
            <a:cxnLst>
              <a:cxn ang="0">
                <a:pos x="T0" y="T1"/>
              </a:cxn>
              <a:cxn ang="0">
                <a:pos x="T2" y="T3"/>
              </a:cxn>
              <a:cxn ang="0">
                <a:pos x="T4" y="T5"/>
              </a:cxn>
              <a:cxn ang="0">
                <a:pos x="T6" y="T7"/>
              </a:cxn>
              <a:cxn ang="0">
                <a:pos x="T8" y="T9"/>
              </a:cxn>
              <a:cxn ang="0">
                <a:pos x="T10" y="T11"/>
              </a:cxn>
              <a:cxn ang="0">
                <a:pos x="T12" y="T13"/>
              </a:cxn>
            </a:cxnLst>
            <a:rect b="b" l="0" r="r" t="0"/>
            <a:pathLst>
              <a:path h="20" w="20">
                <a:moveTo>
                  <a:pt x="4" y="19"/>
                </a:moveTo>
                <a:cubicBezTo>
                  <a:pt x="20" y="3"/>
                  <a:pt x="20" y="3"/>
                  <a:pt x="20" y="3"/>
                </a:cubicBezTo>
                <a:cubicBezTo>
                  <a:pt x="20" y="3"/>
                  <a:pt x="20" y="1"/>
                  <a:pt x="20" y="0"/>
                </a:cubicBezTo>
                <a:cubicBezTo>
                  <a:pt x="19" y="0"/>
                  <a:pt x="18" y="0"/>
                  <a:pt x="17" y="0"/>
                </a:cubicBezTo>
                <a:cubicBezTo>
                  <a:pt x="1" y="17"/>
                  <a:pt x="1" y="17"/>
                  <a:pt x="1" y="17"/>
                </a:cubicBezTo>
                <a:cubicBezTo>
                  <a:pt x="0" y="17"/>
                  <a:pt x="0" y="19"/>
                  <a:pt x="1" y="19"/>
                </a:cubicBezTo>
                <a:cubicBezTo>
                  <a:pt x="2" y="20"/>
                  <a:pt x="3" y="20"/>
                  <a:pt x="4" y="19"/>
                </a:cubicBezTo>
              </a:path>
            </a:pathLst>
          </a:custGeom>
          <a:solidFill>
            <a:srgbClr val="A0CBD0"/>
          </a:solidFill>
          <a:ln>
            <a:noFill/>
          </a:ln>
        </p:spPr>
        <p:txBody>
          <a:bodyPr anchor="ctr"/>
          <a:lstStyle/>
          <a:p>
            <a:pPr algn="ctr"/>
            <a:endParaRPr/>
          </a:p>
        </p:txBody>
      </p:sp>
      <p:grpSp>
        <p:nvGrpSpPr>
          <p:cNvPr id="115" name="组合 114">
            <a:extLst>
              <a:ext uri="{FF2B5EF4-FFF2-40B4-BE49-F238E27FC236}">
                <a16:creationId xmlns:a16="http://schemas.microsoft.com/office/drawing/2014/main" id="{DB612E29-7B80-4316-A42D-BCF8D276650F}"/>
              </a:ext>
            </a:extLst>
          </p:cNvPr>
          <p:cNvGrpSpPr/>
          <p:nvPr/>
        </p:nvGrpSpPr>
        <p:grpSpPr>
          <a:xfrm>
            <a:off x="1324351" y="2481441"/>
            <a:ext cx="5457363" cy="3399198"/>
            <a:chOff x="1324351" y="2481441"/>
            <a:chExt cx="5457363" cy="3399198"/>
          </a:xfrm>
        </p:grpSpPr>
        <p:grpSp>
          <p:nvGrpSpPr>
            <p:cNvPr id="91" name="组合 90">
              <a:extLst>
                <a:ext uri="{FF2B5EF4-FFF2-40B4-BE49-F238E27FC236}">
                  <a16:creationId xmlns:a16="http://schemas.microsoft.com/office/drawing/2014/main" id="{0229ADC3-7C62-4B97-96B6-7DD22B84C694}"/>
                </a:ext>
              </a:extLst>
            </p:cNvPr>
            <p:cNvGrpSpPr/>
            <p:nvPr/>
          </p:nvGrpSpPr>
          <p:grpSpPr>
            <a:xfrm>
              <a:off x="1324351" y="2481441"/>
              <a:ext cx="5457363" cy="3399198"/>
              <a:chOff x="1324351" y="2481441"/>
              <a:chExt cx="5457363" cy="3399198"/>
            </a:xfrm>
          </p:grpSpPr>
          <p:sp>
            <p:nvSpPr>
              <p:cNvPr id="61" name="iṧliḓe">
                <a:extLst>
                  <a:ext uri="{FF2B5EF4-FFF2-40B4-BE49-F238E27FC236}">
                    <a16:creationId xmlns:a16="http://schemas.microsoft.com/office/drawing/2014/main" id="{B9D45D8B-F8A8-40B6-BAA2-47E2E6B522B4}"/>
                  </a:ext>
                </a:extLst>
              </p:cNvPr>
              <p:cNvSpPr/>
              <p:nvPr/>
            </p:nvSpPr>
            <p:spPr bwMode="auto">
              <a:xfrm>
                <a:off x="1424749" y="2481441"/>
                <a:ext cx="5235052" cy="3191232"/>
              </a:xfrm>
              <a:custGeom>
                <a:gdLst>
                  <a:gd fmla="*/ 451 w 467" name="T0"/>
                  <a:gd fmla="*/ 285 h 285" name="T1"/>
                  <a:gd fmla="*/ 16 w 467" name="T2"/>
                  <a:gd fmla="*/ 285 h 285" name="T3"/>
                  <a:gd fmla="*/ 0 w 467" name="T4"/>
                  <a:gd fmla="*/ 269 h 285" name="T5"/>
                  <a:gd fmla="*/ 0 w 467" name="T6"/>
                  <a:gd fmla="*/ 16 h 285" name="T7"/>
                  <a:gd fmla="*/ 16 w 467" name="T8"/>
                  <a:gd fmla="*/ 0 h 285" name="T9"/>
                  <a:gd fmla="*/ 451 w 467" name="T10"/>
                  <a:gd fmla="*/ 0 h 285" name="T11"/>
                  <a:gd fmla="*/ 467 w 467" name="T12"/>
                  <a:gd fmla="*/ 16 h 285" name="T13"/>
                  <a:gd fmla="*/ 467 w 467" name="T14"/>
                  <a:gd fmla="*/ 269 h 285" name="T15"/>
                  <a:gd fmla="*/ 451 w 467" name="T16"/>
                  <a:gd fmla="*/ 285 h 285" name="T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b="b" l="0" r="r" t="0"/>
                <a:pathLst>
                  <a:path h="285" w="467">
                    <a:moveTo>
                      <a:pt x="451" y="285"/>
                    </a:moveTo>
                    <a:cubicBezTo>
                      <a:pt x="16" y="285"/>
                      <a:pt x="16" y="285"/>
                      <a:pt x="16" y="285"/>
                    </a:cubicBezTo>
                    <a:cubicBezTo>
                      <a:pt x="7" y="285"/>
                      <a:pt x="0" y="278"/>
                      <a:pt x="0" y="269"/>
                    </a:cubicBezTo>
                    <a:cubicBezTo>
                      <a:pt x="0" y="16"/>
                      <a:pt x="0" y="16"/>
                      <a:pt x="0" y="16"/>
                    </a:cubicBezTo>
                    <a:cubicBezTo>
                      <a:pt x="0" y="7"/>
                      <a:pt x="7" y="0"/>
                      <a:pt x="16" y="0"/>
                    </a:cubicBezTo>
                    <a:cubicBezTo>
                      <a:pt x="451" y="0"/>
                      <a:pt x="451" y="0"/>
                      <a:pt x="451" y="0"/>
                    </a:cubicBezTo>
                    <a:cubicBezTo>
                      <a:pt x="460" y="0"/>
                      <a:pt x="467" y="7"/>
                      <a:pt x="467" y="16"/>
                    </a:cubicBezTo>
                    <a:cubicBezTo>
                      <a:pt x="467" y="269"/>
                      <a:pt x="467" y="269"/>
                      <a:pt x="467" y="269"/>
                    </a:cubicBezTo>
                    <a:cubicBezTo>
                      <a:pt x="467" y="278"/>
                      <a:pt x="460" y="285"/>
                      <a:pt x="451" y="285"/>
                    </a:cubicBezTo>
                  </a:path>
                </a:pathLst>
              </a:custGeom>
              <a:solidFill>
                <a:schemeClr val="tx1">
                  <a:lumMod val="75000"/>
                  <a:lumOff val="25000"/>
                </a:schemeClr>
              </a:solidFill>
              <a:ln>
                <a:noFill/>
              </a:ln>
            </p:spPr>
            <p:txBody>
              <a:bodyPr anchor="ctr"/>
              <a:lstStyle/>
              <a:p>
                <a:pPr algn="ctr"/>
                <a:endParaRPr/>
              </a:p>
            </p:txBody>
          </p:sp>
          <p:sp>
            <p:nvSpPr>
              <p:cNvPr id="62" name="îşḷíḓe">
                <a:extLst>
                  <a:ext uri="{FF2B5EF4-FFF2-40B4-BE49-F238E27FC236}">
                    <a16:creationId xmlns:a16="http://schemas.microsoft.com/office/drawing/2014/main" id="{B59988E8-76D6-4EC3-99FE-03F0B46E4C9B}"/>
                  </a:ext>
                </a:extLst>
              </p:cNvPr>
              <p:cNvSpPr/>
              <p:nvPr/>
            </p:nvSpPr>
            <p:spPr bwMode="auto">
              <a:xfrm>
                <a:off x="1324351" y="5672669"/>
                <a:ext cx="5457363" cy="207970"/>
              </a:xfrm>
              <a:custGeom>
                <a:gdLst>
                  <a:gd fmla="*/ 478 w 487" name="T0"/>
                  <a:gd fmla="*/ 0 h 18" name="T1"/>
                  <a:gd fmla="*/ 9 w 487" name="T2"/>
                  <a:gd fmla="*/ 0 h 18" name="T3"/>
                  <a:gd fmla="*/ 0 w 487" name="T4"/>
                  <a:gd fmla="*/ 9 h 18" name="T5"/>
                  <a:gd fmla="*/ 9 w 487" name="T6"/>
                  <a:gd fmla="*/ 18 h 18" name="T7"/>
                  <a:gd fmla="*/ 478 w 487" name="T8"/>
                  <a:gd fmla="*/ 18 h 18" name="T9"/>
                  <a:gd fmla="*/ 487 w 487" name="T10"/>
                  <a:gd fmla="*/ 9 h 18" name="T11"/>
                  <a:gd fmla="*/ 478 w 487" name="T12"/>
                  <a:gd fmla="*/ 0 h 18" name="T13"/>
                </a:gdLst>
                <a:cxnLst>
                  <a:cxn ang="0">
                    <a:pos x="T0" y="T1"/>
                  </a:cxn>
                  <a:cxn ang="0">
                    <a:pos x="T2" y="T3"/>
                  </a:cxn>
                  <a:cxn ang="0">
                    <a:pos x="T4" y="T5"/>
                  </a:cxn>
                  <a:cxn ang="0">
                    <a:pos x="T6" y="T7"/>
                  </a:cxn>
                  <a:cxn ang="0">
                    <a:pos x="T8" y="T9"/>
                  </a:cxn>
                  <a:cxn ang="0">
                    <a:pos x="T10" y="T11"/>
                  </a:cxn>
                  <a:cxn ang="0">
                    <a:pos x="T12" y="T13"/>
                  </a:cxn>
                </a:cxnLst>
                <a:rect b="b" l="0" r="r" t="0"/>
                <a:pathLst>
                  <a:path h="18" w="487">
                    <a:moveTo>
                      <a:pt x="478" y="0"/>
                    </a:moveTo>
                    <a:cubicBezTo>
                      <a:pt x="9" y="0"/>
                      <a:pt x="9" y="0"/>
                      <a:pt x="9" y="0"/>
                    </a:cubicBezTo>
                    <a:cubicBezTo>
                      <a:pt x="4" y="0"/>
                      <a:pt x="0" y="4"/>
                      <a:pt x="0" y="9"/>
                    </a:cubicBezTo>
                    <a:cubicBezTo>
                      <a:pt x="0" y="14"/>
                      <a:pt x="4" y="18"/>
                      <a:pt x="9" y="18"/>
                    </a:cubicBezTo>
                    <a:cubicBezTo>
                      <a:pt x="478" y="18"/>
                      <a:pt x="478" y="18"/>
                      <a:pt x="478" y="18"/>
                    </a:cubicBezTo>
                    <a:cubicBezTo>
                      <a:pt x="483" y="18"/>
                      <a:pt x="487" y="14"/>
                      <a:pt x="487" y="9"/>
                    </a:cubicBezTo>
                    <a:cubicBezTo>
                      <a:pt x="487" y="4"/>
                      <a:pt x="483" y="0"/>
                      <a:pt x="478" y="0"/>
                    </a:cubicBezTo>
                  </a:path>
                </a:pathLst>
              </a:custGeom>
              <a:solidFill>
                <a:schemeClr val="tx1">
                  <a:lumMod val="75000"/>
                  <a:lumOff val="25000"/>
                </a:schemeClr>
              </a:solidFill>
              <a:ln>
                <a:noFill/>
              </a:ln>
            </p:spPr>
            <p:txBody>
              <a:bodyPr anchor="ctr"/>
              <a:lstStyle/>
              <a:p>
                <a:pPr algn="ctr"/>
                <a:endParaRPr/>
              </a:p>
            </p:txBody>
          </p:sp>
          <p:sp>
            <p:nvSpPr>
              <p:cNvPr id="66" name="iSḷïdé">
                <a:extLst>
                  <a:ext uri="{FF2B5EF4-FFF2-40B4-BE49-F238E27FC236}">
                    <a16:creationId xmlns:a16="http://schemas.microsoft.com/office/drawing/2014/main" id="{72D095CA-CC68-417A-BC63-BBEFC41966FC}"/>
                  </a:ext>
                </a:extLst>
              </p:cNvPr>
              <p:cNvSpPr/>
              <p:nvPr/>
            </p:nvSpPr>
            <p:spPr bwMode="auto">
              <a:xfrm>
                <a:off x="6559402" y="2940404"/>
                <a:ext cx="35859" cy="853387"/>
              </a:xfrm>
              <a:custGeom>
                <a:gdLst>
                  <a:gd fmla="*/ 0 w 3" name="T0"/>
                  <a:gd fmla="*/ 1 h 76" name="T1"/>
                  <a:gd fmla="*/ 0 w 3" name="T2"/>
                  <a:gd fmla="*/ 74 h 76" name="T3"/>
                  <a:gd fmla="*/ 1 w 3" name="T4"/>
                  <a:gd fmla="*/ 76 h 76" name="T5"/>
                  <a:gd fmla="*/ 3 w 3" name="T6"/>
                  <a:gd fmla="*/ 74 h 76" name="T7"/>
                  <a:gd fmla="*/ 3 w 3" name="T8"/>
                  <a:gd fmla="*/ 1 h 76" name="T9"/>
                  <a:gd fmla="*/ 1 w 3" name="T10"/>
                  <a:gd fmla="*/ 0 h 76" name="T11"/>
                  <a:gd fmla="*/ 0 w 3" name="T12"/>
                  <a:gd fmla="*/ 1 h 76" name="T13"/>
                </a:gdLst>
                <a:cxnLst>
                  <a:cxn ang="0">
                    <a:pos x="T0" y="T1"/>
                  </a:cxn>
                  <a:cxn ang="0">
                    <a:pos x="T2" y="T3"/>
                  </a:cxn>
                  <a:cxn ang="0">
                    <a:pos x="T4" y="T5"/>
                  </a:cxn>
                  <a:cxn ang="0">
                    <a:pos x="T6" y="T7"/>
                  </a:cxn>
                  <a:cxn ang="0">
                    <a:pos x="T8" y="T9"/>
                  </a:cxn>
                  <a:cxn ang="0">
                    <a:pos x="T10" y="T11"/>
                  </a:cxn>
                  <a:cxn ang="0">
                    <a:pos x="T12" y="T13"/>
                  </a:cxn>
                </a:cxnLst>
                <a:rect b="b" l="0" r="r" t="0"/>
                <a:pathLst>
                  <a:path h="76" w="3">
                    <a:moveTo>
                      <a:pt x="0" y="1"/>
                    </a:moveTo>
                    <a:cubicBezTo>
                      <a:pt x="0" y="25"/>
                      <a:pt x="0" y="50"/>
                      <a:pt x="0" y="74"/>
                    </a:cubicBezTo>
                    <a:cubicBezTo>
                      <a:pt x="0" y="75"/>
                      <a:pt x="0" y="76"/>
                      <a:pt x="1" y="76"/>
                    </a:cubicBezTo>
                    <a:cubicBezTo>
                      <a:pt x="2" y="76"/>
                      <a:pt x="3" y="75"/>
                      <a:pt x="3" y="74"/>
                    </a:cubicBezTo>
                    <a:cubicBezTo>
                      <a:pt x="3" y="50"/>
                      <a:pt x="3" y="25"/>
                      <a:pt x="3" y="1"/>
                    </a:cubicBezTo>
                    <a:cubicBezTo>
                      <a:pt x="3" y="0"/>
                      <a:pt x="2" y="0"/>
                      <a:pt x="1" y="0"/>
                    </a:cubicBezTo>
                    <a:cubicBezTo>
                      <a:pt x="0" y="0"/>
                      <a:pt x="0" y="0"/>
                      <a:pt x="0" y="1"/>
                    </a:cubicBezTo>
                    <a:close/>
                  </a:path>
                </a:pathLst>
              </a:custGeom>
              <a:solidFill>
                <a:schemeClr val="bg1"/>
              </a:solidFill>
              <a:ln>
                <a:noFill/>
              </a:ln>
            </p:spPr>
            <p:txBody>
              <a:bodyPr anchor="ctr"/>
              <a:lstStyle/>
              <a:p>
                <a:pPr algn="ctr"/>
                <a:endParaRPr/>
              </a:p>
            </p:txBody>
          </p:sp>
          <p:sp>
            <p:nvSpPr>
              <p:cNvPr id="67" name="îṩḷîḋe">
                <a:extLst>
                  <a:ext uri="{FF2B5EF4-FFF2-40B4-BE49-F238E27FC236}">
                    <a16:creationId xmlns:a16="http://schemas.microsoft.com/office/drawing/2014/main" id="{15C807A8-D299-4006-A7CF-17A8100919F3}"/>
                  </a:ext>
                </a:extLst>
              </p:cNvPr>
              <p:cNvSpPr/>
              <p:nvPr/>
            </p:nvSpPr>
            <p:spPr bwMode="auto">
              <a:xfrm>
                <a:off x="6559402" y="2739608"/>
                <a:ext cx="35859" cy="157769"/>
              </a:xfrm>
              <a:custGeom>
                <a:gdLst>
                  <a:gd fmla="*/ 0 w 3" name="T0"/>
                  <a:gd fmla="*/ 1 h 14" name="T1"/>
                  <a:gd fmla="*/ 0 w 3" name="T2"/>
                  <a:gd fmla="*/ 12 h 14" name="T3"/>
                  <a:gd fmla="*/ 1 w 3" name="T4"/>
                  <a:gd fmla="*/ 14 h 14" name="T5"/>
                  <a:gd fmla="*/ 3 w 3" name="T6"/>
                  <a:gd fmla="*/ 12 h 14" name="T7"/>
                  <a:gd fmla="*/ 3 w 3" name="T8"/>
                  <a:gd fmla="*/ 1 h 14" name="T9"/>
                  <a:gd fmla="*/ 1 w 3" name="T10"/>
                  <a:gd fmla="*/ 0 h 14" name="T11"/>
                  <a:gd fmla="*/ 0 w 3" name="T12"/>
                  <a:gd fmla="*/ 1 h 14" name="T13"/>
                </a:gdLst>
                <a:cxnLst>
                  <a:cxn ang="0">
                    <a:pos x="T0" y="T1"/>
                  </a:cxn>
                  <a:cxn ang="0">
                    <a:pos x="T2" y="T3"/>
                  </a:cxn>
                  <a:cxn ang="0">
                    <a:pos x="T4" y="T5"/>
                  </a:cxn>
                  <a:cxn ang="0">
                    <a:pos x="T6" y="T7"/>
                  </a:cxn>
                  <a:cxn ang="0">
                    <a:pos x="T8" y="T9"/>
                  </a:cxn>
                  <a:cxn ang="0">
                    <a:pos x="T10" y="T11"/>
                  </a:cxn>
                  <a:cxn ang="0">
                    <a:pos x="T12" y="T13"/>
                  </a:cxn>
                </a:cxnLst>
                <a:rect b="b" l="0" r="r" t="0"/>
                <a:pathLst>
                  <a:path h="14" w="3">
                    <a:moveTo>
                      <a:pt x="0" y="1"/>
                    </a:moveTo>
                    <a:cubicBezTo>
                      <a:pt x="0" y="5"/>
                      <a:pt x="0" y="9"/>
                      <a:pt x="0" y="12"/>
                    </a:cubicBezTo>
                    <a:cubicBezTo>
                      <a:pt x="0" y="13"/>
                      <a:pt x="0" y="14"/>
                      <a:pt x="1" y="14"/>
                    </a:cubicBezTo>
                    <a:cubicBezTo>
                      <a:pt x="2" y="14"/>
                      <a:pt x="3" y="13"/>
                      <a:pt x="3" y="12"/>
                    </a:cubicBezTo>
                    <a:cubicBezTo>
                      <a:pt x="3" y="9"/>
                      <a:pt x="3" y="5"/>
                      <a:pt x="3" y="1"/>
                    </a:cubicBezTo>
                    <a:cubicBezTo>
                      <a:pt x="3" y="0"/>
                      <a:pt x="2" y="0"/>
                      <a:pt x="1" y="0"/>
                    </a:cubicBezTo>
                    <a:cubicBezTo>
                      <a:pt x="0" y="0"/>
                      <a:pt x="0" y="0"/>
                      <a:pt x="0" y="1"/>
                    </a:cubicBezTo>
                    <a:close/>
                  </a:path>
                </a:pathLst>
              </a:custGeom>
              <a:solidFill>
                <a:schemeClr val="bg1"/>
              </a:solidFill>
              <a:ln>
                <a:noFill/>
              </a:ln>
            </p:spPr>
            <p:txBody>
              <a:bodyPr anchor="ctr"/>
              <a:lstStyle/>
              <a:p>
                <a:pPr algn="ctr"/>
                <a:endParaRPr/>
              </a:p>
            </p:txBody>
          </p:sp>
          <p:sp>
            <p:nvSpPr>
              <p:cNvPr id="68" name="ïṡ1iďé">
                <a:extLst>
                  <a:ext uri="{FF2B5EF4-FFF2-40B4-BE49-F238E27FC236}">
                    <a16:creationId xmlns:a16="http://schemas.microsoft.com/office/drawing/2014/main" id="{DCF043BD-FA98-4CAD-80BB-8AED7BED0DAA}"/>
                  </a:ext>
                </a:extLst>
              </p:cNvPr>
              <p:cNvSpPr/>
              <p:nvPr/>
            </p:nvSpPr>
            <p:spPr bwMode="auto">
              <a:xfrm>
                <a:off x="1690089" y="5572270"/>
                <a:ext cx="846213" cy="35859"/>
              </a:xfrm>
              <a:custGeom>
                <a:gdLst>
                  <a:gd fmla="*/ 74 w 75" name="T0"/>
                  <a:gd fmla="*/ 0 h 3" name="T1"/>
                  <a:gd fmla="*/ 1 w 75" name="T2"/>
                  <a:gd fmla="*/ 0 h 3" name="T3"/>
                  <a:gd fmla="*/ 0 w 75" name="T4"/>
                  <a:gd fmla="*/ 1 h 3" name="T5"/>
                  <a:gd fmla="*/ 1 w 75" name="T6"/>
                  <a:gd fmla="*/ 3 h 3" name="T7"/>
                  <a:gd fmla="*/ 74 w 75" name="T8"/>
                  <a:gd fmla="*/ 3 h 3" name="T9"/>
                  <a:gd fmla="*/ 75 w 75" name="T10"/>
                  <a:gd fmla="*/ 1 h 3" name="T11"/>
                  <a:gd fmla="*/ 74 w 75" name="T12"/>
                  <a:gd fmla="*/ 0 h 3" name="T13"/>
                </a:gdLst>
                <a:cxnLst>
                  <a:cxn ang="0">
                    <a:pos x="T0" y="T1"/>
                  </a:cxn>
                  <a:cxn ang="0">
                    <a:pos x="T2" y="T3"/>
                  </a:cxn>
                  <a:cxn ang="0">
                    <a:pos x="T4" y="T5"/>
                  </a:cxn>
                  <a:cxn ang="0">
                    <a:pos x="T6" y="T7"/>
                  </a:cxn>
                  <a:cxn ang="0">
                    <a:pos x="T8" y="T9"/>
                  </a:cxn>
                  <a:cxn ang="0">
                    <a:pos x="T10" y="T11"/>
                  </a:cxn>
                  <a:cxn ang="0">
                    <a:pos x="T12" y="T13"/>
                  </a:cxn>
                </a:cxnLst>
                <a:rect b="b" l="0" r="r" t="0"/>
                <a:pathLst>
                  <a:path h="3" w="75">
                    <a:moveTo>
                      <a:pt x="74" y="0"/>
                    </a:moveTo>
                    <a:cubicBezTo>
                      <a:pt x="50" y="0"/>
                      <a:pt x="25" y="0"/>
                      <a:pt x="1" y="0"/>
                    </a:cubicBezTo>
                    <a:cubicBezTo>
                      <a:pt x="0" y="0"/>
                      <a:pt x="0" y="1"/>
                      <a:pt x="0" y="1"/>
                    </a:cubicBezTo>
                    <a:cubicBezTo>
                      <a:pt x="0" y="2"/>
                      <a:pt x="0" y="3"/>
                      <a:pt x="1" y="3"/>
                    </a:cubicBezTo>
                    <a:cubicBezTo>
                      <a:pt x="25" y="3"/>
                      <a:pt x="50" y="3"/>
                      <a:pt x="74" y="3"/>
                    </a:cubicBezTo>
                    <a:cubicBezTo>
                      <a:pt x="75" y="3"/>
                      <a:pt x="75" y="2"/>
                      <a:pt x="75" y="1"/>
                    </a:cubicBezTo>
                    <a:cubicBezTo>
                      <a:pt x="75" y="1"/>
                      <a:pt x="75" y="0"/>
                      <a:pt x="74" y="0"/>
                    </a:cubicBezTo>
                    <a:close/>
                  </a:path>
                </a:pathLst>
              </a:custGeom>
              <a:solidFill>
                <a:schemeClr val="bg1"/>
              </a:solidFill>
              <a:ln>
                <a:noFill/>
              </a:ln>
            </p:spPr>
            <p:txBody>
              <a:bodyPr anchor="ctr"/>
              <a:lstStyle/>
              <a:p>
                <a:pPr algn="ctr"/>
                <a:endParaRPr/>
              </a:p>
            </p:txBody>
          </p:sp>
          <p:sp>
            <p:nvSpPr>
              <p:cNvPr id="69" name="î$ḷîḍê">
                <a:extLst>
                  <a:ext uri="{FF2B5EF4-FFF2-40B4-BE49-F238E27FC236}">
                    <a16:creationId xmlns:a16="http://schemas.microsoft.com/office/drawing/2014/main" id="{53BD1D44-C320-4AA5-A4AD-31CF33C1C4C1}"/>
                  </a:ext>
                </a:extLst>
              </p:cNvPr>
              <p:cNvSpPr/>
              <p:nvPr/>
            </p:nvSpPr>
            <p:spPr bwMode="auto">
              <a:xfrm>
                <a:off x="2579332" y="5572270"/>
                <a:ext cx="157769" cy="35859"/>
              </a:xfrm>
              <a:custGeom>
                <a:gdLst>
                  <a:gd fmla="*/ 13 w 14" name="T0"/>
                  <a:gd fmla="*/ 0 h 3" name="T1"/>
                  <a:gd fmla="*/ 2 w 14" name="T2"/>
                  <a:gd fmla="*/ 0 h 3" name="T3"/>
                  <a:gd fmla="*/ 0 w 14" name="T4"/>
                  <a:gd fmla="*/ 1 h 3" name="T5"/>
                  <a:gd fmla="*/ 2 w 14" name="T6"/>
                  <a:gd fmla="*/ 3 h 3" name="T7"/>
                  <a:gd fmla="*/ 13 w 14" name="T8"/>
                  <a:gd fmla="*/ 3 h 3" name="T9"/>
                  <a:gd fmla="*/ 14 w 14" name="T10"/>
                  <a:gd fmla="*/ 1 h 3" name="T11"/>
                  <a:gd fmla="*/ 13 w 14" name="T12"/>
                  <a:gd fmla="*/ 0 h 3" name="T13"/>
                </a:gdLst>
                <a:cxnLst>
                  <a:cxn ang="0">
                    <a:pos x="T0" y="T1"/>
                  </a:cxn>
                  <a:cxn ang="0">
                    <a:pos x="T2" y="T3"/>
                  </a:cxn>
                  <a:cxn ang="0">
                    <a:pos x="T4" y="T5"/>
                  </a:cxn>
                  <a:cxn ang="0">
                    <a:pos x="T6" y="T7"/>
                  </a:cxn>
                  <a:cxn ang="0">
                    <a:pos x="T8" y="T9"/>
                  </a:cxn>
                  <a:cxn ang="0">
                    <a:pos x="T10" y="T11"/>
                  </a:cxn>
                  <a:cxn ang="0">
                    <a:pos x="T12" y="T13"/>
                  </a:cxn>
                </a:cxnLst>
                <a:rect b="b" l="0" r="r" t="0"/>
                <a:pathLst>
                  <a:path h="3" w="14">
                    <a:moveTo>
                      <a:pt x="13" y="0"/>
                    </a:moveTo>
                    <a:cubicBezTo>
                      <a:pt x="9" y="0"/>
                      <a:pt x="6" y="0"/>
                      <a:pt x="2" y="0"/>
                    </a:cubicBezTo>
                    <a:cubicBezTo>
                      <a:pt x="1" y="0"/>
                      <a:pt x="0" y="1"/>
                      <a:pt x="0" y="1"/>
                    </a:cubicBezTo>
                    <a:cubicBezTo>
                      <a:pt x="0" y="2"/>
                      <a:pt x="1" y="3"/>
                      <a:pt x="2" y="3"/>
                    </a:cubicBezTo>
                    <a:cubicBezTo>
                      <a:pt x="6" y="3"/>
                      <a:pt x="9" y="3"/>
                      <a:pt x="13" y="3"/>
                    </a:cubicBezTo>
                    <a:cubicBezTo>
                      <a:pt x="14" y="3"/>
                      <a:pt x="14" y="2"/>
                      <a:pt x="14" y="1"/>
                    </a:cubicBezTo>
                    <a:cubicBezTo>
                      <a:pt x="14" y="1"/>
                      <a:pt x="14" y="0"/>
                      <a:pt x="13" y="0"/>
                    </a:cubicBezTo>
                    <a:close/>
                  </a:path>
                </a:pathLst>
              </a:custGeom>
              <a:solidFill>
                <a:schemeClr val="bg1"/>
              </a:solidFill>
              <a:ln>
                <a:noFill/>
              </a:ln>
            </p:spPr>
            <p:txBody>
              <a:bodyPr anchor="ctr"/>
              <a:lstStyle/>
              <a:p>
                <a:pPr algn="ctr"/>
                <a:endParaRPr/>
              </a:p>
            </p:txBody>
          </p:sp>
        </p:grpSp>
        <p:sp>
          <p:nvSpPr>
            <p:cNvPr id="63" name="îşḷiḑe">
              <a:extLst>
                <a:ext uri="{FF2B5EF4-FFF2-40B4-BE49-F238E27FC236}">
                  <a16:creationId xmlns:a16="http://schemas.microsoft.com/office/drawing/2014/main" id="{CDDCB7B9-199C-436E-AD2F-4B9F00AACF06}"/>
                </a:ext>
              </a:extLst>
            </p:cNvPr>
            <p:cNvSpPr/>
            <p:nvPr/>
          </p:nvSpPr>
          <p:spPr bwMode="auto">
            <a:xfrm>
              <a:off x="1648577" y="2710923"/>
              <a:ext cx="4761745" cy="2753779"/>
            </a:xfrm>
            <a:custGeom>
              <a:gdLst>
                <a:gd fmla="*/ 418 w 425" name="T0"/>
                <a:gd fmla="*/ 246 h 246" name="T1"/>
                <a:gd fmla="*/ 7 w 425" name="T2"/>
                <a:gd fmla="*/ 246 h 246" name="T3"/>
                <a:gd fmla="*/ 0 w 425" name="T4"/>
                <a:gd fmla="*/ 239 h 246" name="T5"/>
                <a:gd fmla="*/ 0 w 425" name="T6"/>
                <a:gd fmla="*/ 6 h 246" name="T7"/>
                <a:gd fmla="*/ 7 w 425" name="T8"/>
                <a:gd fmla="*/ 0 h 246" name="T9"/>
                <a:gd fmla="*/ 418 w 425" name="T10"/>
                <a:gd fmla="*/ 0 h 246" name="T11"/>
                <a:gd fmla="*/ 425 w 425" name="T12"/>
                <a:gd fmla="*/ 6 h 246" name="T13"/>
                <a:gd fmla="*/ 425 w 425" name="T14"/>
                <a:gd fmla="*/ 239 h 246" name="T15"/>
                <a:gd fmla="*/ 418 w 425" name="T16"/>
                <a:gd fmla="*/ 246 h 246" name="T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b="b" l="0" r="r" t="0"/>
              <a:pathLst>
                <a:path h="246" w="425">
                  <a:moveTo>
                    <a:pt x="418" y="246"/>
                  </a:moveTo>
                  <a:cubicBezTo>
                    <a:pt x="7" y="246"/>
                    <a:pt x="7" y="246"/>
                    <a:pt x="7" y="246"/>
                  </a:cubicBezTo>
                  <a:cubicBezTo>
                    <a:pt x="3" y="246"/>
                    <a:pt x="0" y="243"/>
                    <a:pt x="0" y="239"/>
                  </a:cubicBezTo>
                  <a:cubicBezTo>
                    <a:pt x="0" y="6"/>
                    <a:pt x="0" y="6"/>
                    <a:pt x="0" y="6"/>
                  </a:cubicBezTo>
                  <a:cubicBezTo>
                    <a:pt x="0" y="3"/>
                    <a:pt x="3" y="0"/>
                    <a:pt x="7" y="0"/>
                  </a:cubicBezTo>
                  <a:cubicBezTo>
                    <a:pt x="418" y="0"/>
                    <a:pt x="418" y="0"/>
                    <a:pt x="418" y="0"/>
                  </a:cubicBezTo>
                  <a:cubicBezTo>
                    <a:pt x="422" y="0"/>
                    <a:pt x="425" y="3"/>
                    <a:pt x="425" y="6"/>
                  </a:cubicBezTo>
                  <a:cubicBezTo>
                    <a:pt x="425" y="239"/>
                    <a:pt x="425" y="239"/>
                    <a:pt x="425" y="239"/>
                  </a:cubicBezTo>
                  <a:cubicBezTo>
                    <a:pt x="425" y="243"/>
                    <a:pt x="422" y="246"/>
                    <a:pt x="418" y="246"/>
                  </a:cubicBezTo>
                </a:path>
              </a:pathLst>
            </a:custGeom>
            <a:solidFill>
              <a:schemeClr val="tx1">
                <a:lumMod val="50000"/>
                <a:lumOff val="50000"/>
              </a:schemeClr>
            </a:solidFill>
            <a:ln>
              <a:noFill/>
            </a:ln>
          </p:spPr>
          <p:txBody>
            <a:bodyPr anchor="ctr"/>
            <a:lstStyle/>
            <a:p>
              <a:pPr algn="ctr"/>
              <a:endParaRPr/>
            </a:p>
          </p:txBody>
        </p:sp>
      </p:grpSp>
      <p:sp>
        <p:nvSpPr>
          <p:cNvPr id="92" name="Title 20">
            <a:extLst>
              <a:ext uri="{FF2B5EF4-FFF2-40B4-BE49-F238E27FC236}">
                <a16:creationId xmlns:a16="http://schemas.microsoft.com/office/drawing/2014/main" id="{A8262970-4C10-4AA6-B699-BE3DB0213473}"/>
              </a:ext>
            </a:extLst>
          </p:cNvPr>
          <p:cNvSpPr txBox="1"/>
          <p:nvPr/>
        </p:nvSpPr>
        <p:spPr>
          <a:xfrm>
            <a:off x="7381706" y="2492821"/>
            <a:ext cx="1895295" cy="365760"/>
          </a:xfrm>
          <a:prstGeom prst="rect">
            <a:avLst/>
          </a:prstGeom>
        </p:spPr>
        <p:txBody>
          <a:bodyPr anchor="ctr" bIns="0" lIns="121893" rIns="121893" rtlCol="0" tIns="0" vert="horz" wrap="square">
            <a:spAutoFit/>
          </a:bodyPr>
          <a:lstStyle>
            <a:lvl1pPr algn="ctr" defTabSz="457200" eaLnBrk="1" hangingPunct="1" latinLnBrk="0" rtl="0">
              <a:spcBef>
                <a:spcPct val="0"/>
              </a:spcBef>
              <a:buNone/>
              <a:defRPr kern="1200" sz="2900">
                <a:solidFill>
                  <a:schemeClr val="accent6"/>
                </a:solidFill>
                <a:latin typeface="Source Sans Pro ExtraLight"/>
                <a:ea typeface="+mj-ea"/>
                <a:cs typeface="Source Sans Pro ExtraLight"/>
              </a:defRPr>
            </a:lvl1pPr>
          </a:lstStyle>
          <a:p>
            <a:pPr algn="l" indent="-380990" marL="380990">
              <a:buFont charset="2" panose="05000000000000000000" pitchFamily="2" typeface="Wingdings"/>
              <a:buChar char="n"/>
            </a:pPr>
            <a:r>
              <a:rPr altLang="en-US" b="1" lang="zh-CN" sz="2400">
                <a:solidFill>
                  <a:schemeClr val="tx1">
                    <a:lumMod val="75000"/>
                    <a:lumOff val="25000"/>
                  </a:schemeClr>
                </a:solidFill>
                <a:latin typeface="+mn-ea"/>
                <a:ea typeface="+mn-ea"/>
                <a:cs typeface="Lato Regular"/>
              </a:rPr>
              <a:t>详细描述</a:t>
            </a:r>
          </a:p>
        </p:txBody>
      </p:sp>
      <p:sp>
        <p:nvSpPr>
          <p:cNvPr id="93" name="Title 20">
            <a:extLst>
              <a:ext uri="{FF2B5EF4-FFF2-40B4-BE49-F238E27FC236}">
                <a16:creationId xmlns:a16="http://schemas.microsoft.com/office/drawing/2014/main" id="{CF759010-9A0F-4EF8-8AF1-C0835920B641}"/>
              </a:ext>
            </a:extLst>
          </p:cNvPr>
          <p:cNvSpPr txBox="1"/>
          <p:nvPr/>
        </p:nvSpPr>
        <p:spPr>
          <a:xfrm>
            <a:off x="7394040" y="2926517"/>
            <a:ext cx="3882371" cy="2316455"/>
          </a:xfrm>
          <a:prstGeom prst="rect">
            <a:avLst/>
          </a:prstGeom>
        </p:spPr>
        <p:txBody>
          <a:bodyPr anchor="t" bIns="60947" lIns="121893" rIns="121893" rtlCol="0" tIns="60947" vert="horz" wrap="square">
            <a:spAutoFit/>
          </a:bodyPr>
          <a:lstStyle>
            <a:lvl1pPr algn="ctr" defTabSz="457200" eaLnBrk="1" hangingPunct="1" latinLnBrk="0" rtl="0">
              <a:spcBef>
                <a:spcPct val="0"/>
              </a:spcBef>
              <a:buNone/>
              <a:defRPr kern="1200" sz="2900">
                <a:solidFill>
                  <a:schemeClr val="accent6"/>
                </a:solidFill>
                <a:latin typeface="Source Sans Pro ExtraLight"/>
                <a:ea typeface="+mj-ea"/>
                <a:cs typeface="Source Sans Pro ExtraLight"/>
              </a:defRPr>
            </a:lvl1pPr>
          </a:lstStyle>
          <a:p>
            <a:pPr algn="l">
              <a:lnSpc>
                <a:spcPct val="150000"/>
              </a:lnSpc>
            </a:pPr>
            <a:r>
              <a:rPr altLang="en-US" lang="zh-CN" sz="1200">
                <a:solidFill>
                  <a:schemeClr val="tx1">
                    <a:lumMod val="65000"/>
                    <a:lumOff val="35000"/>
                  </a:schemeClr>
                </a:solidFill>
                <a:latin typeface="+mn-ea"/>
                <a:ea typeface="+mn-ea"/>
              </a:rPr>
              <a:t>这里可以添加主要内容这里可以添加主要内容这里可以添加主要内容这里可以添加主要内容</a:t>
            </a:r>
          </a:p>
          <a:p>
            <a:pPr algn="l">
              <a:lnSpc>
                <a:spcPct val="150000"/>
              </a:lnSpc>
            </a:pPr>
            <a:endParaRPr altLang="en-US" lang="zh-CN" sz="1200">
              <a:solidFill>
                <a:schemeClr val="tx1">
                  <a:lumMod val="65000"/>
                  <a:lumOff val="35000"/>
                </a:schemeClr>
              </a:solidFill>
              <a:latin typeface="+mn-ea"/>
              <a:ea typeface="+mn-ea"/>
            </a:endParaRPr>
          </a:p>
          <a:p>
            <a:pPr algn="l">
              <a:lnSpc>
                <a:spcPct val="150000"/>
              </a:lnSpc>
            </a:pPr>
            <a:r>
              <a:rPr altLang="en-US" lang="zh-CN" sz="1200">
                <a:solidFill>
                  <a:schemeClr val="tx1">
                    <a:lumMod val="65000"/>
                    <a:lumOff val="35000"/>
                  </a:schemeClr>
                </a:solidFill>
                <a:latin typeface="+mn-ea"/>
                <a:ea typeface="+mn-ea"/>
              </a:rPr>
              <a:t>这里可以添加主要内容这里可以添加主要内容这里可以添加主要内容这里添加主要内容</a:t>
            </a:r>
          </a:p>
          <a:p>
            <a:pPr algn="l">
              <a:lnSpc>
                <a:spcPct val="150000"/>
              </a:lnSpc>
            </a:pPr>
            <a:endParaRPr altLang="en-US" lang="zh-CN" sz="1200">
              <a:solidFill>
                <a:schemeClr val="tx1">
                  <a:lumMod val="65000"/>
                  <a:lumOff val="35000"/>
                </a:schemeClr>
              </a:solidFill>
              <a:latin typeface="+mn-ea"/>
              <a:ea typeface="+mn-ea"/>
            </a:endParaRPr>
          </a:p>
          <a:p>
            <a:pPr algn="l">
              <a:lnSpc>
                <a:spcPct val="150000"/>
              </a:lnSpc>
            </a:pPr>
            <a:r>
              <a:rPr altLang="en-US" lang="zh-CN" sz="1200">
                <a:solidFill>
                  <a:schemeClr val="tx1">
                    <a:lumMod val="65000"/>
                    <a:lumOff val="35000"/>
                  </a:schemeClr>
                </a:solidFill>
                <a:latin typeface="+mn-ea"/>
                <a:ea typeface="+mn-ea"/>
              </a:rPr>
              <a:t>这里可以添加主要内容这里可以添加主要内容这里可以添加主要内容这里添加主要内容</a:t>
            </a:r>
          </a:p>
        </p:txBody>
      </p:sp>
      <p:sp>
        <p:nvSpPr>
          <p:cNvPr id="111" name="îşḷiḑe">
            <a:extLst>
              <a:ext uri="{FF2B5EF4-FFF2-40B4-BE49-F238E27FC236}">
                <a16:creationId xmlns:a16="http://schemas.microsoft.com/office/drawing/2014/main" id="{F1D25DA5-4D18-4B5D-8070-E385D96D03B1}"/>
              </a:ext>
            </a:extLst>
          </p:cNvPr>
          <p:cNvSpPr/>
          <p:nvPr/>
        </p:nvSpPr>
        <p:spPr bwMode="auto">
          <a:xfrm>
            <a:off x="1648577" y="2709788"/>
            <a:ext cx="4761745" cy="2753779"/>
          </a:xfrm>
          <a:custGeom>
            <a:gdLst>
              <a:gd fmla="*/ 418 w 425" name="T0"/>
              <a:gd fmla="*/ 246 h 246" name="T1"/>
              <a:gd fmla="*/ 7 w 425" name="T2"/>
              <a:gd fmla="*/ 246 h 246" name="T3"/>
              <a:gd fmla="*/ 0 w 425" name="T4"/>
              <a:gd fmla="*/ 239 h 246" name="T5"/>
              <a:gd fmla="*/ 0 w 425" name="T6"/>
              <a:gd fmla="*/ 6 h 246" name="T7"/>
              <a:gd fmla="*/ 7 w 425" name="T8"/>
              <a:gd fmla="*/ 0 h 246" name="T9"/>
              <a:gd fmla="*/ 418 w 425" name="T10"/>
              <a:gd fmla="*/ 0 h 246" name="T11"/>
              <a:gd fmla="*/ 425 w 425" name="T12"/>
              <a:gd fmla="*/ 6 h 246" name="T13"/>
              <a:gd fmla="*/ 425 w 425" name="T14"/>
              <a:gd fmla="*/ 239 h 246" name="T15"/>
              <a:gd fmla="*/ 418 w 425" name="T16"/>
              <a:gd fmla="*/ 246 h 246" name="T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b="b" l="0" r="r" t="0"/>
            <a:pathLst>
              <a:path h="246" w="425">
                <a:moveTo>
                  <a:pt x="418" y="246"/>
                </a:moveTo>
                <a:cubicBezTo>
                  <a:pt x="7" y="246"/>
                  <a:pt x="7" y="246"/>
                  <a:pt x="7" y="246"/>
                </a:cubicBezTo>
                <a:cubicBezTo>
                  <a:pt x="3" y="246"/>
                  <a:pt x="0" y="243"/>
                  <a:pt x="0" y="239"/>
                </a:cubicBezTo>
                <a:cubicBezTo>
                  <a:pt x="0" y="6"/>
                  <a:pt x="0" y="6"/>
                  <a:pt x="0" y="6"/>
                </a:cubicBezTo>
                <a:cubicBezTo>
                  <a:pt x="0" y="3"/>
                  <a:pt x="3" y="0"/>
                  <a:pt x="7" y="0"/>
                </a:cubicBezTo>
                <a:cubicBezTo>
                  <a:pt x="418" y="0"/>
                  <a:pt x="418" y="0"/>
                  <a:pt x="418" y="0"/>
                </a:cubicBezTo>
                <a:cubicBezTo>
                  <a:pt x="422" y="0"/>
                  <a:pt x="425" y="3"/>
                  <a:pt x="425" y="6"/>
                </a:cubicBezTo>
                <a:cubicBezTo>
                  <a:pt x="425" y="239"/>
                  <a:pt x="425" y="239"/>
                  <a:pt x="425" y="239"/>
                </a:cubicBezTo>
                <a:cubicBezTo>
                  <a:pt x="425" y="243"/>
                  <a:pt x="422" y="246"/>
                  <a:pt x="418" y="246"/>
                </a:cubicBezTo>
              </a:path>
            </a:pathLst>
          </a:custGeom>
          <a:blipFill>
            <a:blip r:embed="rId8"/>
            <a:stretch>
              <a:fillRect l="-34" r="-34"/>
            </a:stretch>
          </a:blipFill>
          <a:ln>
            <a:noFill/>
          </a:ln>
        </p:spPr>
        <p:txBody>
          <a:bodyPr anchor="ctr"/>
          <a:lstStyle/>
          <a:p>
            <a:pPr algn="ctr"/>
            <a:endParaRPr/>
          </a:p>
        </p:txBody>
      </p:sp>
      <p:sp>
        <p:nvSpPr>
          <p:cNvPr id="113" name="îşḷiḑe">
            <a:extLst>
              <a:ext uri="{FF2B5EF4-FFF2-40B4-BE49-F238E27FC236}">
                <a16:creationId xmlns:a16="http://schemas.microsoft.com/office/drawing/2014/main" id="{124ECCBB-B744-4FE1-97A3-389241DFAD99}"/>
              </a:ext>
            </a:extLst>
          </p:cNvPr>
          <p:cNvSpPr/>
          <p:nvPr/>
        </p:nvSpPr>
        <p:spPr bwMode="auto">
          <a:xfrm>
            <a:off x="1648577" y="2709788"/>
            <a:ext cx="4761745" cy="2753779"/>
          </a:xfrm>
          <a:custGeom>
            <a:gdLst>
              <a:gd fmla="*/ 418 w 425" name="T0"/>
              <a:gd fmla="*/ 246 h 246" name="T1"/>
              <a:gd fmla="*/ 7 w 425" name="T2"/>
              <a:gd fmla="*/ 246 h 246" name="T3"/>
              <a:gd fmla="*/ 0 w 425" name="T4"/>
              <a:gd fmla="*/ 239 h 246" name="T5"/>
              <a:gd fmla="*/ 0 w 425" name="T6"/>
              <a:gd fmla="*/ 6 h 246" name="T7"/>
              <a:gd fmla="*/ 7 w 425" name="T8"/>
              <a:gd fmla="*/ 0 h 246" name="T9"/>
              <a:gd fmla="*/ 418 w 425" name="T10"/>
              <a:gd fmla="*/ 0 h 246" name="T11"/>
              <a:gd fmla="*/ 425 w 425" name="T12"/>
              <a:gd fmla="*/ 6 h 246" name="T13"/>
              <a:gd fmla="*/ 425 w 425" name="T14"/>
              <a:gd fmla="*/ 239 h 246" name="T15"/>
              <a:gd fmla="*/ 418 w 425" name="T16"/>
              <a:gd fmla="*/ 246 h 246" name="T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b="b" l="0" r="r" t="0"/>
            <a:pathLst>
              <a:path h="246" w="425">
                <a:moveTo>
                  <a:pt x="418" y="246"/>
                </a:moveTo>
                <a:cubicBezTo>
                  <a:pt x="7" y="246"/>
                  <a:pt x="7" y="246"/>
                  <a:pt x="7" y="246"/>
                </a:cubicBezTo>
                <a:cubicBezTo>
                  <a:pt x="3" y="246"/>
                  <a:pt x="0" y="243"/>
                  <a:pt x="0" y="239"/>
                </a:cubicBezTo>
                <a:cubicBezTo>
                  <a:pt x="0" y="6"/>
                  <a:pt x="0" y="6"/>
                  <a:pt x="0" y="6"/>
                </a:cubicBezTo>
                <a:cubicBezTo>
                  <a:pt x="0" y="3"/>
                  <a:pt x="3" y="0"/>
                  <a:pt x="7" y="0"/>
                </a:cubicBezTo>
                <a:cubicBezTo>
                  <a:pt x="418" y="0"/>
                  <a:pt x="418" y="0"/>
                  <a:pt x="418" y="0"/>
                </a:cubicBezTo>
                <a:cubicBezTo>
                  <a:pt x="422" y="0"/>
                  <a:pt x="425" y="3"/>
                  <a:pt x="425" y="6"/>
                </a:cubicBezTo>
                <a:cubicBezTo>
                  <a:pt x="425" y="239"/>
                  <a:pt x="425" y="239"/>
                  <a:pt x="425" y="239"/>
                </a:cubicBezTo>
                <a:cubicBezTo>
                  <a:pt x="425" y="243"/>
                  <a:pt x="422" y="246"/>
                  <a:pt x="418" y="246"/>
                </a:cubicBezTo>
              </a:path>
            </a:pathLst>
          </a:custGeom>
          <a:blipFill>
            <a:blip r:embed="rId9"/>
            <a:stretch>
              <a:fillRect b="-7604" t="-7674"/>
            </a:stretch>
          </a:blipFill>
          <a:ln>
            <a:noFill/>
          </a:ln>
        </p:spPr>
        <p:txBody>
          <a:bodyPr anchor="ctr"/>
          <a:lstStyle/>
          <a:p>
            <a:pPr algn="ctr"/>
            <a:endParaRPr/>
          </a:p>
        </p:txBody>
      </p:sp>
      <p:sp>
        <p:nvSpPr>
          <p:cNvPr id="112" name="îşḷiḑe">
            <a:extLst>
              <a:ext uri="{FF2B5EF4-FFF2-40B4-BE49-F238E27FC236}">
                <a16:creationId xmlns:a16="http://schemas.microsoft.com/office/drawing/2014/main" id="{6FFE1ED9-AA17-4FDF-90D0-813357604435}"/>
              </a:ext>
            </a:extLst>
          </p:cNvPr>
          <p:cNvSpPr/>
          <p:nvPr/>
        </p:nvSpPr>
        <p:spPr bwMode="auto">
          <a:xfrm>
            <a:off x="1648577" y="2709788"/>
            <a:ext cx="4761745" cy="2753779"/>
          </a:xfrm>
          <a:custGeom>
            <a:gdLst>
              <a:gd fmla="*/ 418 w 425" name="T0"/>
              <a:gd fmla="*/ 246 h 246" name="T1"/>
              <a:gd fmla="*/ 7 w 425" name="T2"/>
              <a:gd fmla="*/ 246 h 246" name="T3"/>
              <a:gd fmla="*/ 0 w 425" name="T4"/>
              <a:gd fmla="*/ 239 h 246" name="T5"/>
              <a:gd fmla="*/ 0 w 425" name="T6"/>
              <a:gd fmla="*/ 6 h 246" name="T7"/>
              <a:gd fmla="*/ 7 w 425" name="T8"/>
              <a:gd fmla="*/ 0 h 246" name="T9"/>
              <a:gd fmla="*/ 418 w 425" name="T10"/>
              <a:gd fmla="*/ 0 h 246" name="T11"/>
              <a:gd fmla="*/ 425 w 425" name="T12"/>
              <a:gd fmla="*/ 6 h 246" name="T13"/>
              <a:gd fmla="*/ 425 w 425" name="T14"/>
              <a:gd fmla="*/ 239 h 246" name="T15"/>
              <a:gd fmla="*/ 418 w 425" name="T16"/>
              <a:gd fmla="*/ 246 h 246" name="T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b="b" l="0" r="r" t="0"/>
            <a:pathLst>
              <a:path h="246" w="425">
                <a:moveTo>
                  <a:pt x="418" y="246"/>
                </a:moveTo>
                <a:cubicBezTo>
                  <a:pt x="7" y="246"/>
                  <a:pt x="7" y="246"/>
                  <a:pt x="7" y="246"/>
                </a:cubicBezTo>
                <a:cubicBezTo>
                  <a:pt x="3" y="246"/>
                  <a:pt x="0" y="243"/>
                  <a:pt x="0" y="239"/>
                </a:cubicBezTo>
                <a:cubicBezTo>
                  <a:pt x="0" y="6"/>
                  <a:pt x="0" y="6"/>
                  <a:pt x="0" y="6"/>
                </a:cubicBezTo>
                <a:cubicBezTo>
                  <a:pt x="0" y="3"/>
                  <a:pt x="3" y="0"/>
                  <a:pt x="7" y="0"/>
                </a:cubicBezTo>
                <a:cubicBezTo>
                  <a:pt x="418" y="0"/>
                  <a:pt x="418" y="0"/>
                  <a:pt x="418" y="0"/>
                </a:cubicBezTo>
                <a:cubicBezTo>
                  <a:pt x="422" y="0"/>
                  <a:pt x="425" y="3"/>
                  <a:pt x="425" y="6"/>
                </a:cubicBezTo>
                <a:cubicBezTo>
                  <a:pt x="425" y="239"/>
                  <a:pt x="425" y="239"/>
                  <a:pt x="425" y="239"/>
                </a:cubicBezTo>
                <a:cubicBezTo>
                  <a:pt x="425" y="243"/>
                  <a:pt x="422" y="246"/>
                  <a:pt x="418" y="246"/>
                </a:cubicBezTo>
              </a:path>
            </a:pathLst>
          </a:custGeom>
          <a:blipFill>
            <a:blip r:embed="rId10"/>
            <a:stretch>
              <a:fillRect b="-6214" t="-6272"/>
            </a:stretch>
          </a:blipFill>
          <a:ln>
            <a:noFill/>
          </a:ln>
        </p:spPr>
        <p:txBody>
          <a:bodyPr anchor="ctr"/>
          <a:lstStyle/>
          <a:p>
            <a:pPr algn="ctr"/>
            <a:endParaRPr/>
          </a:p>
        </p:txBody>
      </p:sp>
      <p:sp>
        <p:nvSpPr>
          <p:cNvPr id="114" name="îşḷiḑe">
            <a:extLst>
              <a:ext uri="{FF2B5EF4-FFF2-40B4-BE49-F238E27FC236}">
                <a16:creationId xmlns:a16="http://schemas.microsoft.com/office/drawing/2014/main" id="{EC6D91EB-4CDE-4C45-9286-D17DC20AF3F7}"/>
              </a:ext>
            </a:extLst>
          </p:cNvPr>
          <p:cNvSpPr/>
          <p:nvPr/>
        </p:nvSpPr>
        <p:spPr bwMode="auto">
          <a:xfrm>
            <a:off x="1648577" y="2709788"/>
            <a:ext cx="4761745" cy="2753779"/>
          </a:xfrm>
          <a:custGeom>
            <a:gdLst>
              <a:gd fmla="*/ 418 w 425" name="T0"/>
              <a:gd fmla="*/ 246 h 246" name="T1"/>
              <a:gd fmla="*/ 7 w 425" name="T2"/>
              <a:gd fmla="*/ 246 h 246" name="T3"/>
              <a:gd fmla="*/ 0 w 425" name="T4"/>
              <a:gd fmla="*/ 239 h 246" name="T5"/>
              <a:gd fmla="*/ 0 w 425" name="T6"/>
              <a:gd fmla="*/ 6 h 246" name="T7"/>
              <a:gd fmla="*/ 7 w 425" name="T8"/>
              <a:gd fmla="*/ 0 h 246" name="T9"/>
              <a:gd fmla="*/ 418 w 425" name="T10"/>
              <a:gd fmla="*/ 0 h 246" name="T11"/>
              <a:gd fmla="*/ 425 w 425" name="T12"/>
              <a:gd fmla="*/ 6 h 246" name="T13"/>
              <a:gd fmla="*/ 425 w 425" name="T14"/>
              <a:gd fmla="*/ 239 h 246" name="T15"/>
              <a:gd fmla="*/ 418 w 425" name="T16"/>
              <a:gd fmla="*/ 246 h 246" name="T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b="b" l="0" r="r" t="0"/>
            <a:pathLst>
              <a:path h="246" w="425">
                <a:moveTo>
                  <a:pt x="418" y="246"/>
                </a:moveTo>
                <a:cubicBezTo>
                  <a:pt x="7" y="246"/>
                  <a:pt x="7" y="246"/>
                  <a:pt x="7" y="246"/>
                </a:cubicBezTo>
                <a:cubicBezTo>
                  <a:pt x="3" y="246"/>
                  <a:pt x="0" y="243"/>
                  <a:pt x="0" y="239"/>
                </a:cubicBezTo>
                <a:cubicBezTo>
                  <a:pt x="0" y="6"/>
                  <a:pt x="0" y="6"/>
                  <a:pt x="0" y="6"/>
                </a:cubicBezTo>
                <a:cubicBezTo>
                  <a:pt x="0" y="3"/>
                  <a:pt x="3" y="0"/>
                  <a:pt x="7" y="0"/>
                </a:cubicBezTo>
                <a:cubicBezTo>
                  <a:pt x="418" y="0"/>
                  <a:pt x="418" y="0"/>
                  <a:pt x="418" y="0"/>
                </a:cubicBezTo>
                <a:cubicBezTo>
                  <a:pt x="422" y="0"/>
                  <a:pt x="425" y="3"/>
                  <a:pt x="425" y="6"/>
                </a:cubicBezTo>
                <a:cubicBezTo>
                  <a:pt x="425" y="239"/>
                  <a:pt x="425" y="239"/>
                  <a:pt x="425" y="239"/>
                </a:cubicBezTo>
                <a:cubicBezTo>
                  <a:pt x="425" y="243"/>
                  <a:pt x="422" y="246"/>
                  <a:pt x="418" y="246"/>
                </a:cubicBezTo>
              </a:path>
            </a:pathLst>
          </a:custGeom>
          <a:blipFill>
            <a:blip r:embed="rId11"/>
            <a:stretch>
              <a:fillRect b="-7604" t="-7674"/>
            </a:stretch>
          </a:blipFill>
          <a:ln>
            <a:noFill/>
          </a:ln>
        </p:spPr>
        <p:txBody>
          <a:bodyPr anchor="ctr"/>
          <a:lstStyle/>
          <a:p>
            <a:pPr algn="ctr"/>
            <a:endParaRPr/>
          </a:p>
        </p:txBody>
      </p:sp>
      <p:grpSp>
        <p:nvGrpSpPr>
          <p:cNvPr id="94" name="组合 93">
            <a:extLst>
              <a:ext uri="{FF2B5EF4-FFF2-40B4-BE49-F238E27FC236}">
                <a16:creationId xmlns:a16="http://schemas.microsoft.com/office/drawing/2014/main" id="{0AB4859D-41EC-47A9-AC8A-7699C7B4C961}"/>
              </a:ext>
            </a:extLst>
          </p:cNvPr>
          <p:cNvGrpSpPr/>
          <p:nvPr/>
        </p:nvGrpSpPr>
        <p:grpSpPr>
          <a:xfrm>
            <a:off x="3437403" y="3467468"/>
            <a:ext cx="1183267" cy="1197610"/>
            <a:chOff x="3389686" y="3456738"/>
            <a:chExt cx="1183267" cy="1197610"/>
          </a:xfrm>
        </p:grpSpPr>
        <p:sp>
          <p:nvSpPr>
            <p:cNvPr id="64" name="işľiḑê">
              <a:extLst>
                <a:ext uri="{FF2B5EF4-FFF2-40B4-BE49-F238E27FC236}">
                  <a16:creationId xmlns:a16="http://schemas.microsoft.com/office/drawing/2014/main" id="{6F7FD513-2BFF-43F1-802A-A4A18AD9F361}"/>
                </a:ext>
              </a:extLst>
            </p:cNvPr>
            <p:cNvSpPr/>
            <p:nvPr/>
          </p:nvSpPr>
          <p:spPr bwMode="auto">
            <a:xfrm>
              <a:off x="3848648" y="3815305"/>
              <a:ext cx="437453" cy="494823"/>
            </a:xfrm>
            <a:custGeom>
              <a:gdLst>
                <a:gd fmla="*/ 61 w 61" name="T0"/>
                <a:gd fmla="*/ 35 h 69" name="T1"/>
                <a:gd fmla="*/ 29 w 61" name="T2"/>
                <a:gd fmla="*/ 52 h 69" name="T3"/>
                <a:gd fmla="*/ 0 w 61" name="T4"/>
                <a:gd fmla="*/ 69 h 69" name="T5"/>
                <a:gd fmla="*/ 0 w 61" name="T6"/>
                <a:gd fmla="*/ 35 h 69" name="T7"/>
                <a:gd fmla="*/ 0 w 61" name="T8"/>
                <a:gd fmla="*/ 0 h 69" name="T9"/>
                <a:gd fmla="*/ 29 w 61" name="T10"/>
                <a:gd fmla="*/ 17 h 69" name="T11"/>
                <a:gd fmla="*/ 61 w 61" name="T12"/>
                <a:gd fmla="*/ 35 h 69" name="T13"/>
              </a:gdLst>
              <a:cxnLst>
                <a:cxn ang="0">
                  <a:pos x="T0" y="T1"/>
                </a:cxn>
                <a:cxn ang="0">
                  <a:pos x="T2" y="T3"/>
                </a:cxn>
                <a:cxn ang="0">
                  <a:pos x="T4" y="T5"/>
                </a:cxn>
                <a:cxn ang="0">
                  <a:pos x="T6" y="T7"/>
                </a:cxn>
                <a:cxn ang="0">
                  <a:pos x="T8" y="T9"/>
                </a:cxn>
                <a:cxn ang="0">
                  <a:pos x="T10" y="T11"/>
                </a:cxn>
                <a:cxn ang="0">
                  <a:pos x="T12" y="T13"/>
                </a:cxn>
              </a:cxnLst>
              <a:rect b="b" l="0" r="r" t="0"/>
              <a:pathLst>
                <a:path h="69" w="61">
                  <a:moveTo>
                    <a:pt x="61" y="35"/>
                  </a:moveTo>
                  <a:lnTo>
                    <a:pt x="29" y="52"/>
                  </a:lnTo>
                  <a:lnTo>
                    <a:pt x="0" y="69"/>
                  </a:lnTo>
                  <a:lnTo>
                    <a:pt x="0" y="35"/>
                  </a:lnTo>
                  <a:lnTo>
                    <a:pt x="0" y="0"/>
                  </a:lnTo>
                  <a:lnTo>
                    <a:pt x="29" y="17"/>
                  </a:lnTo>
                  <a:lnTo>
                    <a:pt x="61" y="35"/>
                  </a:lnTo>
                  <a:close/>
                </a:path>
              </a:pathLst>
            </a:custGeom>
            <a:solidFill>
              <a:srgbClr val="FFFFFF"/>
            </a:solidFill>
            <a:ln>
              <a:noFill/>
            </a:ln>
            <a:extLst>
              <a:ext uri="{91240B29-F687-4F45-9708-019B960494DF}">
                <a14:hiddenLine w="9525">
                  <a:solidFill>
                    <a:srgbClr val="000000"/>
                  </a:solidFill>
                  <a:round/>
                  <a:headEnd/>
                  <a:tailEnd/>
                </a14:hiddenLine>
              </a:ext>
            </a:extLst>
          </p:spPr>
          <p:txBody>
            <a:bodyPr anchor="ctr"/>
            <a:lstStyle/>
            <a:p>
              <a:pPr algn="ctr"/>
              <a:endParaRPr/>
            </a:p>
          </p:txBody>
        </p:sp>
        <p:sp>
          <p:nvSpPr>
            <p:cNvPr id="65" name="îSḷíḋé">
              <a:extLst>
                <a:ext uri="{FF2B5EF4-FFF2-40B4-BE49-F238E27FC236}">
                  <a16:creationId xmlns:a16="http://schemas.microsoft.com/office/drawing/2014/main" id="{70DB35A5-7974-4E32-99E8-F77CDF3E2B66}"/>
                </a:ext>
              </a:extLst>
            </p:cNvPr>
            <p:cNvSpPr/>
            <p:nvPr/>
          </p:nvSpPr>
          <p:spPr bwMode="auto">
            <a:xfrm>
              <a:off x="3389686" y="3456738"/>
              <a:ext cx="1183267" cy="1197610"/>
            </a:xfrm>
            <a:custGeom>
              <a:gdLst>
                <a:gd fmla="*/ 28 w 106" name="T0"/>
                <a:gd fmla="*/ 11 h 107" name="T1"/>
                <a:gd fmla="*/ 53 w 106" name="T2"/>
                <a:gd fmla="*/ 4 h 107" name="T3"/>
                <a:gd fmla="*/ 88 w 106" name="T4"/>
                <a:gd fmla="*/ 19 h 107" name="T5"/>
                <a:gd fmla="*/ 102 w 106" name="T6"/>
                <a:gd fmla="*/ 53 h 107" name="T7"/>
                <a:gd fmla="*/ 88 w 106" name="T8"/>
                <a:gd fmla="*/ 88 h 107" name="T9"/>
                <a:gd fmla="*/ 53 w 106" name="T10"/>
                <a:gd fmla="*/ 103 h 107" name="T11"/>
                <a:gd fmla="*/ 18 w 106" name="T12"/>
                <a:gd fmla="*/ 88 h 107" name="T13"/>
                <a:gd fmla="*/ 4 w 106" name="T14"/>
                <a:gd fmla="*/ 53 h 107" name="T15"/>
                <a:gd fmla="*/ 14 w 106" name="T16"/>
                <a:gd fmla="*/ 23 h 107" name="T17"/>
                <a:gd fmla="*/ 14 w 106" name="T18"/>
                <a:gd fmla="*/ 20 h 107" name="T19"/>
                <a:gd fmla="*/ 11 w 106" name="T20"/>
                <a:gd fmla="*/ 21 h 107" name="T21"/>
                <a:gd fmla="*/ 0 w 106" name="T22"/>
                <a:gd fmla="*/ 53 h 107" name="T23"/>
                <a:gd fmla="*/ 53 w 106" name="T24"/>
                <a:gd fmla="*/ 107 h 107" name="T25"/>
                <a:gd fmla="*/ 106 w 106" name="T26"/>
                <a:gd fmla="*/ 53 h 107" name="T27"/>
                <a:gd fmla="*/ 53 w 106" name="T28"/>
                <a:gd fmla="*/ 0 h 107" name="T29"/>
                <a:gd fmla="*/ 26 w 106" name="T30"/>
                <a:gd fmla="*/ 8 h 107" name="T31"/>
                <a:gd fmla="*/ 25 w 106" name="T32"/>
                <a:gd fmla="*/ 11 h 107" name="T33"/>
                <a:gd fmla="*/ 28 w 106" name="T34"/>
                <a:gd fmla="*/ 11 h 107" name="T3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b="b" l="0" r="r" t="0"/>
              <a:pathLst>
                <a:path h="107" w="105">
                  <a:moveTo>
                    <a:pt x="28" y="11"/>
                  </a:moveTo>
                  <a:cubicBezTo>
                    <a:pt x="35" y="7"/>
                    <a:pt x="44" y="4"/>
                    <a:pt x="53" y="4"/>
                  </a:cubicBezTo>
                  <a:cubicBezTo>
                    <a:pt x="66" y="4"/>
                    <a:pt x="79" y="10"/>
                    <a:pt x="88" y="19"/>
                  </a:cubicBezTo>
                  <a:cubicBezTo>
                    <a:pt x="97" y="28"/>
                    <a:pt x="102" y="40"/>
                    <a:pt x="102" y="53"/>
                  </a:cubicBezTo>
                  <a:cubicBezTo>
                    <a:pt x="102" y="67"/>
                    <a:pt x="97" y="79"/>
                    <a:pt x="88" y="88"/>
                  </a:cubicBezTo>
                  <a:cubicBezTo>
                    <a:pt x="79" y="97"/>
                    <a:pt x="66" y="103"/>
                    <a:pt x="53" y="103"/>
                  </a:cubicBezTo>
                  <a:cubicBezTo>
                    <a:pt x="39" y="103"/>
                    <a:pt x="27" y="97"/>
                    <a:pt x="18" y="88"/>
                  </a:cubicBezTo>
                  <a:cubicBezTo>
                    <a:pt x="9" y="79"/>
                    <a:pt x="4" y="67"/>
                    <a:pt x="4" y="53"/>
                  </a:cubicBezTo>
                  <a:cubicBezTo>
                    <a:pt x="4" y="42"/>
                    <a:pt x="8" y="31"/>
                    <a:pt x="14" y="23"/>
                  </a:cubicBezTo>
                  <a:cubicBezTo>
                    <a:pt x="15" y="22"/>
                    <a:pt x="15" y="21"/>
                    <a:pt x="14" y="20"/>
                  </a:cubicBezTo>
                  <a:cubicBezTo>
                    <a:pt x="13" y="20"/>
                    <a:pt x="12" y="20"/>
                    <a:pt x="11" y="21"/>
                  </a:cubicBezTo>
                  <a:cubicBezTo>
                    <a:pt x="4" y="30"/>
                    <a:pt x="0" y="41"/>
                    <a:pt x="0" y="53"/>
                  </a:cubicBezTo>
                  <a:cubicBezTo>
                    <a:pt x="0" y="83"/>
                    <a:pt x="24" y="107"/>
                    <a:pt x="53" y="107"/>
                  </a:cubicBezTo>
                  <a:cubicBezTo>
                    <a:pt x="82" y="107"/>
                    <a:pt x="106" y="83"/>
                    <a:pt x="106" y="53"/>
                  </a:cubicBezTo>
                  <a:cubicBezTo>
                    <a:pt x="106" y="24"/>
                    <a:pt x="82" y="0"/>
                    <a:pt x="53" y="0"/>
                  </a:cubicBezTo>
                  <a:cubicBezTo>
                    <a:pt x="43" y="0"/>
                    <a:pt x="34" y="3"/>
                    <a:pt x="26" y="8"/>
                  </a:cubicBezTo>
                  <a:cubicBezTo>
                    <a:pt x="25" y="9"/>
                    <a:pt x="24" y="10"/>
                    <a:pt x="25" y="11"/>
                  </a:cubicBezTo>
                  <a:cubicBezTo>
                    <a:pt x="25" y="12"/>
                    <a:pt x="27" y="12"/>
                    <a:pt x="28" y="11"/>
                  </a:cubicBezTo>
                  <a:close/>
                </a:path>
              </a:pathLst>
            </a:custGeom>
            <a:solidFill>
              <a:srgbClr val="FFFFFF"/>
            </a:solidFill>
            <a:ln>
              <a:noFill/>
            </a:ln>
            <a:extLst>
              <a:ext uri="{91240B29-F687-4F45-9708-019B960494DF}">
                <a14:hiddenLine w="9525">
                  <a:solidFill>
                    <a:srgbClr val="000000"/>
                  </a:solidFill>
                  <a:round/>
                  <a:headEnd/>
                  <a:tailEnd/>
                </a14:hiddenLine>
              </a:ext>
            </a:extLst>
          </p:spPr>
          <p:txBody>
            <a:bodyPr anchor="ctr"/>
            <a:lstStyle/>
            <a:p>
              <a:pPr algn="ctr"/>
              <a:endParaRPr/>
            </a:p>
          </p:txBody>
        </p:sp>
      </p:grpSp>
      <p:grpSp>
        <p:nvGrpSpPr>
          <p:cNvPr id="4" name="组合 3">
            <a:extLst>
              <a:ext uri="{FF2B5EF4-FFF2-40B4-BE49-F238E27FC236}">
                <a16:creationId xmlns:a16="http://schemas.microsoft.com/office/drawing/2014/main" id="{4081AF4B-7600-4225-8C1B-F7FB18A43F7F}"/>
              </a:ext>
            </a:extLst>
          </p:cNvPr>
          <p:cNvGrpSpPr/>
          <p:nvPr/>
        </p:nvGrpSpPr>
        <p:grpSpPr>
          <a:xfrm>
            <a:off x="5676037" y="4337176"/>
            <a:ext cx="1895295" cy="2102719"/>
            <a:chOff x="4363908" y="3608046"/>
            <a:chExt cx="2523581" cy="2799765"/>
          </a:xfrm>
        </p:grpSpPr>
        <p:sp>
          <p:nvSpPr>
            <p:cNvPr id="71" name="iSļïdê">
              <a:extLst>
                <a:ext uri="{FF2B5EF4-FFF2-40B4-BE49-F238E27FC236}">
                  <a16:creationId xmlns:a16="http://schemas.microsoft.com/office/drawing/2014/main" id="{C461B789-0268-433D-AA12-435645A409CD}"/>
                </a:ext>
              </a:extLst>
            </p:cNvPr>
            <p:cNvSpPr/>
            <p:nvPr/>
          </p:nvSpPr>
          <p:spPr bwMode="auto">
            <a:xfrm>
              <a:off x="4363908" y="3608046"/>
              <a:ext cx="2458596" cy="2615645"/>
            </a:xfrm>
            <a:custGeom>
              <a:gdLst>
                <a:gd fmla="*/ 261 w 290" name="T0"/>
                <a:gd fmla="*/ 240 h 309" name="T1"/>
                <a:gd fmla="*/ 233 w 290" name="T2"/>
                <a:gd fmla="*/ 194 h 309" name="T3"/>
                <a:gd fmla="*/ 233 w 290" name="T4"/>
                <a:gd fmla="*/ 164 h 309" name="T5"/>
                <a:gd fmla="*/ 174 w 290" name="T6"/>
                <a:gd fmla="*/ 55 h 309" name="T7"/>
                <a:gd fmla="*/ 151 w 290" name="T8"/>
                <a:gd fmla="*/ 50 h 309" name="T9"/>
                <a:gd fmla="*/ 143 w 290" name="T10"/>
                <a:gd fmla="*/ 69 h 309" name="T11"/>
                <a:gd fmla="*/ 142 w 290" name="T12"/>
                <a:gd fmla="*/ 68 h 309" name="T13"/>
                <a:gd fmla="*/ 130 w 290" name="T14"/>
                <a:gd fmla="*/ 65 h 309" name="T15"/>
                <a:gd fmla="*/ 123 w 290" name="T16"/>
                <a:gd fmla="*/ 67 h 309" name="T17"/>
                <a:gd fmla="*/ 115 w 290" name="T18"/>
                <a:gd fmla="*/ 84 h 309" name="T19"/>
                <a:gd fmla="*/ 115 w 290" name="T20"/>
                <a:gd fmla="*/ 85 h 309" name="T21"/>
                <a:gd fmla="*/ 103 w 290" name="T22"/>
                <a:gd fmla="*/ 81 h 309" name="T23"/>
                <a:gd fmla="*/ 96 w 290" name="T24"/>
                <a:gd fmla="*/ 84 h 309" name="T25"/>
                <a:gd fmla="*/ 88 w 290" name="T26"/>
                <a:gd fmla="*/ 101 h 309" name="T27"/>
                <a:gd fmla="*/ 32 w 290" name="T28"/>
                <a:gd fmla="*/ 11 h 309" name="T29"/>
                <a:gd fmla="*/ 8 w 290" name="T30"/>
                <a:gd fmla="*/ 5 h 309" name="T31"/>
                <a:gd fmla="*/ 0 w 290" name="T32"/>
                <a:gd fmla="*/ 20 h 309" name="T33"/>
                <a:gd fmla="*/ 3 w 290" name="T34"/>
                <a:gd fmla="*/ 29 h 309" name="T35"/>
                <a:gd fmla="*/ 72 w 290" name="T36"/>
                <a:gd fmla="*/ 140 h 309" name="T37"/>
                <a:gd fmla="*/ 67 w 290" name="T38"/>
                <a:gd fmla="*/ 143 h 309" name="T39"/>
                <a:gd fmla="*/ 62 w 290" name="T40"/>
                <a:gd fmla="*/ 152 h 309" name="T41"/>
                <a:gd fmla="*/ 59 w 290" name="T42"/>
                <a:gd fmla="*/ 166 h 309" name="T43"/>
                <a:gd fmla="*/ 53 w 290" name="T44"/>
                <a:gd fmla="*/ 190 h 309" name="T45"/>
                <a:gd fmla="*/ 64 w 290" name="T46"/>
                <a:gd fmla="*/ 210 h 309" name="T47"/>
                <a:gd fmla="*/ 137 w 290" name="T48"/>
                <a:gd fmla="*/ 237 h 309" name="T49"/>
                <a:gd fmla="*/ 139 w 290" name="T50"/>
                <a:gd fmla="*/ 238 h 309" name="T51"/>
                <a:gd fmla="*/ 159 w 290" name="T52"/>
                <a:gd fmla="*/ 240 h 309" name="T53"/>
                <a:gd fmla="*/ 159 w 290" name="T54"/>
                <a:gd fmla="*/ 240 h 309" name="T55"/>
                <a:gd fmla="*/ 186 w 290" name="T56"/>
                <a:gd fmla="*/ 282 h 309" name="T57"/>
                <a:gd fmla="*/ 199 w 290" name="T58"/>
                <a:gd fmla="*/ 304 h 309" name="T59"/>
                <a:gd fmla="*/ 199 w 290" name="T60"/>
                <a:gd fmla="*/ 304 h 309" name="T61"/>
                <a:gd fmla="*/ 200 w 290" name="T62"/>
                <a:gd fmla="*/ 306 h 309" name="T63"/>
                <a:gd fmla="*/ 200 w 290" name="T64"/>
                <a:gd fmla="*/ 306 h 309" name="T65"/>
                <a:gd fmla="*/ 202 w 290" name="T66"/>
                <a:gd fmla="*/ 309 h 309" name="T67"/>
                <a:gd fmla="*/ 250 w 290" name="T68"/>
                <a:gd fmla="*/ 309 h 309" name="T69"/>
                <a:gd fmla="*/ 290 w 290" name="T70"/>
                <a:gd fmla="*/ 288 h 309" name="T71"/>
                <a:gd fmla="*/ 261 w 290" name="T72"/>
                <a:gd fmla="*/ 240 h 309" name="T73"/>
                <a:gd fmla="*/ 89 w 290" name="T74"/>
                <a:gd fmla="*/ 184 h 309" name="T75"/>
                <a:gd fmla="*/ 92 w 290" name="T76"/>
                <a:gd fmla="*/ 170 h 309" name="T77"/>
                <a:gd fmla="*/ 105 w 290" name="T78"/>
                <a:gd fmla="*/ 190 h 309" name="T79"/>
                <a:gd fmla="*/ 89 w 290" name="T80"/>
                <a:gd fmla="*/ 184 h 309" name="T8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b="b" l="0" r="r" t="0"/>
              <a:pathLst>
                <a:path h="309" w="290">
                  <a:moveTo>
                    <a:pt x="261" y="240"/>
                  </a:moveTo>
                  <a:cubicBezTo>
                    <a:pt x="233" y="194"/>
                    <a:pt x="233" y="194"/>
                    <a:pt x="233" y="194"/>
                  </a:cubicBezTo>
                  <a:cubicBezTo>
                    <a:pt x="233" y="194"/>
                    <a:pt x="240" y="177"/>
                    <a:pt x="233" y="164"/>
                  </a:cubicBezTo>
                  <a:cubicBezTo>
                    <a:pt x="174" y="55"/>
                    <a:pt x="174" y="55"/>
                    <a:pt x="174" y="55"/>
                  </a:cubicBezTo>
                  <a:cubicBezTo>
                    <a:pt x="169" y="47"/>
                    <a:pt x="159" y="45"/>
                    <a:pt x="151" y="50"/>
                  </a:cubicBezTo>
                  <a:cubicBezTo>
                    <a:pt x="144" y="54"/>
                    <a:pt x="141" y="62"/>
                    <a:pt x="143" y="69"/>
                  </a:cubicBezTo>
                  <a:cubicBezTo>
                    <a:pt x="142" y="68"/>
                    <a:pt x="142" y="68"/>
                    <a:pt x="142" y="68"/>
                  </a:cubicBezTo>
                  <a:cubicBezTo>
                    <a:pt x="139" y="65"/>
                    <a:pt x="134" y="64"/>
                    <a:pt x="130" y="65"/>
                  </a:cubicBezTo>
                  <a:cubicBezTo>
                    <a:pt x="127" y="65"/>
                    <a:pt x="125" y="66"/>
                    <a:pt x="123" y="67"/>
                  </a:cubicBezTo>
                  <a:cubicBezTo>
                    <a:pt x="117" y="71"/>
                    <a:pt x="114" y="78"/>
                    <a:pt x="115" y="84"/>
                  </a:cubicBezTo>
                  <a:cubicBezTo>
                    <a:pt x="115" y="85"/>
                    <a:pt x="115" y="85"/>
                    <a:pt x="115" y="85"/>
                  </a:cubicBezTo>
                  <a:cubicBezTo>
                    <a:pt x="111" y="82"/>
                    <a:pt x="107" y="81"/>
                    <a:pt x="103" y="81"/>
                  </a:cubicBezTo>
                  <a:cubicBezTo>
                    <a:pt x="100" y="81"/>
                    <a:pt x="98" y="82"/>
                    <a:pt x="96" y="84"/>
                  </a:cubicBezTo>
                  <a:cubicBezTo>
                    <a:pt x="90" y="87"/>
                    <a:pt x="87" y="94"/>
                    <a:pt x="88" y="101"/>
                  </a:cubicBezTo>
                  <a:cubicBezTo>
                    <a:pt x="32" y="11"/>
                    <a:pt x="32" y="11"/>
                    <a:pt x="32" y="11"/>
                  </a:cubicBezTo>
                  <a:cubicBezTo>
                    <a:pt x="27" y="3"/>
                    <a:pt x="17" y="0"/>
                    <a:pt x="8" y="5"/>
                  </a:cubicBezTo>
                  <a:cubicBezTo>
                    <a:pt x="3" y="8"/>
                    <a:pt x="0" y="14"/>
                    <a:pt x="0" y="20"/>
                  </a:cubicBezTo>
                  <a:cubicBezTo>
                    <a:pt x="0" y="23"/>
                    <a:pt x="1" y="26"/>
                    <a:pt x="3" y="29"/>
                  </a:cubicBezTo>
                  <a:cubicBezTo>
                    <a:pt x="72" y="140"/>
                    <a:pt x="72" y="140"/>
                    <a:pt x="72" y="140"/>
                  </a:cubicBezTo>
                  <a:cubicBezTo>
                    <a:pt x="70" y="141"/>
                    <a:pt x="68" y="142"/>
                    <a:pt x="67" y="143"/>
                  </a:cubicBezTo>
                  <a:cubicBezTo>
                    <a:pt x="64" y="145"/>
                    <a:pt x="63" y="148"/>
                    <a:pt x="62" y="152"/>
                  </a:cubicBezTo>
                  <a:cubicBezTo>
                    <a:pt x="59" y="166"/>
                    <a:pt x="59" y="166"/>
                    <a:pt x="59" y="166"/>
                  </a:cubicBezTo>
                  <a:cubicBezTo>
                    <a:pt x="53" y="190"/>
                    <a:pt x="53" y="190"/>
                    <a:pt x="53" y="190"/>
                  </a:cubicBezTo>
                  <a:cubicBezTo>
                    <a:pt x="51" y="199"/>
                    <a:pt x="56" y="207"/>
                    <a:pt x="64" y="210"/>
                  </a:cubicBezTo>
                  <a:cubicBezTo>
                    <a:pt x="137" y="237"/>
                    <a:pt x="137" y="237"/>
                    <a:pt x="137" y="237"/>
                  </a:cubicBezTo>
                  <a:cubicBezTo>
                    <a:pt x="138" y="238"/>
                    <a:pt x="138" y="238"/>
                    <a:pt x="139" y="238"/>
                  </a:cubicBezTo>
                  <a:cubicBezTo>
                    <a:pt x="145" y="240"/>
                    <a:pt x="154" y="241"/>
                    <a:pt x="159" y="240"/>
                  </a:cubicBezTo>
                  <a:cubicBezTo>
                    <a:pt x="159" y="240"/>
                    <a:pt x="159" y="240"/>
                    <a:pt x="159" y="240"/>
                  </a:cubicBezTo>
                  <a:cubicBezTo>
                    <a:pt x="186" y="282"/>
                    <a:pt x="186" y="282"/>
                    <a:pt x="186" y="282"/>
                  </a:cubicBezTo>
                  <a:cubicBezTo>
                    <a:pt x="199" y="304"/>
                    <a:pt x="199" y="304"/>
                    <a:pt x="199" y="304"/>
                  </a:cubicBezTo>
                  <a:cubicBezTo>
                    <a:pt x="199" y="304"/>
                    <a:pt x="199" y="304"/>
                    <a:pt x="199" y="304"/>
                  </a:cubicBezTo>
                  <a:cubicBezTo>
                    <a:pt x="200" y="306"/>
                    <a:pt x="200" y="306"/>
                    <a:pt x="200" y="306"/>
                  </a:cubicBezTo>
                  <a:cubicBezTo>
                    <a:pt x="200" y="306"/>
                    <a:pt x="200" y="306"/>
                    <a:pt x="200" y="306"/>
                  </a:cubicBezTo>
                  <a:cubicBezTo>
                    <a:pt x="202" y="309"/>
                    <a:pt x="202" y="309"/>
                    <a:pt x="202" y="309"/>
                  </a:cubicBezTo>
                  <a:cubicBezTo>
                    <a:pt x="250" y="309"/>
                    <a:pt x="250" y="309"/>
                    <a:pt x="250" y="309"/>
                  </a:cubicBezTo>
                  <a:cubicBezTo>
                    <a:pt x="290" y="288"/>
                    <a:pt x="290" y="288"/>
                    <a:pt x="290" y="288"/>
                  </a:cubicBezTo>
                  <a:cubicBezTo>
                    <a:pt x="261" y="240"/>
                    <a:pt x="261" y="240"/>
                    <a:pt x="261" y="240"/>
                  </a:cubicBezTo>
                  <a:moveTo>
                    <a:pt x="89" y="184"/>
                  </a:moveTo>
                  <a:cubicBezTo>
                    <a:pt x="92" y="170"/>
                    <a:pt x="92" y="170"/>
                    <a:pt x="92" y="170"/>
                  </a:cubicBezTo>
                  <a:cubicBezTo>
                    <a:pt x="105" y="190"/>
                    <a:pt x="105" y="190"/>
                    <a:pt x="105" y="190"/>
                  </a:cubicBezTo>
                  <a:cubicBezTo>
                    <a:pt x="89" y="184"/>
                    <a:pt x="89" y="184"/>
                    <a:pt x="89" y="184"/>
                  </a:cubicBezTo>
                </a:path>
              </a:pathLst>
            </a:custGeom>
            <a:solidFill>
              <a:srgbClr val="FF9FAA"/>
            </a:solidFill>
            <a:ln>
              <a:noFill/>
            </a:ln>
            <a:extLst>
              <a:ext uri="{91240B29-F687-4F45-9708-019B960494DF}">
                <a14:hiddenLine w="9525">
                  <a:solidFill>
                    <a:srgbClr val="000000"/>
                  </a:solidFill>
                  <a:round/>
                  <a:headEnd/>
                  <a:tailEnd/>
                </a14:hiddenLine>
              </a:ext>
            </a:extLst>
          </p:spPr>
          <p:txBody>
            <a:bodyPr anchor="ctr"/>
            <a:lstStyle/>
            <a:p>
              <a:pPr algn="ctr"/>
              <a:endParaRPr/>
            </a:p>
          </p:txBody>
        </p:sp>
        <p:sp>
          <p:nvSpPr>
            <p:cNvPr id="72" name="íṧḷiḓe">
              <a:extLst>
                <a:ext uri="{FF2B5EF4-FFF2-40B4-BE49-F238E27FC236}">
                  <a16:creationId xmlns:a16="http://schemas.microsoft.com/office/drawing/2014/main" id="{1711DA44-30DB-4B75-B7B4-4855A3A4C25B}"/>
                </a:ext>
              </a:extLst>
            </p:cNvPr>
            <p:cNvSpPr/>
            <p:nvPr/>
          </p:nvSpPr>
          <p:spPr bwMode="auto">
            <a:xfrm>
              <a:off x="4396401" y="3667613"/>
              <a:ext cx="232864" cy="194955"/>
            </a:xfrm>
            <a:custGeom>
              <a:gdLst>
                <a:gd fmla="*/ 27 w 27" name="T0"/>
                <a:gd fmla="*/ 9 h 23" name="T1"/>
                <a:gd fmla="*/ 5 w 27" name="T2"/>
                <a:gd fmla="*/ 23 h 23" name="T3"/>
                <a:gd fmla="*/ 4 w 27" name="T4"/>
                <a:gd fmla="*/ 20 h 23" name="T5"/>
                <a:gd fmla="*/ 8 w 27" name="T6"/>
                <a:gd fmla="*/ 3 h 23" name="T7"/>
                <a:gd fmla="*/ 17 w 27" name="T8"/>
                <a:gd fmla="*/ 1 h 23" name="T9"/>
                <a:gd fmla="*/ 25 w 27" name="T10"/>
                <a:gd fmla="*/ 7 h 23" name="T11"/>
                <a:gd fmla="*/ 27 w 27" name="T12"/>
                <a:gd fmla="*/ 9 h 23" name="T13"/>
              </a:gdLst>
              <a:cxnLst>
                <a:cxn ang="0">
                  <a:pos x="T0" y="T1"/>
                </a:cxn>
                <a:cxn ang="0">
                  <a:pos x="T2" y="T3"/>
                </a:cxn>
                <a:cxn ang="0">
                  <a:pos x="T4" y="T5"/>
                </a:cxn>
                <a:cxn ang="0">
                  <a:pos x="T6" y="T7"/>
                </a:cxn>
                <a:cxn ang="0">
                  <a:pos x="T8" y="T9"/>
                </a:cxn>
                <a:cxn ang="0">
                  <a:pos x="T10" y="T11"/>
                </a:cxn>
                <a:cxn ang="0">
                  <a:pos x="T12" y="T13"/>
                </a:cxn>
              </a:cxnLst>
              <a:rect b="b" l="0" r="r" t="0"/>
              <a:pathLst>
                <a:path h="23" w="27">
                  <a:moveTo>
                    <a:pt x="27" y="9"/>
                  </a:moveTo>
                  <a:cubicBezTo>
                    <a:pt x="5" y="23"/>
                    <a:pt x="5" y="23"/>
                    <a:pt x="5" y="23"/>
                  </a:cubicBezTo>
                  <a:cubicBezTo>
                    <a:pt x="4" y="20"/>
                    <a:pt x="4" y="20"/>
                    <a:pt x="4" y="20"/>
                  </a:cubicBezTo>
                  <a:cubicBezTo>
                    <a:pt x="0" y="14"/>
                    <a:pt x="2" y="6"/>
                    <a:pt x="8" y="3"/>
                  </a:cubicBezTo>
                  <a:cubicBezTo>
                    <a:pt x="11" y="1"/>
                    <a:pt x="14" y="0"/>
                    <a:pt x="17" y="1"/>
                  </a:cubicBezTo>
                  <a:cubicBezTo>
                    <a:pt x="20" y="2"/>
                    <a:pt x="23" y="4"/>
                    <a:pt x="25" y="7"/>
                  </a:cubicBezTo>
                  <a:lnTo>
                    <a:pt x="27" y="9"/>
                  </a:lnTo>
                  <a:close/>
                </a:path>
              </a:pathLst>
            </a:custGeom>
            <a:solidFill>
              <a:srgbClr val="FFD1DD"/>
            </a:solidFill>
            <a:ln>
              <a:noFill/>
            </a:ln>
            <a:extLst>
              <a:ext uri="{91240B29-F687-4F45-9708-019B960494DF}">
                <a14:hiddenLine w="9525">
                  <a:solidFill>
                    <a:srgbClr val="000000"/>
                  </a:solidFill>
                  <a:round/>
                  <a:headEnd/>
                  <a:tailEnd/>
                </a14:hiddenLine>
              </a:ext>
            </a:extLst>
          </p:spPr>
          <p:txBody>
            <a:bodyPr anchor="ctr"/>
            <a:lstStyle/>
            <a:p>
              <a:pPr algn="ctr"/>
              <a:endParaRPr/>
            </a:p>
          </p:txBody>
        </p:sp>
        <p:sp>
          <p:nvSpPr>
            <p:cNvPr id="73" name="íṩḷide">
              <a:extLst>
                <a:ext uri="{FF2B5EF4-FFF2-40B4-BE49-F238E27FC236}">
                  <a16:creationId xmlns:a16="http://schemas.microsoft.com/office/drawing/2014/main" id="{313B01E9-B94B-404E-92EE-C661A7686901}"/>
                </a:ext>
              </a:extLst>
            </p:cNvPr>
            <p:cNvSpPr/>
            <p:nvPr/>
          </p:nvSpPr>
          <p:spPr bwMode="auto">
            <a:xfrm>
              <a:off x="4862126" y="4815680"/>
              <a:ext cx="178710" cy="238278"/>
            </a:xfrm>
            <a:custGeom>
              <a:gdLst>
                <a:gd fmla="*/ 18 w 21" name="T0"/>
                <a:gd fmla="*/ 8 h 28" name="T1"/>
                <a:gd fmla="*/ 20 w 21" name="T2"/>
                <a:gd fmla="*/ 19 h 28" name="T3"/>
                <a:gd fmla="*/ 17 w 21" name="T4"/>
                <a:gd fmla="*/ 28 h 28" name="T5"/>
                <a:gd fmla="*/ 0 w 21" name="T6"/>
                <a:gd fmla="*/ 23 h 28" name="T7"/>
                <a:gd fmla="*/ 3 w 21" name="T8"/>
                <a:gd fmla="*/ 9 h 28" name="T9"/>
                <a:gd fmla="*/ 8 w 21" name="T10"/>
                <a:gd fmla="*/ 0 h 28" name="T11"/>
                <a:gd fmla="*/ 9 w 21" name="T12"/>
                <a:gd fmla="*/ 1 h 28" name="T13"/>
                <a:gd fmla="*/ 18 w 21" name="T14"/>
                <a:gd fmla="*/ 8 h 28" name="T15"/>
              </a:gdLst>
              <a:cxnLst>
                <a:cxn ang="0">
                  <a:pos x="T0" y="T1"/>
                </a:cxn>
                <a:cxn ang="0">
                  <a:pos x="T2" y="T3"/>
                </a:cxn>
                <a:cxn ang="0">
                  <a:pos x="T4" y="T5"/>
                </a:cxn>
                <a:cxn ang="0">
                  <a:pos x="T6" y="T7"/>
                </a:cxn>
                <a:cxn ang="0">
                  <a:pos x="T8" y="T9"/>
                </a:cxn>
                <a:cxn ang="0">
                  <a:pos x="T10" y="T11"/>
                </a:cxn>
                <a:cxn ang="0">
                  <a:pos x="T12" y="T13"/>
                </a:cxn>
                <a:cxn ang="0">
                  <a:pos x="T14" y="T15"/>
                </a:cxn>
              </a:cxnLst>
              <a:rect b="b" l="0" r="r" t="0"/>
              <a:pathLst>
                <a:path h="28" w="21">
                  <a:moveTo>
                    <a:pt x="18" y="8"/>
                  </a:moveTo>
                  <a:cubicBezTo>
                    <a:pt x="20" y="11"/>
                    <a:pt x="21" y="15"/>
                    <a:pt x="20" y="19"/>
                  </a:cubicBezTo>
                  <a:cubicBezTo>
                    <a:pt x="17" y="28"/>
                    <a:pt x="17" y="28"/>
                    <a:pt x="17" y="28"/>
                  </a:cubicBezTo>
                  <a:cubicBezTo>
                    <a:pt x="0" y="23"/>
                    <a:pt x="0" y="23"/>
                    <a:pt x="0" y="23"/>
                  </a:cubicBezTo>
                  <a:cubicBezTo>
                    <a:pt x="3" y="9"/>
                    <a:pt x="3" y="9"/>
                    <a:pt x="3" y="9"/>
                  </a:cubicBezTo>
                  <a:cubicBezTo>
                    <a:pt x="4" y="5"/>
                    <a:pt x="5" y="2"/>
                    <a:pt x="8" y="0"/>
                  </a:cubicBezTo>
                  <a:cubicBezTo>
                    <a:pt x="8" y="0"/>
                    <a:pt x="8" y="0"/>
                    <a:pt x="9" y="1"/>
                  </a:cubicBezTo>
                  <a:cubicBezTo>
                    <a:pt x="13" y="2"/>
                    <a:pt x="16" y="4"/>
                    <a:pt x="18" y="8"/>
                  </a:cubicBezTo>
                  <a:close/>
                </a:path>
              </a:pathLst>
            </a:custGeom>
            <a:solidFill>
              <a:srgbClr val="FFD1DD"/>
            </a:solidFill>
            <a:ln>
              <a:noFill/>
            </a:ln>
            <a:extLst>
              <a:ext uri="{91240B29-F687-4F45-9708-019B960494DF}">
                <a14:hiddenLine w="9525">
                  <a:solidFill>
                    <a:srgbClr val="000000"/>
                  </a:solidFill>
                  <a:round/>
                  <a:headEnd/>
                  <a:tailEnd/>
                </a14:hiddenLine>
              </a:ext>
            </a:extLst>
          </p:spPr>
          <p:txBody>
            <a:bodyPr anchor="ctr"/>
            <a:lstStyle/>
            <a:p>
              <a:pPr algn="ctr"/>
              <a:endParaRPr/>
            </a:p>
          </p:txBody>
        </p:sp>
        <p:sp>
          <p:nvSpPr>
            <p:cNvPr id="74" name="ïṡ1iďe">
              <a:extLst>
                <a:ext uri="{FF2B5EF4-FFF2-40B4-BE49-F238E27FC236}">
                  <a16:creationId xmlns:a16="http://schemas.microsoft.com/office/drawing/2014/main" id="{67A1BFF1-9897-44ED-8ACB-54161B326FFA}"/>
                </a:ext>
              </a:extLst>
            </p:cNvPr>
            <p:cNvSpPr/>
            <p:nvPr/>
          </p:nvSpPr>
          <p:spPr bwMode="auto">
            <a:xfrm>
              <a:off x="5235791" y="4295801"/>
              <a:ext cx="227447" cy="232864"/>
            </a:xfrm>
            <a:custGeom>
              <a:gdLst>
                <a:gd fmla="*/ 1 w 27" name="T0"/>
                <a:gd fmla="*/ 0 h 28" name="T1"/>
                <a:gd fmla="*/ 1 w 27" name="T2"/>
                <a:gd fmla="*/ 0 h 28" name="T3"/>
                <a:gd fmla="*/ 0 w 27" name="T4"/>
                <a:gd fmla="*/ 0 h 28" name="T5"/>
                <a:gd fmla="*/ 0 w 27" name="T6"/>
                <a:gd fmla="*/ 0 h 28" name="T7"/>
                <a:gd fmla="*/ 27 w 27" name="T8"/>
                <a:gd fmla="*/ 28 h 28" name="T9"/>
                <a:gd fmla="*/ 14 w 27" name="T10"/>
                <a:gd fmla="*/ 7 h 28" name="T11"/>
                <a:gd fmla="*/ 12 w 27" name="T12"/>
                <a:gd fmla="*/ 3 h 28" name="T13"/>
                <a:gd fmla="*/ 12 w 27" name="T14"/>
                <a:gd fmla="*/ 4 h 28" name="T15"/>
                <a:gd fmla="*/ 12 w 27" name="T16"/>
                <a:gd fmla="*/ 4 h 28" name="T17"/>
                <a:gd fmla="*/ 12 w 27" name="T18"/>
                <a:gd fmla="*/ 4 h 28" name="T19"/>
                <a:gd fmla="*/ 12 w 27" name="T20"/>
                <a:gd fmla="*/ 3 h 28" name="T21"/>
                <a:gd fmla="*/ 12 w 27" name="T22"/>
                <a:gd fmla="*/ 3 h 28" name="T23"/>
                <a:gd fmla="*/ 12 w 27" name="T24"/>
                <a:gd fmla="*/ 3 h 28" name="T25"/>
                <a:gd fmla="*/ 11 w 27" name="T26"/>
                <a:gd fmla="*/ 3 h 28" name="T27"/>
                <a:gd fmla="*/ 11 w 27" name="T28"/>
                <a:gd fmla="*/ 3 h 28" name="T29"/>
                <a:gd fmla="*/ 9 w 27" name="T30"/>
                <a:gd fmla="*/ 2 h 28" name="T31"/>
                <a:gd fmla="*/ 8 w 27" name="T32"/>
                <a:gd fmla="*/ 2 h 28" name="T33"/>
                <a:gd fmla="*/ 8 w 27" name="T34"/>
                <a:gd fmla="*/ 2 h 28" name="T35"/>
                <a:gd fmla="*/ 2 w 27" name="T36"/>
                <a:gd fmla="*/ 0 h 28" name="T37"/>
                <a:gd fmla="*/ 1 w 27" name="T38"/>
                <a:gd fmla="*/ 0 h 28" name="T3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b="b" l="0" r="r" t="0"/>
              <a:pathLst>
                <a:path h="28" w="27">
                  <a:moveTo>
                    <a:pt x="1" y="0"/>
                  </a:moveTo>
                  <a:cubicBezTo>
                    <a:pt x="1" y="0"/>
                    <a:pt x="1" y="0"/>
                    <a:pt x="1" y="0"/>
                  </a:cubicBezTo>
                  <a:cubicBezTo>
                    <a:pt x="1" y="0"/>
                    <a:pt x="0" y="0"/>
                    <a:pt x="0" y="0"/>
                  </a:cubicBezTo>
                  <a:cubicBezTo>
                    <a:pt x="0" y="0"/>
                    <a:pt x="0" y="0"/>
                    <a:pt x="0" y="0"/>
                  </a:cubicBezTo>
                  <a:cubicBezTo>
                    <a:pt x="27" y="28"/>
                    <a:pt x="27" y="28"/>
                    <a:pt x="27" y="28"/>
                  </a:cubicBezTo>
                  <a:cubicBezTo>
                    <a:pt x="14" y="7"/>
                    <a:pt x="14" y="7"/>
                    <a:pt x="14" y="7"/>
                  </a:cubicBezTo>
                  <a:cubicBezTo>
                    <a:pt x="12" y="3"/>
                    <a:pt x="12" y="3"/>
                    <a:pt x="12" y="3"/>
                  </a:cubicBezTo>
                  <a:cubicBezTo>
                    <a:pt x="12" y="4"/>
                    <a:pt x="12" y="4"/>
                    <a:pt x="12" y="4"/>
                  </a:cubicBezTo>
                  <a:cubicBezTo>
                    <a:pt x="12" y="4"/>
                    <a:pt x="12" y="4"/>
                    <a:pt x="12" y="4"/>
                  </a:cubicBezTo>
                  <a:cubicBezTo>
                    <a:pt x="12" y="4"/>
                    <a:pt x="12" y="4"/>
                    <a:pt x="12" y="4"/>
                  </a:cubicBezTo>
                  <a:cubicBezTo>
                    <a:pt x="12" y="4"/>
                    <a:pt x="12" y="4"/>
                    <a:pt x="12" y="3"/>
                  </a:cubicBezTo>
                  <a:cubicBezTo>
                    <a:pt x="12" y="3"/>
                    <a:pt x="12" y="3"/>
                    <a:pt x="12" y="3"/>
                  </a:cubicBezTo>
                  <a:cubicBezTo>
                    <a:pt x="12" y="3"/>
                    <a:pt x="12" y="3"/>
                    <a:pt x="12" y="3"/>
                  </a:cubicBezTo>
                  <a:cubicBezTo>
                    <a:pt x="12" y="3"/>
                    <a:pt x="11" y="3"/>
                    <a:pt x="11" y="3"/>
                  </a:cubicBezTo>
                  <a:cubicBezTo>
                    <a:pt x="11" y="3"/>
                    <a:pt x="11" y="3"/>
                    <a:pt x="11" y="3"/>
                  </a:cubicBezTo>
                  <a:cubicBezTo>
                    <a:pt x="11" y="3"/>
                    <a:pt x="10" y="2"/>
                    <a:pt x="9" y="2"/>
                  </a:cubicBezTo>
                  <a:cubicBezTo>
                    <a:pt x="9" y="2"/>
                    <a:pt x="9" y="2"/>
                    <a:pt x="8" y="2"/>
                  </a:cubicBezTo>
                  <a:cubicBezTo>
                    <a:pt x="8" y="2"/>
                    <a:pt x="8" y="2"/>
                    <a:pt x="8" y="2"/>
                  </a:cubicBezTo>
                  <a:cubicBezTo>
                    <a:pt x="6" y="1"/>
                    <a:pt x="4" y="0"/>
                    <a:pt x="2" y="0"/>
                  </a:cubicBezTo>
                  <a:cubicBezTo>
                    <a:pt x="2" y="0"/>
                    <a:pt x="2" y="0"/>
                    <a:pt x="1" y="0"/>
                  </a:cubicBezTo>
                </a:path>
              </a:pathLst>
            </a:custGeom>
            <a:gradFill>
              <a:gsLst>
                <a:gs pos="4000">
                  <a:schemeClr val="tx1">
                    <a:alpha val="21000"/>
                  </a:schemeClr>
                </a:gs>
                <a:gs pos="100000">
                  <a:schemeClr val="tx1">
                    <a:alpha val="0"/>
                  </a:schemeClr>
                </a:gs>
              </a:gsLst>
              <a:lin ang="5400000" scaled="0"/>
            </a:gradFill>
            <a:ln>
              <a:noFill/>
            </a:ln>
          </p:spPr>
          <p:txBody>
            <a:bodyPr anchor="ctr"/>
            <a:lstStyle/>
            <a:p>
              <a:pPr algn="ctr"/>
              <a:endParaRPr/>
            </a:p>
          </p:txBody>
        </p:sp>
        <p:sp>
          <p:nvSpPr>
            <p:cNvPr id="75" name="ïṣļide">
              <a:extLst>
                <a:ext uri="{FF2B5EF4-FFF2-40B4-BE49-F238E27FC236}">
                  <a16:creationId xmlns:a16="http://schemas.microsoft.com/office/drawing/2014/main" id="{54787B53-9935-4FD6-BE54-479534479B15}"/>
                </a:ext>
              </a:extLst>
            </p:cNvPr>
            <p:cNvSpPr/>
            <p:nvPr/>
          </p:nvSpPr>
          <p:spPr bwMode="auto">
            <a:xfrm>
              <a:off x="5463237" y="4160418"/>
              <a:ext cx="232865" cy="232864"/>
            </a:xfrm>
            <a:custGeom>
              <a:gdLst>
                <a:gd fmla="*/ 2 w 27" name="T0"/>
                <a:gd fmla="*/ 0 h 29" name="T1"/>
                <a:gd fmla="*/ 2 w 27" name="T2"/>
                <a:gd fmla="*/ 0 h 29" name="T3"/>
                <a:gd fmla="*/ 0 w 27" name="T4"/>
                <a:gd fmla="*/ 1 h 29" name="T5"/>
                <a:gd fmla="*/ 0 w 27" name="T6"/>
                <a:gd fmla="*/ 1 h 29" name="T7"/>
                <a:gd fmla="*/ 27 w 27" name="T8"/>
                <a:gd fmla="*/ 29 h 29" name="T9"/>
                <a:gd fmla="*/ 14 w 27" name="T10"/>
                <a:gd fmla="*/ 7 h 29" name="T11"/>
                <a:gd fmla="*/ 12 w 27" name="T12"/>
                <a:gd fmla="*/ 4 h 29" name="T13"/>
                <a:gd fmla="*/ 12 w 27" name="T14"/>
                <a:gd fmla="*/ 4 h 29" name="T15"/>
                <a:gd fmla="*/ 12 w 27" name="T16"/>
                <a:gd fmla="*/ 4 h 29" name="T17"/>
                <a:gd fmla="*/ 12 w 27" name="T18"/>
                <a:gd fmla="*/ 4 h 29" name="T19"/>
                <a:gd fmla="*/ 12 w 27" name="T20"/>
                <a:gd fmla="*/ 4 h 29" name="T21"/>
                <a:gd fmla="*/ 10 w 27" name="T22"/>
                <a:gd fmla="*/ 2 h 29" name="T23"/>
                <a:gd fmla="*/ 2 w 27" name="T24"/>
                <a:gd fmla="*/ 0 h 29" name="T25"/>
                <a:gd fmla="*/ 2 w 27" name="T26"/>
                <a:gd fmla="*/ 0 h 29" name="T2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b="b" l="0" r="r" t="0"/>
              <a:pathLst>
                <a:path h="28" w="27">
                  <a:moveTo>
                    <a:pt x="2" y="0"/>
                  </a:moveTo>
                  <a:cubicBezTo>
                    <a:pt x="2" y="0"/>
                    <a:pt x="2" y="0"/>
                    <a:pt x="2" y="0"/>
                  </a:cubicBezTo>
                  <a:cubicBezTo>
                    <a:pt x="1" y="0"/>
                    <a:pt x="0" y="0"/>
                    <a:pt x="0" y="1"/>
                  </a:cubicBezTo>
                  <a:cubicBezTo>
                    <a:pt x="0" y="1"/>
                    <a:pt x="0" y="1"/>
                    <a:pt x="0" y="1"/>
                  </a:cubicBezTo>
                  <a:cubicBezTo>
                    <a:pt x="27" y="29"/>
                    <a:pt x="27" y="29"/>
                    <a:pt x="27" y="29"/>
                  </a:cubicBezTo>
                  <a:cubicBezTo>
                    <a:pt x="14" y="7"/>
                    <a:pt x="14" y="7"/>
                    <a:pt x="14" y="7"/>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1" y="3"/>
                    <a:pt x="11" y="3"/>
                    <a:pt x="10" y="2"/>
                  </a:cubicBezTo>
                  <a:cubicBezTo>
                    <a:pt x="7" y="1"/>
                    <a:pt x="4" y="0"/>
                    <a:pt x="2" y="0"/>
                  </a:cubicBezTo>
                  <a:cubicBezTo>
                    <a:pt x="2" y="0"/>
                    <a:pt x="2" y="0"/>
                    <a:pt x="2" y="0"/>
                  </a:cubicBezTo>
                </a:path>
              </a:pathLst>
            </a:custGeom>
            <a:gradFill>
              <a:gsLst>
                <a:gs pos="4000">
                  <a:schemeClr val="tx1">
                    <a:alpha val="21000"/>
                  </a:schemeClr>
                </a:gs>
                <a:gs pos="100000">
                  <a:schemeClr val="tx1">
                    <a:alpha val="0"/>
                  </a:schemeClr>
                </a:gs>
              </a:gsLst>
              <a:lin ang="5400000" scaled="0"/>
            </a:gradFill>
            <a:ln>
              <a:noFill/>
            </a:ln>
          </p:spPr>
          <p:txBody>
            <a:bodyPr anchor="ctr"/>
            <a:lstStyle/>
            <a:p>
              <a:pPr algn="ctr"/>
              <a:endParaRPr/>
            </a:p>
          </p:txBody>
        </p:sp>
        <p:sp>
          <p:nvSpPr>
            <p:cNvPr id="77" name="îşliďe">
              <a:extLst>
                <a:ext uri="{FF2B5EF4-FFF2-40B4-BE49-F238E27FC236}">
                  <a16:creationId xmlns:a16="http://schemas.microsoft.com/office/drawing/2014/main" id="{84FA3155-E26F-4389-B732-E454E8DE945A}"/>
                </a:ext>
              </a:extLst>
            </p:cNvPr>
            <p:cNvSpPr/>
            <p:nvPr/>
          </p:nvSpPr>
          <p:spPr bwMode="auto">
            <a:xfrm>
              <a:off x="6237640" y="5259744"/>
              <a:ext cx="259940" cy="259940"/>
            </a:xfrm>
            <a:custGeom>
              <a:gdLst>
                <a:gd fmla="*/ 19 w 48" name="T0"/>
                <a:gd fmla="*/ 0 h 48" name="T1"/>
                <a:gd fmla="*/ 0 w 48" name="T2"/>
                <a:gd fmla="*/ 15 h 48" name="T3"/>
                <a:gd fmla="*/ 48 w 48" name="T4"/>
                <a:gd fmla="*/ 48 h 48" name="T5"/>
                <a:gd fmla="*/ 19 w 48" name="T6"/>
                <a:gd fmla="*/ 0 h 48" name="T7"/>
              </a:gdLst>
              <a:cxnLst>
                <a:cxn ang="0">
                  <a:pos x="T0" y="T1"/>
                </a:cxn>
                <a:cxn ang="0">
                  <a:pos x="T2" y="T3"/>
                </a:cxn>
                <a:cxn ang="0">
                  <a:pos x="T4" y="T5"/>
                </a:cxn>
                <a:cxn ang="0">
                  <a:pos x="T6" y="T7"/>
                </a:cxn>
              </a:cxnLst>
              <a:rect b="b" l="0" r="r" t="0"/>
              <a:pathLst>
                <a:path h="48" w="48">
                  <a:moveTo>
                    <a:pt x="19" y="0"/>
                  </a:moveTo>
                  <a:lnTo>
                    <a:pt x="0" y="15"/>
                  </a:lnTo>
                  <a:lnTo>
                    <a:pt x="48" y="48"/>
                  </a:lnTo>
                  <a:lnTo>
                    <a:pt x="19" y="0"/>
                  </a:lnTo>
                </a:path>
              </a:pathLst>
            </a:custGeom>
            <a:noFill/>
            <a:ln>
              <a:noFill/>
            </a:ln>
            <a:extLst>
              <a:ext uri="{909E8E84-426E-40DD-AFC4-6F175D3DCCD1}">
                <a14:hiddenFill>
                  <a:solidFill>
                    <a:srgbClr val="FFFFFF"/>
                  </a:solidFill>
                </a14:hiddenFill>
              </a:ext>
              <a:ext uri="{91240B29-F687-4F45-9708-019B960494DF}">
                <a14:hiddenLine w="9525">
                  <a:solidFill>
                    <a:srgbClr val="000000"/>
                  </a:solidFill>
                  <a:round/>
                  <a:headEnd/>
                  <a:tailEnd/>
                </a14:hiddenLine>
              </a:ext>
            </a:extLst>
          </p:spPr>
          <p:txBody>
            <a:bodyPr anchor="ctr"/>
            <a:lstStyle/>
            <a:p>
              <a:pPr algn="ctr"/>
              <a:endParaRPr/>
            </a:p>
          </p:txBody>
        </p:sp>
        <p:sp>
          <p:nvSpPr>
            <p:cNvPr id="78" name="ïṡļîdê">
              <a:extLst>
                <a:ext uri="{FF2B5EF4-FFF2-40B4-BE49-F238E27FC236}">
                  <a16:creationId xmlns:a16="http://schemas.microsoft.com/office/drawing/2014/main" id="{926A19C8-F4A1-4BC6-B9A8-AE2BD689D92F}"/>
                </a:ext>
              </a:extLst>
            </p:cNvPr>
            <p:cNvSpPr/>
            <p:nvPr/>
          </p:nvSpPr>
          <p:spPr bwMode="auto">
            <a:xfrm>
              <a:off x="5891054" y="5606330"/>
              <a:ext cx="996435" cy="801481"/>
            </a:xfrm>
            <a:custGeom>
              <a:gdLst>
                <a:gd fmla="*/ 113 w 118" name="T0"/>
                <a:gd fmla="*/ 50 h 95" name="T1"/>
                <a:gd fmla="*/ 110 w 118" name="T2"/>
                <a:gd fmla="*/ 52 h 95" name="T3"/>
                <a:gd fmla="*/ 70 w 118" name="T4"/>
                <a:gd fmla="*/ 73 h 95" name="T5"/>
                <a:gd fmla="*/ 30 w 118" name="T6"/>
                <a:gd fmla="*/ 94 h 95" name="T7"/>
                <a:gd fmla="*/ 22 w 118" name="T8"/>
                <a:gd fmla="*/ 91 h 95" name="T9"/>
                <a:gd fmla="*/ 2 w 118" name="T10"/>
                <a:gd fmla="*/ 55 h 95" name="T11"/>
                <a:gd fmla="*/ 4 w 118" name="T12"/>
                <a:gd fmla="*/ 47 h 95" name="T13"/>
                <a:gd fmla="*/ 6 w 118" name="T14"/>
                <a:gd fmla="*/ 46 h 95" name="T15"/>
                <a:gd fmla="*/ 81 w 118" name="T16"/>
                <a:gd fmla="*/ 4 h 95" name="T17"/>
                <a:gd fmla="*/ 84 w 118" name="T18"/>
                <a:gd fmla="*/ 2 h 95" name="T19"/>
                <a:gd fmla="*/ 93 w 118" name="T20"/>
                <a:gd fmla="*/ 4 h 95" name="T21"/>
                <a:gd fmla="*/ 116 w 118" name="T22"/>
                <a:gd fmla="*/ 41 h 95" name="T23"/>
                <a:gd fmla="*/ 113 w 118" name="T24"/>
                <a:gd fmla="*/ 50 h 95" name="T2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b="b" l="0" r="r" t="0"/>
              <a:pathLst>
                <a:path h="95" w="118">
                  <a:moveTo>
                    <a:pt x="113" y="50"/>
                  </a:moveTo>
                  <a:cubicBezTo>
                    <a:pt x="110" y="52"/>
                    <a:pt x="110" y="52"/>
                    <a:pt x="110" y="52"/>
                  </a:cubicBezTo>
                  <a:cubicBezTo>
                    <a:pt x="70" y="73"/>
                    <a:pt x="70" y="73"/>
                    <a:pt x="70" y="73"/>
                  </a:cubicBezTo>
                  <a:cubicBezTo>
                    <a:pt x="30" y="94"/>
                    <a:pt x="30" y="94"/>
                    <a:pt x="30" y="94"/>
                  </a:cubicBezTo>
                  <a:cubicBezTo>
                    <a:pt x="27" y="95"/>
                    <a:pt x="23" y="94"/>
                    <a:pt x="22" y="91"/>
                  </a:cubicBezTo>
                  <a:cubicBezTo>
                    <a:pt x="2" y="55"/>
                    <a:pt x="2" y="55"/>
                    <a:pt x="2" y="55"/>
                  </a:cubicBezTo>
                  <a:cubicBezTo>
                    <a:pt x="0" y="52"/>
                    <a:pt x="1" y="49"/>
                    <a:pt x="4" y="47"/>
                  </a:cubicBezTo>
                  <a:cubicBezTo>
                    <a:pt x="6" y="46"/>
                    <a:pt x="6" y="46"/>
                    <a:pt x="6" y="46"/>
                  </a:cubicBezTo>
                  <a:cubicBezTo>
                    <a:pt x="81" y="4"/>
                    <a:pt x="81" y="4"/>
                    <a:pt x="81" y="4"/>
                  </a:cubicBezTo>
                  <a:cubicBezTo>
                    <a:pt x="84" y="2"/>
                    <a:pt x="84" y="2"/>
                    <a:pt x="84" y="2"/>
                  </a:cubicBezTo>
                  <a:cubicBezTo>
                    <a:pt x="87" y="0"/>
                    <a:pt x="91" y="1"/>
                    <a:pt x="93" y="4"/>
                  </a:cubicBezTo>
                  <a:cubicBezTo>
                    <a:pt x="116" y="41"/>
                    <a:pt x="116" y="41"/>
                    <a:pt x="116" y="41"/>
                  </a:cubicBezTo>
                  <a:cubicBezTo>
                    <a:pt x="118" y="45"/>
                    <a:pt x="117" y="49"/>
                    <a:pt x="113" y="50"/>
                  </a:cubicBezTo>
                  <a:close/>
                </a:path>
              </a:pathLst>
            </a:custGeom>
            <a:solidFill>
              <a:srgbClr val="00456B"/>
            </a:solidFill>
            <a:ln>
              <a:noFill/>
            </a:ln>
            <a:extLst>
              <a:ext uri="{91240B29-F687-4F45-9708-019B960494DF}">
                <a14:hiddenLine w="9525">
                  <a:solidFill>
                    <a:srgbClr val="000000"/>
                  </a:solidFill>
                  <a:round/>
                  <a:headEnd/>
                  <a:tailEnd/>
                </a14:hiddenLine>
              </a:ext>
            </a:extLst>
          </p:spPr>
          <p:txBody>
            <a:bodyPr anchor="ctr"/>
            <a:lstStyle/>
            <a:p>
              <a:pPr algn="ctr"/>
              <a:endParaRPr/>
            </a:p>
          </p:txBody>
        </p:sp>
        <p:sp>
          <p:nvSpPr>
            <p:cNvPr id="79" name="iŝ1iḍe">
              <a:extLst>
                <a:ext uri="{FF2B5EF4-FFF2-40B4-BE49-F238E27FC236}">
                  <a16:creationId xmlns:a16="http://schemas.microsoft.com/office/drawing/2014/main" id="{1CC30371-1AA7-4EDD-AD2F-299CEAAE9720}"/>
                </a:ext>
              </a:extLst>
            </p:cNvPr>
            <p:cNvSpPr/>
            <p:nvPr/>
          </p:nvSpPr>
          <p:spPr bwMode="auto">
            <a:xfrm>
              <a:off x="6042685" y="6072055"/>
              <a:ext cx="162462" cy="151631"/>
            </a:xfrm>
            <a:prstGeom prst="ellipse">
              <a:avLst/>
            </a:prstGeom>
            <a:solidFill>
              <a:srgbClr val="E2E6FF"/>
            </a:solidFill>
            <a:ln>
              <a:noFill/>
            </a:ln>
            <a:extLst>
              <a:ext uri="{91240B29-F687-4F45-9708-019B960494DF}">
                <a14:hiddenLine w="9525">
                  <a:solidFill>
                    <a:srgbClr val="000000"/>
                  </a:solidFill>
                  <a:round/>
                  <a:headEnd/>
                  <a:tailEnd/>
                </a14:hiddenLine>
              </a:ext>
            </a:extLst>
          </p:spPr>
          <p:txBody>
            <a:bodyPr anchor="ctr"/>
            <a:lstStyle/>
            <a:p>
              <a:pPr algn="ctr"/>
              <a:endParaRPr/>
            </a:p>
          </p:txBody>
        </p:sp>
      </p:grpSp>
    </p:spTree>
    <p:extLst>
      <p:ext uri="{BB962C8B-B14F-4D97-AF65-F5344CB8AC3E}">
        <p14:creationId val="3587118375"/>
      </p:ext>
    </p:extLst>
  </p:cSld>
  <p:clrMapOvr>
    <a:masterClrMapping/>
  </p:clrMapOvr>
  <mc:AlternateContent>
    <mc:Choice Requires="p14">
      <p:transition p14:dur="1500" spd="slow">
        <p:random/>
      </p:transition>
    </mc:Choice>
    <mc:Fallback>
      <p:transition spd="slow">
        <p:random/>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decel="100000" fill="hold" grpId="0" id="5" nodeType="withEffect" presetClass="entr" presetID="50" presetSubtype="0">
                                  <p:stCondLst>
                                    <p:cond delay="0"/>
                                  </p:stCondLst>
                                  <p:childTnLst>
                                    <p:set>
                                      <p:cBhvr>
                                        <p:cTn dur="1" fill="hold" id="6">
                                          <p:stCondLst>
                                            <p:cond delay="0"/>
                                          </p:stCondLst>
                                        </p:cTn>
                                        <p:tgtEl>
                                          <p:spTgt spid="10"/>
                                        </p:tgtEl>
                                        <p:attrNameLst>
                                          <p:attrName>style.visibility</p:attrName>
                                        </p:attrNameLst>
                                      </p:cBhvr>
                                      <p:to>
                                        <p:strVal val="visible"/>
                                      </p:to>
                                    </p:set>
                                    <p:anim calcmode="lin" valueType="num">
                                      <p:cBhvr>
                                        <p:cTn dur="1000" fill="hold" id="7"/>
                                        <p:tgtEl>
                                          <p:spTgt spid="10"/>
                                        </p:tgtEl>
                                        <p:attrNameLst>
                                          <p:attrName>ppt_w</p:attrName>
                                        </p:attrNameLst>
                                      </p:cBhvr>
                                      <p:tavLst>
                                        <p:tav tm="0">
                                          <p:val>
                                            <p:strVal val="#ppt_w+.3"/>
                                          </p:val>
                                        </p:tav>
                                        <p:tav tm="100000">
                                          <p:val>
                                            <p:strVal val="#ppt_w"/>
                                          </p:val>
                                        </p:tav>
                                      </p:tavLst>
                                    </p:anim>
                                    <p:anim calcmode="lin" valueType="num">
                                      <p:cBhvr>
                                        <p:cTn dur="1000" fill="hold" id="8"/>
                                        <p:tgtEl>
                                          <p:spTgt spid="10"/>
                                        </p:tgtEl>
                                        <p:attrNameLst>
                                          <p:attrName>ppt_h</p:attrName>
                                        </p:attrNameLst>
                                      </p:cBhvr>
                                      <p:tavLst>
                                        <p:tav tm="0">
                                          <p:val>
                                            <p:strVal val="#ppt_h"/>
                                          </p:val>
                                        </p:tav>
                                        <p:tav tm="100000">
                                          <p:val>
                                            <p:strVal val="#ppt_h"/>
                                          </p:val>
                                        </p:tav>
                                      </p:tavLst>
                                    </p:anim>
                                    <p:animEffect filter="fade" transition="in">
                                      <p:cBhvr>
                                        <p:cTn dur="1000" id="9"/>
                                        <p:tgtEl>
                                          <p:spTgt spid="10"/>
                                        </p:tgtEl>
                                      </p:cBhvr>
                                    </p:animEffect>
                                  </p:childTnLst>
                                </p:cTn>
                              </p:par>
                              <p:par>
                                <p:cTn fill="hold" id="10" nodeType="withEffect" presetClass="entr" presetID="53" presetSubtype="0">
                                  <p:stCondLst>
                                    <p:cond delay="250"/>
                                  </p:stCondLst>
                                  <p:childTnLst>
                                    <p:set>
                                      <p:cBhvr>
                                        <p:cTn dur="1" fill="hold" id="11">
                                          <p:stCondLst>
                                            <p:cond delay="0"/>
                                          </p:stCondLst>
                                        </p:cTn>
                                        <p:tgtEl>
                                          <p:spTgt spid="15"/>
                                        </p:tgtEl>
                                        <p:attrNameLst>
                                          <p:attrName>style.visibility</p:attrName>
                                        </p:attrNameLst>
                                      </p:cBhvr>
                                      <p:to>
                                        <p:strVal val="visible"/>
                                      </p:to>
                                    </p:set>
                                    <p:anim calcmode="lin" valueType="num">
                                      <p:cBhvr>
                                        <p:cTn dur="500" fill="hold" id="12"/>
                                        <p:tgtEl>
                                          <p:spTgt spid="15"/>
                                        </p:tgtEl>
                                        <p:attrNameLst>
                                          <p:attrName>ppt_w</p:attrName>
                                        </p:attrNameLst>
                                      </p:cBhvr>
                                      <p:tavLst>
                                        <p:tav tm="0">
                                          <p:val>
                                            <p:fltVal val="0"/>
                                          </p:val>
                                        </p:tav>
                                        <p:tav tm="100000">
                                          <p:val>
                                            <p:strVal val="#ppt_w"/>
                                          </p:val>
                                        </p:tav>
                                      </p:tavLst>
                                    </p:anim>
                                    <p:anim calcmode="lin" valueType="num">
                                      <p:cBhvr>
                                        <p:cTn dur="500" fill="hold" id="13"/>
                                        <p:tgtEl>
                                          <p:spTgt spid="15"/>
                                        </p:tgtEl>
                                        <p:attrNameLst>
                                          <p:attrName>ppt_h</p:attrName>
                                        </p:attrNameLst>
                                      </p:cBhvr>
                                      <p:tavLst>
                                        <p:tav tm="0">
                                          <p:val>
                                            <p:fltVal val="0"/>
                                          </p:val>
                                        </p:tav>
                                        <p:tav tm="100000">
                                          <p:val>
                                            <p:strVal val="#ppt_h"/>
                                          </p:val>
                                        </p:tav>
                                      </p:tavLst>
                                    </p:anim>
                                    <p:animEffect filter="fade" transition="in">
                                      <p:cBhvr>
                                        <p:cTn dur="500" id="14"/>
                                        <p:tgtEl>
                                          <p:spTgt spid="15"/>
                                        </p:tgtEl>
                                      </p:cBhvr>
                                    </p:animEffect>
                                  </p:childTnLst>
                                </p:cTn>
                              </p:par>
                              <p:par>
                                <p:cTn fill="hold" id="15" nodeType="withEffect" presetClass="entr" presetID="53" presetSubtype="0">
                                  <p:stCondLst>
                                    <p:cond delay="250"/>
                                  </p:stCondLst>
                                  <p:childTnLst>
                                    <p:set>
                                      <p:cBhvr>
                                        <p:cTn dur="1" fill="hold" id="16">
                                          <p:stCondLst>
                                            <p:cond delay="0"/>
                                          </p:stCondLst>
                                        </p:cTn>
                                        <p:tgtEl>
                                          <p:spTgt spid="16"/>
                                        </p:tgtEl>
                                        <p:attrNameLst>
                                          <p:attrName>style.visibility</p:attrName>
                                        </p:attrNameLst>
                                      </p:cBhvr>
                                      <p:to>
                                        <p:strVal val="visible"/>
                                      </p:to>
                                    </p:set>
                                    <p:anim calcmode="lin" valueType="num">
                                      <p:cBhvr>
                                        <p:cTn dur="500" fill="hold" id="17"/>
                                        <p:tgtEl>
                                          <p:spTgt spid="16"/>
                                        </p:tgtEl>
                                        <p:attrNameLst>
                                          <p:attrName>ppt_w</p:attrName>
                                        </p:attrNameLst>
                                      </p:cBhvr>
                                      <p:tavLst>
                                        <p:tav tm="0">
                                          <p:val>
                                            <p:fltVal val="0"/>
                                          </p:val>
                                        </p:tav>
                                        <p:tav tm="100000">
                                          <p:val>
                                            <p:strVal val="#ppt_w"/>
                                          </p:val>
                                        </p:tav>
                                      </p:tavLst>
                                    </p:anim>
                                    <p:anim calcmode="lin" valueType="num">
                                      <p:cBhvr>
                                        <p:cTn dur="500" fill="hold" id="18"/>
                                        <p:tgtEl>
                                          <p:spTgt spid="16"/>
                                        </p:tgtEl>
                                        <p:attrNameLst>
                                          <p:attrName>ppt_h</p:attrName>
                                        </p:attrNameLst>
                                      </p:cBhvr>
                                      <p:tavLst>
                                        <p:tav tm="0">
                                          <p:val>
                                            <p:fltVal val="0"/>
                                          </p:val>
                                        </p:tav>
                                        <p:tav tm="100000">
                                          <p:val>
                                            <p:strVal val="#ppt_h"/>
                                          </p:val>
                                        </p:tav>
                                      </p:tavLst>
                                    </p:anim>
                                    <p:animEffect filter="fade" transition="in">
                                      <p:cBhvr>
                                        <p:cTn dur="500" id="19"/>
                                        <p:tgtEl>
                                          <p:spTgt spid="16"/>
                                        </p:tgtEl>
                                      </p:cBhvr>
                                    </p:animEffect>
                                  </p:childTnLst>
                                </p:cTn>
                              </p:par>
                              <p:par>
                                <p:cTn fill="hold" id="20" nodeType="withEffect" presetClass="entr" presetID="22" presetSubtype="8">
                                  <p:stCondLst>
                                    <p:cond delay="750"/>
                                  </p:stCondLst>
                                  <p:childTnLst>
                                    <p:set>
                                      <p:cBhvr>
                                        <p:cTn dur="1" fill="hold" id="21">
                                          <p:stCondLst>
                                            <p:cond delay="0"/>
                                          </p:stCondLst>
                                        </p:cTn>
                                        <p:tgtEl>
                                          <p:spTgt spid="13"/>
                                        </p:tgtEl>
                                        <p:attrNameLst>
                                          <p:attrName>style.visibility</p:attrName>
                                        </p:attrNameLst>
                                      </p:cBhvr>
                                      <p:to>
                                        <p:strVal val="visible"/>
                                      </p:to>
                                    </p:set>
                                    <p:animEffect filter="wipe(left)" transition="in">
                                      <p:cBhvr>
                                        <p:cTn dur="250" id="22"/>
                                        <p:tgtEl>
                                          <p:spTgt spid="13"/>
                                        </p:tgtEl>
                                      </p:cBhvr>
                                    </p:animEffect>
                                  </p:childTnLst>
                                </p:cTn>
                              </p:par>
                              <p:par>
                                <p:cTn fill="hold" id="23" nodeType="withEffect" presetClass="entr" presetID="22" presetSubtype="2">
                                  <p:stCondLst>
                                    <p:cond delay="750"/>
                                  </p:stCondLst>
                                  <p:childTnLst>
                                    <p:set>
                                      <p:cBhvr>
                                        <p:cTn dur="1" fill="hold" id="24">
                                          <p:stCondLst>
                                            <p:cond delay="0"/>
                                          </p:stCondLst>
                                        </p:cTn>
                                        <p:tgtEl>
                                          <p:spTgt spid="18"/>
                                        </p:tgtEl>
                                        <p:attrNameLst>
                                          <p:attrName>style.visibility</p:attrName>
                                        </p:attrNameLst>
                                      </p:cBhvr>
                                      <p:to>
                                        <p:strVal val="visible"/>
                                      </p:to>
                                    </p:set>
                                    <p:animEffect filter="wipe(right)" transition="in">
                                      <p:cBhvr>
                                        <p:cTn dur="250" id="25"/>
                                        <p:tgtEl>
                                          <p:spTgt spid="18"/>
                                        </p:tgtEl>
                                      </p:cBhvr>
                                    </p:animEffect>
                                  </p:childTnLst>
                                </p:cTn>
                              </p:par>
                            </p:childTnLst>
                          </p:cTn>
                        </p:par>
                        <p:par>
                          <p:cTn fill="hold" id="26" nodeType="afterGroup">
                            <p:stCondLst>
                              <p:cond delay="1000"/>
                            </p:stCondLst>
                            <p:childTnLst>
                              <p:par>
                                <p:cTn decel="67000" fill="hold" id="27" nodeType="afterEffect" presetClass="entr" presetID="2" presetSubtype="4">
                                  <p:stCondLst>
                                    <p:cond delay="0"/>
                                  </p:stCondLst>
                                  <p:childTnLst>
                                    <p:set>
                                      <p:cBhvr>
                                        <p:cTn dur="1" fill="hold" id="28">
                                          <p:stCondLst>
                                            <p:cond delay="0"/>
                                          </p:stCondLst>
                                        </p:cTn>
                                        <p:tgtEl>
                                          <p:spTgt spid="115"/>
                                        </p:tgtEl>
                                        <p:attrNameLst>
                                          <p:attrName>style.visibility</p:attrName>
                                        </p:attrNameLst>
                                      </p:cBhvr>
                                      <p:to>
                                        <p:strVal val="visible"/>
                                      </p:to>
                                    </p:set>
                                    <p:anim calcmode="lin" valueType="num">
                                      <p:cBhvr additive="base">
                                        <p:cTn dur="1000" fill="hold" id="29"/>
                                        <p:tgtEl>
                                          <p:spTgt spid="115"/>
                                        </p:tgtEl>
                                        <p:attrNameLst>
                                          <p:attrName>ppt_x</p:attrName>
                                        </p:attrNameLst>
                                      </p:cBhvr>
                                      <p:tavLst>
                                        <p:tav tm="0">
                                          <p:val>
                                            <p:strVal val="#ppt_x"/>
                                          </p:val>
                                        </p:tav>
                                        <p:tav tm="100000">
                                          <p:val>
                                            <p:strVal val="#ppt_x"/>
                                          </p:val>
                                        </p:tav>
                                      </p:tavLst>
                                    </p:anim>
                                    <p:anim calcmode="lin" valueType="num">
                                      <p:cBhvr additive="base">
                                        <p:cTn dur="1000" fill="hold" id="30"/>
                                        <p:tgtEl>
                                          <p:spTgt spid="115"/>
                                        </p:tgtEl>
                                        <p:attrNameLst>
                                          <p:attrName>ppt_y</p:attrName>
                                        </p:attrNameLst>
                                      </p:cBhvr>
                                      <p:tavLst>
                                        <p:tav tm="0">
                                          <p:val>
                                            <p:strVal val="1+#ppt_h/2"/>
                                          </p:val>
                                        </p:tav>
                                        <p:tav tm="100000">
                                          <p:val>
                                            <p:strVal val="#ppt_y"/>
                                          </p:val>
                                        </p:tav>
                                      </p:tavLst>
                                    </p:anim>
                                  </p:childTnLst>
                                </p:cTn>
                              </p:par>
                            </p:childTnLst>
                          </p:cTn>
                        </p:par>
                        <p:par>
                          <p:cTn fill="hold" id="31" nodeType="afterGroup">
                            <p:stCondLst>
                              <p:cond delay="2000"/>
                            </p:stCondLst>
                            <p:childTnLst>
                              <p:par>
                                <p:cTn fill="hold" id="32" nodeType="afterEffect" presetClass="entr" presetID="53" presetSubtype="0">
                                  <p:stCondLst>
                                    <p:cond delay="0"/>
                                  </p:stCondLst>
                                  <p:childTnLst>
                                    <p:set>
                                      <p:cBhvr>
                                        <p:cTn dur="1" fill="hold" id="33">
                                          <p:stCondLst>
                                            <p:cond delay="0"/>
                                          </p:stCondLst>
                                        </p:cTn>
                                        <p:tgtEl>
                                          <p:spTgt spid="90"/>
                                        </p:tgtEl>
                                        <p:attrNameLst>
                                          <p:attrName>style.visibility</p:attrName>
                                        </p:attrNameLst>
                                      </p:cBhvr>
                                      <p:to>
                                        <p:strVal val="visible"/>
                                      </p:to>
                                    </p:set>
                                    <p:anim calcmode="lin" valueType="num">
                                      <p:cBhvr>
                                        <p:cTn dur="500" fill="hold" id="34"/>
                                        <p:tgtEl>
                                          <p:spTgt spid="90"/>
                                        </p:tgtEl>
                                        <p:attrNameLst>
                                          <p:attrName>ppt_w</p:attrName>
                                        </p:attrNameLst>
                                      </p:cBhvr>
                                      <p:tavLst>
                                        <p:tav tm="0">
                                          <p:val>
                                            <p:fltVal val="0"/>
                                          </p:val>
                                        </p:tav>
                                        <p:tav tm="100000">
                                          <p:val>
                                            <p:strVal val="#ppt_w"/>
                                          </p:val>
                                        </p:tav>
                                      </p:tavLst>
                                    </p:anim>
                                    <p:anim calcmode="lin" valueType="num">
                                      <p:cBhvr>
                                        <p:cTn dur="500" fill="hold" id="35"/>
                                        <p:tgtEl>
                                          <p:spTgt spid="90"/>
                                        </p:tgtEl>
                                        <p:attrNameLst>
                                          <p:attrName>ppt_h</p:attrName>
                                        </p:attrNameLst>
                                      </p:cBhvr>
                                      <p:tavLst>
                                        <p:tav tm="0">
                                          <p:val>
                                            <p:fltVal val="0"/>
                                          </p:val>
                                        </p:tav>
                                        <p:tav tm="100000">
                                          <p:val>
                                            <p:strVal val="#ppt_h"/>
                                          </p:val>
                                        </p:tav>
                                      </p:tavLst>
                                    </p:anim>
                                    <p:animEffect filter="fade" transition="in">
                                      <p:cBhvr>
                                        <p:cTn dur="500" id="36"/>
                                        <p:tgtEl>
                                          <p:spTgt spid="90"/>
                                        </p:tgtEl>
                                      </p:cBhvr>
                                    </p:animEffect>
                                  </p:childTnLst>
                                </p:cTn>
                              </p:par>
                              <p:par>
                                <p:cTn fill="hold" grpId="0" id="37" nodeType="withEffect" presetClass="entr" presetID="53" presetSubtype="0">
                                  <p:stCondLst>
                                    <p:cond delay="0"/>
                                  </p:stCondLst>
                                  <p:childTnLst>
                                    <p:set>
                                      <p:cBhvr>
                                        <p:cTn dur="1" fill="hold" id="38">
                                          <p:stCondLst>
                                            <p:cond delay="0"/>
                                          </p:stCondLst>
                                        </p:cTn>
                                        <p:tgtEl>
                                          <p:spTgt spid="37"/>
                                        </p:tgtEl>
                                        <p:attrNameLst>
                                          <p:attrName>style.visibility</p:attrName>
                                        </p:attrNameLst>
                                      </p:cBhvr>
                                      <p:to>
                                        <p:strVal val="visible"/>
                                      </p:to>
                                    </p:set>
                                    <p:anim calcmode="lin" valueType="num">
                                      <p:cBhvr>
                                        <p:cTn dur="500" fill="hold" id="39"/>
                                        <p:tgtEl>
                                          <p:spTgt spid="37"/>
                                        </p:tgtEl>
                                        <p:attrNameLst>
                                          <p:attrName>ppt_w</p:attrName>
                                        </p:attrNameLst>
                                      </p:cBhvr>
                                      <p:tavLst>
                                        <p:tav tm="0">
                                          <p:val>
                                            <p:fltVal val="0"/>
                                          </p:val>
                                        </p:tav>
                                        <p:tav tm="100000">
                                          <p:val>
                                            <p:strVal val="#ppt_w"/>
                                          </p:val>
                                        </p:tav>
                                      </p:tavLst>
                                    </p:anim>
                                    <p:anim calcmode="lin" valueType="num">
                                      <p:cBhvr>
                                        <p:cTn dur="500" fill="hold" id="40"/>
                                        <p:tgtEl>
                                          <p:spTgt spid="37"/>
                                        </p:tgtEl>
                                        <p:attrNameLst>
                                          <p:attrName>ppt_h</p:attrName>
                                        </p:attrNameLst>
                                      </p:cBhvr>
                                      <p:tavLst>
                                        <p:tav tm="0">
                                          <p:val>
                                            <p:fltVal val="0"/>
                                          </p:val>
                                        </p:tav>
                                        <p:tav tm="100000">
                                          <p:val>
                                            <p:strVal val="#ppt_h"/>
                                          </p:val>
                                        </p:tav>
                                      </p:tavLst>
                                    </p:anim>
                                    <p:animEffect filter="fade" transition="in">
                                      <p:cBhvr>
                                        <p:cTn dur="500" id="41"/>
                                        <p:tgtEl>
                                          <p:spTgt spid="37"/>
                                        </p:tgtEl>
                                      </p:cBhvr>
                                    </p:animEffect>
                                  </p:childTnLst>
                                </p:cTn>
                              </p:par>
                              <p:par>
                                <p:cTn fill="hold" grpId="0" id="42" nodeType="withEffect" presetClass="entr" presetID="53" presetSubtype="0">
                                  <p:stCondLst>
                                    <p:cond delay="0"/>
                                  </p:stCondLst>
                                  <p:childTnLst>
                                    <p:set>
                                      <p:cBhvr>
                                        <p:cTn dur="1" fill="hold" id="43">
                                          <p:stCondLst>
                                            <p:cond delay="0"/>
                                          </p:stCondLst>
                                        </p:cTn>
                                        <p:tgtEl>
                                          <p:spTgt spid="38"/>
                                        </p:tgtEl>
                                        <p:attrNameLst>
                                          <p:attrName>style.visibility</p:attrName>
                                        </p:attrNameLst>
                                      </p:cBhvr>
                                      <p:to>
                                        <p:strVal val="visible"/>
                                      </p:to>
                                    </p:set>
                                    <p:anim calcmode="lin" valueType="num">
                                      <p:cBhvr>
                                        <p:cTn dur="500" fill="hold" id="44"/>
                                        <p:tgtEl>
                                          <p:spTgt spid="38"/>
                                        </p:tgtEl>
                                        <p:attrNameLst>
                                          <p:attrName>ppt_w</p:attrName>
                                        </p:attrNameLst>
                                      </p:cBhvr>
                                      <p:tavLst>
                                        <p:tav tm="0">
                                          <p:val>
                                            <p:fltVal val="0"/>
                                          </p:val>
                                        </p:tav>
                                        <p:tav tm="100000">
                                          <p:val>
                                            <p:strVal val="#ppt_w"/>
                                          </p:val>
                                        </p:tav>
                                      </p:tavLst>
                                    </p:anim>
                                    <p:anim calcmode="lin" valueType="num">
                                      <p:cBhvr>
                                        <p:cTn dur="500" fill="hold" id="45"/>
                                        <p:tgtEl>
                                          <p:spTgt spid="38"/>
                                        </p:tgtEl>
                                        <p:attrNameLst>
                                          <p:attrName>ppt_h</p:attrName>
                                        </p:attrNameLst>
                                      </p:cBhvr>
                                      <p:tavLst>
                                        <p:tav tm="0">
                                          <p:val>
                                            <p:fltVal val="0"/>
                                          </p:val>
                                        </p:tav>
                                        <p:tav tm="100000">
                                          <p:val>
                                            <p:strVal val="#ppt_h"/>
                                          </p:val>
                                        </p:tav>
                                      </p:tavLst>
                                    </p:anim>
                                    <p:animEffect filter="fade" transition="in">
                                      <p:cBhvr>
                                        <p:cTn dur="500" id="46"/>
                                        <p:tgtEl>
                                          <p:spTgt spid="38"/>
                                        </p:tgtEl>
                                      </p:cBhvr>
                                    </p:animEffect>
                                  </p:childTnLst>
                                </p:cTn>
                              </p:par>
                              <p:par>
                                <p:cTn fill="hold" grpId="0" id="47" nodeType="withEffect" presetClass="entr" presetID="53" presetSubtype="0">
                                  <p:stCondLst>
                                    <p:cond delay="0"/>
                                  </p:stCondLst>
                                  <p:childTnLst>
                                    <p:set>
                                      <p:cBhvr>
                                        <p:cTn dur="1" fill="hold" id="48">
                                          <p:stCondLst>
                                            <p:cond delay="0"/>
                                          </p:stCondLst>
                                        </p:cTn>
                                        <p:tgtEl>
                                          <p:spTgt spid="43"/>
                                        </p:tgtEl>
                                        <p:attrNameLst>
                                          <p:attrName>style.visibility</p:attrName>
                                        </p:attrNameLst>
                                      </p:cBhvr>
                                      <p:to>
                                        <p:strVal val="visible"/>
                                      </p:to>
                                    </p:set>
                                    <p:anim calcmode="lin" valueType="num">
                                      <p:cBhvr>
                                        <p:cTn dur="500" fill="hold" id="49"/>
                                        <p:tgtEl>
                                          <p:spTgt spid="43"/>
                                        </p:tgtEl>
                                        <p:attrNameLst>
                                          <p:attrName>ppt_w</p:attrName>
                                        </p:attrNameLst>
                                      </p:cBhvr>
                                      <p:tavLst>
                                        <p:tav tm="0">
                                          <p:val>
                                            <p:fltVal val="0"/>
                                          </p:val>
                                        </p:tav>
                                        <p:tav tm="100000">
                                          <p:val>
                                            <p:strVal val="#ppt_w"/>
                                          </p:val>
                                        </p:tav>
                                      </p:tavLst>
                                    </p:anim>
                                    <p:anim calcmode="lin" valueType="num">
                                      <p:cBhvr>
                                        <p:cTn dur="500" fill="hold" id="50"/>
                                        <p:tgtEl>
                                          <p:spTgt spid="43"/>
                                        </p:tgtEl>
                                        <p:attrNameLst>
                                          <p:attrName>ppt_h</p:attrName>
                                        </p:attrNameLst>
                                      </p:cBhvr>
                                      <p:tavLst>
                                        <p:tav tm="0">
                                          <p:val>
                                            <p:fltVal val="0"/>
                                          </p:val>
                                        </p:tav>
                                        <p:tav tm="100000">
                                          <p:val>
                                            <p:strVal val="#ppt_h"/>
                                          </p:val>
                                        </p:tav>
                                      </p:tavLst>
                                    </p:anim>
                                    <p:animEffect filter="fade" transition="in">
                                      <p:cBhvr>
                                        <p:cTn dur="500" id="51"/>
                                        <p:tgtEl>
                                          <p:spTgt spid="43"/>
                                        </p:tgtEl>
                                      </p:cBhvr>
                                    </p:animEffect>
                                  </p:childTnLst>
                                </p:cTn>
                              </p:par>
                              <p:par>
                                <p:cTn fill="hold" grpId="0" id="52" nodeType="withEffect" presetClass="entr" presetID="53" presetSubtype="0">
                                  <p:stCondLst>
                                    <p:cond delay="0"/>
                                  </p:stCondLst>
                                  <p:childTnLst>
                                    <p:set>
                                      <p:cBhvr>
                                        <p:cTn dur="1" fill="hold" id="53">
                                          <p:stCondLst>
                                            <p:cond delay="0"/>
                                          </p:stCondLst>
                                        </p:cTn>
                                        <p:tgtEl>
                                          <p:spTgt spid="44"/>
                                        </p:tgtEl>
                                        <p:attrNameLst>
                                          <p:attrName>style.visibility</p:attrName>
                                        </p:attrNameLst>
                                      </p:cBhvr>
                                      <p:to>
                                        <p:strVal val="visible"/>
                                      </p:to>
                                    </p:set>
                                    <p:anim calcmode="lin" valueType="num">
                                      <p:cBhvr>
                                        <p:cTn dur="500" fill="hold" id="54"/>
                                        <p:tgtEl>
                                          <p:spTgt spid="44"/>
                                        </p:tgtEl>
                                        <p:attrNameLst>
                                          <p:attrName>ppt_w</p:attrName>
                                        </p:attrNameLst>
                                      </p:cBhvr>
                                      <p:tavLst>
                                        <p:tav tm="0">
                                          <p:val>
                                            <p:fltVal val="0"/>
                                          </p:val>
                                        </p:tav>
                                        <p:tav tm="100000">
                                          <p:val>
                                            <p:strVal val="#ppt_w"/>
                                          </p:val>
                                        </p:tav>
                                      </p:tavLst>
                                    </p:anim>
                                    <p:anim calcmode="lin" valueType="num">
                                      <p:cBhvr>
                                        <p:cTn dur="500" fill="hold" id="55"/>
                                        <p:tgtEl>
                                          <p:spTgt spid="44"/>
                                        </p:tgtEl>
                                        <p:attrNameLst>
                                          <p:attrName>ppt_h</p:attrName>
                                        </p:attrNameLst>
                                      </p:cBhvr>
                                      <p:tavLst>
                                        <p:tav tm="0">
                                          <p:val>
                                            <p:fltVal val="0"/>
                                          </p:val>
                                        </p:tav>
                                        <p:tav tm="100000">
                                          <p:val>
                                            <p:strVal val="#ppt_h"/>
                                          </p:val>
                                        </p:tav>
                                      </p:tavLst>
                                    </p:anim>
                                    <p:animEffect filter="fade" transition="in">
                                      <p:cBhvr>
                                        <p:cTn dur="500" id="56"/>
                                        <p:tgtEl>
                                          <p:spTgt spid="44"/>
                                        </p:tgtEl>
                                      </p:cBhvr>
                                    </p:animEffect>
                                  </p:childTnLst>
                                </p:cTn>
                              </p:par>
                              <p:par>
                                <p:cTn fill="hold" grpId="0" id="57" nodeType="withEffect" presetClass="entr" presetID="53" presetSubtype="0">
                                  <p:stCondLst>
                                    <p:cond delay="0"/>
                                  </p:stCondLst>
                                  <p:childTnLst>
                                    <p:set>
                                      <p:cBhvr>
                                        <p:cTn dur="1" fill="hold" id="58">
                                          <p:stCondLst>
                                            <p:cond delay="0"/>
                                          </p:stCondLst>
                                        </p:cTn>
                                        <p:tgtEl>
                                          <p:spTgt spid="41"/>
                                        </p:tgtEl>
                                        <p:attrNameLst>
                                          <p:attrName>style.visibility</p:attrName>
                                        </p:attrNameLst>
                                      </p:cBhvr>
                                      <p:to>
                                        <p:strVal val="visible"/>
                                      </p:to>
                                    </p:set>
                                    <p:anim calcmode="lin" valueType="num">
                                      <p:cBhvr>
                                        <p:cTn dur="500" fill="hold" id="59"/>
                                        <p:tgtEl>
                                          <p:spTgt spid="41"/>
                                        </p:tgtEl>
                                        <p:attrNameLst>
                                          <p:attrName>ppt_w</p:attrName>
                                        </p:attrNameLst>
                                      </p:cBhvr>
                                      <p:tavLst>
                                        <p:tav tm="0">
                                          <p:val>
                                            <p:fltVal val="0"/>
                                          </p:val>
                                        </p:tav>
                                        <p:tav tm="100000">
                                          <p:val>
                                            <p:strVal val="#ppt_w"/>
                                          </p:val>
                                        </p:tav>
                                      </p:tavLst>
                                    </p:anim>
                                    <p:anim calcmode="lin" valueType="num">
                                      <p:cBhvr>
                                        <p:cTn dur="500" fill="hold" id="60"/>
                                        <p:tgtEl>
                                          <p:spTgt spid="41"/>
                                        </p:tgtEl>
                                        <p:attrNameLst>
                                          <p:attrName>ppt_h</p:attrName>
                                        </p:attrNameLst>
                                      </p:cBhvr>
                                      <p:tavLst>
                                        <p:tav tm="0">
                                          <p:val>
                                            <p:fltVal val="0"/>
                                          </p:val>
                                        </p:tav>
                                        <p:tav tm="100000">
                                          <p:val>
                                            <p:strVal val="#ppt_h"/>
                                          </p:val>
                                        </p:tav>
                                      </p:tavLst>
                                    </p:anim>
                                    <p:animEffect filter="fade" transition="in">
                                      <p:cBhvr>
                                        <p:cTn dur="500" id="61"/>
                                        <p:tgtEl>
                                          <p:spTgt spid="41"/>
                                        </p:tgtEl>
                                      </p:cBhvr>
                                    </p:animEffect>
                                  </p:childTnLst>
                                </p:cTn>
                              </p:par>
                              <p:par>
                                <p:cTn fill="hold" grpId="0" id="62" nodeType="withEffect" presetClass="entr" presetID="53" presetSubtype="0">
                                  <p:stCondLst>
                                    <p:cond delay="0"/>
                                  </p:stCondLst>
                                  <p:childTnLst>
                                    <p:set>
                                      <p:cBhvr>
                                        <p:cTn dur="1" fill="hold" id="63">
                                          <p:stCondLst>
                                            <p:cond delay="0"/>
                                          </p:stCondLst>
                                        </p:cTn>
                                        <p:tgtEl>
                                          <p:spTgt spid="40"/>
                                        </p:tgtEl>
                                        <p:attrNameLst>
                                          <p:attrName>style.visibility</p:attrName>
                                        </p:attrNameLst>
                                      </p:cBhvr>
                                      <p:to>
                                        <p:strVal val="visible"/>
                                      </p:to>
                                    </p:set>
                                    <p:anim calcmode="lin" valueType="num">
                                      <p:cBhvr>
                                        <p:cTn dur="500" fill="hold" id="64"/>
                                        <p:tgtEl>
                                          <p:spTgt spid="40"/>
                                        </p:tgtEl>
                                        <p:attrNameLst>
                                          <p:attrName>ppt_w</p:attrName>
                                        </p:attrNameLst>
                                      </p:cBhvr>
                                      <p:tavLst>
                                        <p:tav tm="0">
                                          <p:val>
                                            <p:fltVal val="0"/>
                                          </p:val>
                                        </p:tav>
                                        <p:tav tm="100000">
                                          <p:val>
                                            <p:strVal val="#ppt_w"/>
                                          </p:val>
                                        </p:tav>
                                      </p:tavLst>
                                    </p:anim>
                                    <p:anim calcmode="lin" valueType="num">
                                      <p:cBhvr>
                                        <p:cTn dur="500" fill="hold" id="65"/>
                                        <p:tgtEl>
                                          <p:spTgt spid="40"/>
                                        </p:tgtEl>
                                        <p:attrNameLst>
                                          <p:attrName>ppt_h</p:attrName>
                                        </p:attrNameLst>
                                      </p:cBhvr>
                                      <p:tavLst>
                                        <p:tav tm="0">
                                          <p:val>
                                            <p:fltVal val="0"/>
                                          </p:val>
                                        </p:tav>
                                        <p:tav tm="100000">
                                          <p:val>
                                            <p:strVal val="#ppt_h"/>
                                          </p:val>
                                        </p:tav>
                                      </p:tavLst>
                                    </p:anim>
                                    <p:animEffect filter="fade" transition="in">
                                      <p:cBhvr>
                                        <p:cTn dur="500" id="66"/>
                                        <p:tgtEl>
                                          <p:spTgt spid="40"/>
                                        </p:tgtEl>
                                      </p:cBhvr>
                                    </p:animEffect>
                                  </p:childTnLst>
                                </p:cTn>
                              </p:par>
                              <p:par>
                                <p:cTn fill="hold" grpId="0" id="67" nodeType="withEffect" presetClass="entr" presetID="53" presetSubtype="0">
                                  <p:stCondLst>
                                    <p:cond delay="0"/>
                                  </p:stCondLst>
                                  <p:childTnLst>
                                    <p:set>
                                      <p:cBhvr>
                                        <p:cTn dur="1" fill="hold" id="68">
                                          <p:stCondLst>
                                            <p:cond delay="0"/>
                                          </p:stCondLst>
                                        </p:cTn>
                                        <p:tgtEl>
                                          <p:spTgt spid="42"/>
                                        </p:tgtEl>
                                        <p:attrNameLst>
                                          <p:attrName>style.visibility</p:attrName>
                                        </p:attrNameLst>
                                      </p:cBhvr>
                                      <p:to>
                                        <p:strVal val="visible"/>
                                      </p:to>
                                    </p:set>
                                    <p:anim calcmode="lin" valueType="num">
                                      <p:cBhvr>
                                        <p:cTn dur="500" fill="hold" id="69"/>
                                        <p:tgtEl>
                                          <p:spTgt spid="42"/>
                                        </p:tgtEl>
                                        <p:attrNameLst>
                                          <p:attrName>ppt_w</p:attrName>
                                        </p:attrNameLst>
                                      </p:cBhvr>
                                      <p:tavLst>
                                        <p:tav tm="0">
                                          <p:val>
                                            <p:fltVal val="0"/>
                                          </p:val>
                                        </p:tav>
                                        <p:tav tm="100000">
                                          <p:val>
                                            <p:strVal val="#ppt_w"/>
                                          </p:val>
                                        </p:tav>
                                      </p:tavLst>
                                    </p:anim>
                                    <p:anim calcmode="lin" valueType="num">
                                      <p:cBhvr>
                                        <p:cTn dur="500" fill="hold" id="70"/>
                                        <p:tgtEl>
                                          <p:spTgt spid="42"/>
                                        </p:tgtEl>
                                        <p:attrNameLst>
                                          <p:attrName>ppt_h</p:attrName>
                                        </p:attrNameLst>
                                      </p:cBhvr>
                                      <p:tavLst>
                                        <p:tav tm="0">
                                          <p:val>
                                            <p:fltVal val="0"/>
                                          </p:val>
                                        </p:tav>
                                        <p:tav tm="100000">
                                          <p:val>
                                            <p:strVal val="#ppt_h"/>
                                          </p:val>
                                        </p:tav>
                                      </p:tavLst>
                                    </p:anim>
                                    <p:animEffect filter="fade" transition="in">
                                      <p:cBhvr>
                                        <p:cTn dur="500" id="71"/>
                                        <p:tgtEl>
                                          <p:spTgt spid="42"/>
                                        </p:tgtEl>
                                      </p:cBhvr>
                                    </p:animEffect>
                                  </p:childTnLst>
                                </p:cTn>
                              </p:par>
                              <p:par>
                                <p:cTn fill="hold" id="72" nodeType="withEffect" presetClass="entr" presetID="10" presetSubtype="0">
                                  <p:stCondLst>
                                    <p:cond delay="0"/>
                                  </p:stCondLst>
                                  <p:childTnLst>
                                    <p:set>
                                      <p:cBhvr>
                                        <p:cTn dur="1" fill="hold" id="73">
                                          <p:stCondLst>
                                            <p:cond delay="0"/>
                                          </p:stCondLst>
                                        </p:cTn>
                                        <p:tgtEl>
                                          <p:spTgt spid="94"/>
                                        </p:tgtEl>
                                        <p:attrNameLst>
                                          <p:attrName>style.visibility</p:attrName>
                                        </p:attrNameLst>
                                      </p:cBhvr>
                                      <p:to>
                                        <p:strVal val="visible"/>
                                      </p:to>
                                    </p:set>
                                    <p:animEffect filter="fade" transition="in">
                                      <p:cBhvr>
                                        <p:cTn dur="500" id="74"/>
                                        <p:tgtEl>
                                          <p:spTgt spid="94"/>
                                        </p:tgtEl>
                                      </p:cBhvr>
                                    </p:animEffect>
                                  </p:childTnLst>
                                </p:cTn>
                              </p:par>
                              <p:par>
                                <p:cTn fill="hold" id="75" nodeType="withEffect" presetClass="entr" presetID="10" presetSubtype="0">
                                  <p:stCondLst>
                                    <p:cond delay="0"/>
                                  </p:stCondLst>
                                  <p:childTnLst>
                                    <p:set>
                                      <p:cBhvr>
                                        <p:cTn dur="1" fill="hold" id="76">
                                          <p:stCondLst>
                                            <p:cond delay="0"/>
                                          </p:stCondLst>
                                        </p:cTn>
                                        <p:tgtEl>
                                          <p:spTgt spid="2"/>
                                        </p:tgtEl>
                                        <p:attrNameLst>
                                          <p:attrName>style.visibility</p:attrName>
                                        </p:attrNameLst>
                                      </p:cBhvr>
                                      <p:to>
                                        <p:strVal val="visible"/>
                                      </p:to>
                                    </p:set>
                                    <p:animEffect filter="fade" transition="in">
                                      <p:cBhvr>
                                        <p:cTn dur="500" id="77"/>
                                        <p:tgtEl>
                                          <p:spTgt spid="2"/>
                                        </p:tgtEl>
                                      </p:cBhvr>
                                    </p:animEffect>
                                  </p:childTnLst>
                                </p:cTn>
                              </p:par>
                            </p:childTnLst>
                          </p:cTn>
                        </p:par>
                        <p:par>
                          <p:cTn fill="hold" id="78" nodeType="afterGroup">
                            <p:stCondLst>
                              <p:cond delay="2500"/>
                            </p:stCondLst>
                            <p:childTnLst>
                              <p:par>
                                <p:cTn fill="hold" id="79" nodeType="afterEffect" presetClass="entr" presetID="2" presetSubtype="6">
                                  <p:stCondLst>
                                    <p:cond delay="0"/>
                                  </p:stCondLst>
                                  <p:childTnLst>
                                    <p:set>
                                      <p:cBhvr>
                                        <p:cTn dur="1" fill="hold" id="80">
                                          <p:stCondLst>
                                            <p:cond delay="0"/>
                                          </p:stCondLst>
                                        </p:cTn>
                                        <p:tgtEl>
                                          <p:spTgt spid="4"/>
                                        </p:tgtEl>
                                        <p:attrNameLst>
                                          <p:attrName>style.visibility</p:attrName>
                                        </p:attrNameLst>
                                      </p:cBhvr>
                                      <p:to>
                                        <p:strVal val="visible"/>
                                      </p:to>
                                    </p:set>
                                    <p:anim calcmode="lin" valueType="num">
                                      <p:cBhvr additive="base">
                                        <p:cTn dur="500" fill="hold" id="81"/>
                                        <p:tgtEl>
                                          <p:spTgt spid="4"/>
                                        </p:tgtEl>
                                        <p:attrNameLst>
                                          <p:attrName>ppt_x</p:attrName>
                                        </p:attrNameLst>
                                      </p:cBhvr>
                                      <p:tavLst>
                                        <p:tav tm="0">
                                          <p:val>
                                            <p:strVal val="1+#ppt_w/2"/>
                                          </p:val>
                                        </p:tav>
                                        <p:tav tm="100000">
                                          <p:val>
                                            <p:strVal val="#ppt_x"/>
                                          </p:val>
                                        </p:tav>
                                      </p:tavLst>
                                    </p:anim>
                                    <p:anim calcmode="lin" valueType="num">
                                      <p:cBhvr additive="base">
                                        <p:cTn dur="500" fill="hold" id="82"/>
                                        <p:tgtEl>
                                          <p:spTgt spid="4"/>
                                        </p:tgtEl>
                                        <p:attrNameLst>
                                          <p:attrName>ppt_y</p:attrName>
                                        </p:attrNameLst>
                                      </p:cBhvr>
                                      <p:tavLst>
                                        <p:tav tm="0">
                                          <p:val>
                                            <p:strVal val="1+#ppt_h/2"/>
                                          </p:val>
                                        </p:tav>
                                        <p:tav tm="100000">
                                          <p:val>
                                            <p:strVal val="#ppt_y"/>
                                          </p:val>
                                        </p:tav>
                                      </p:tavLst>
                                    </p:anim>
                                  </p:childTnLst>
                                </p:cTn>
                              </p:par>
                              <p:par>
                                <p:cTn fill="hold" grpId="0" id="83" nodeType="withEffect" presetClass="entr" presetID="42" presetSubtype="0">
                                  <p:stCondLst>
                                    <p:cond delay="0"/>
                                  </p:stCondLst>
                                  <p:childTnLst>
                                    <p:set>
                                      <p:cBhvr>
                                        <p:cTn dur="1" fill="hold" id="84">
                                          <p:stCondLst>
                                            <p:cond delay="0"/>
                                          </p:stCondLst>
                                        </p:cTn>
                                        <p:tgtEl>
                                          <p:spTgt spid="92"/>
                                        </p:tgtEl>
                                        <p:attrNameLst>
                                          <p:attrName>style.visibility</p:attrName>
                                        </p:attrNameLst>
                                      </p:cBhvr>
                                      <p:to>
                                        <p:strVal val="visible"/>
                                      </p:to>
                                    </p:set>
                                    <p:animEffect filter="fade" transition="in">
                                      <p:cBhvr>
                                        <p:cTn dur="1000" id="85"/>
                                        <p:tgtEl>
                                          <p:spTgt spid="92"/>
                                        </p:tgtEl>
                                      </p:cBhvr>
                                    </p:animEffect>
                                    <p:anim calcmode="lin" valueType="num">
                                      <p:cBhvr>
                                        <p:cTn dur="1000" fill="hold" id="86"/>
                                        <p:tgtEl>
                                          <p:spTgt spid="92"/>
                                        </p:tgtEl>
                                        <p:attrNameLst>
                                          <p:attrName>ppt_x</p:attrName>
                                        </p:attrNameLst>
                                      </p:cBhvr>
                                      <p:tavLst>
                                        <p:tav tm="0">
                                          <p:val>
                                            <p:strVal val="#ppt_x"/>
                                          </p:val>
                                        </p:tav>
                                        <p:tav tm="100000">
                                          <p:val>
                                            <p:strVal val="#ppt_x"/>
                                          </p:val>
                                        </p:tav>
                                      </p:tavLst>
                                    </p:anim>
                                    <p:anim calcmode="lin" valueType="num">
                                      <p:cBhvr>
                                        <p:cTn dur="1000" fill="hold" id="87"/>
                                        <p:tgtEl>
                                          <p:spTgt spid="92"/>
                                        </p:tgtEl>
                                        <p:attrNameLst>
                                          <p:attrName>ppt_y</p:attrName>
                                        </p:attrNameLst>
                                      </p:cBhvr>
                                      <p:tavLst>
                                        <p:tav tm="0">
                                          <p:val>
                                            <p:strVal val="#ppt_y+.1"/>
                                          </p:val>
                                        </p:tav>
                                        <p:tav tm="100000">
                                          <p:val>
                                            <p:strVal val="#ppt_y"/>
                                          </p:val>
                                        </p:tav>
                                      </p:tavLst>
                                    </p:anim>
                                  </p:childTnLst>
                                </p:cTn>
                              </p:par>
                              <p:par>
                                <p:cTn fill="hold" grpId="0" id="88" nodeType="withEffect" presetClass="entr" presetID="42" presetSubtype="0">
                                  <p:stCondLst>
                                    <p:cond delay="0"/>
                                  </p:stCondLst>
                                  <p:childTnLst>
                                    <p:set>
                                      <p:cBhvr>
                                        <p:cTn dur="1" fill="hold" id="89">
                                          <p:stCondLst>
                                            <p:cond delay="0"/>
                                          </p:stCondLst>
                                        </p:cTn>
                                        <p:tgtEl>
                                          <p:spTgt spid="93"/>
                                        </p:tgtEl>
                                        <p:attrNameLst>
                                          <p:attrName>style.visibility</p:attrName>
                                        </p:attrNameLst>
                                      </p:cBhvr>
                                      <p:to>
                                        <p:strVal val="visible"/>
                                      </p:to>
                                    </p:set>
                                    <p:animEffect filter="fade" transition="in">
                                      <p:cBhvr>
                                        <p:cTn dur="1000" id="90"/>
                                        <p:tgtEl>
                                          <p:spTgt spid="93"/>
                                        </p:tgtEl>
                                      </p:cBhvr>
                                    </p:animEffect>
                                    <p:anim calcmode="lin" valueType="num">
                                      <p:cBhvr>
                                        <p:cTn dur="1000" fill="hold" id="91"/>
                                        <p:tgtEl>
                                          <p:spTgt spid="93"/>
                                        </p:tgtEl>
                                        <p:attrNameLst>
                                          <p:attrName>ppt_x</p:attrName>
                                        </p:attrNameLst>
                                      </p:cBhvr>
                                      <p:tavLst>
                                        <p:tav tm="0">
                                          <p:val>
                                            <p:strVal val="#ppt_x"/>
                                          </p:val>
                                        </p:tav>
                                        <p:tav tm="100000">
                                          <p:val>
                                            <p:strVal val="#ppt_x"/>
                                          </p:val>
                                        </p:tav>
                                      </p:tavLst>
                                    </p:anim>
                                    <p:anim calcmode="lin" valueType="num">
                                      <p:cBhvr>
                                        <p:cTn dur="1000" fill="hold" id="92"/>
                                        <p:tgtEl>
                                          <p:spTgt spid="93"/>
                                        </p:tgtEl>
                                        <p:attrNameLst>
                                          <p:attrName>ppt_y</p:attrName>
                                        </p:attrNameLst>
                                      </p:cBhvr>
                                      <p:tavLst>
                                        <p:tav tm="0">
                                          <p:val>
                                            <p:strVal val="#ppt_y+.1"/>
                                          </p:val>
                                        </p:tav>
                                        <p:tav tm="100000">
                                          <p:val>
                                            <p:strVal val="#ppt_y"/>
                                          </p:val>
                                        </p:tav>
                                      </p:tavLst>
                                    </p:anim>
                                  </p:childTnLst>
                                </p:cTn>
                              </p:par>
                            </p:childTnLst>
                          </p:cTn>
                        </p:par>
                        <p:par>
                          <p:cTn fill="hold" id="93" nodeType="afterGroup">
                            <p:stCondLst>
                              <p:cond delay="3500"/>
                            </p:stCondLst>
                            <p:childTnLst>
                              <p:par>
                                <p:cTn accel="50000" decel="50000" fill="hold" id="94" nodeType="afterEffect" presetClass="path" presetID="49" presetSubtype="0">
                                  <p:stCondLst>
                                    <p:cond delay="0"/>
                                  </p:stCondLst>
                                  <p:childTnLst>
                                    <p:animMotion origin="layout" path="M 8.33333E-07 1.85185E-06 L -0.15143 -0.06482" pathEditMode="relative" ptsTypes="AA" rAng="0">
                                      <p:cBhvr>
                                        <p:cTn dur="500" fill="hold" id="95"/>
                                        <p:tgtEl>
                                          <p:spTgt spid="4"/>
                                        </p:tgtEl>
                                        <p:attrNameLst>
                                          <p:attrName>ppt_x</p:attrName>
                                          <p:attrName>ppt_y</p:attrName>
                                        </p:attrNameLst>
                                      </p:cBhvr>
                                      <p:rCtr x="-7578" y="-3241"/>
                                    </p:animMotion>
                                  </p:childTnLst>
                                </p:cTn>
                              </p:par>
                            </p:childTnLst>
                          </p:cTn>
                        </p:par>
                        <p:par>
                          <p:cTn fill="hold" id="96" nodeType="afterGroup">
                            <p:stCondLst>
                              <p:cond delay="4000"/>
                            </p:stCondLst>
                            <p:childTnLst>
                              <p:par>
                                <p:cTn fill="hold" id="97" nodeType="afterEffect" presetClass="emph" presetID="26" presetSubtype="0">
                                  <p:stCondLst>
                                    <p:cond delay="0"/>
                                  </p:stCondLst>
                                  <p:childTnLst>
                                    <p:animEffect filter="fade" transition="out">
                                      <p:cBhvr>
                                        <p:cTn dur="500" id="98" tmFilter="0, 0; .2, .5; .8, .5; 1, 0"/>
                                        <p:tgtEl>
                                          <p:spTgt spid="4"/>
                                        </p:tgtEl>
                                      </p:cBhvr>
                                    </p:animEffect>
                                    <p:animScale>
                                      <p:cBhvr>
                                        <p:cTn autoRev="1" dur="250" fill="hold" id="99"/>
                                        <p:tgtEl>
                                          <p:spTgt spid="4"/>
                                        </p:tgtEl>
                                      </p:cBhvr>
                                      <p:by x="105000" y="105000"/>
                                    </p:animScale>
                                  </p:childTnLst>
                                </p:cTn>
                              </p:par>
                              <p:par>
                                <p:cTn fill="hold" id="100" nodeType="withEffect" presetClass="emph" presetID="26" presetSubtype="0">
                                  <p:stCondLst>
                                    <p:cond delay="0"/>
                                  </p:stCondLst>
                                  <p:childTnLst>
                                    <p:animEffect filter="fade" transition="out">
                                      <p:cBhvr>
                                        <p:cTn dur="500" id="101" tmFilter="0, 0; .2, .5; .8, .5; 1, 0"/>
                                        <p:tgtEl>
                                          <p:spTgt spid="94"/>
                                        </p:tgtEl>
                                      </p:cBhvr>
                                    </p:animEffect>
                                    <p:animScale>
                                      <p:cBhvr>
                                        <p:cTn autoRev="1" dur="250" fill="hold" id="102"/>
                                        <p:tgtEl>
                                          <p:spTgt spid="94"/>
                                        </p:tgtEl>
                                      </p:cBhvr>
                                      <p:by x="105000" y="105000"/>
                                    </p:animScale>
                                  </p:childTnLst>
                                </p:cTn>
                              </p:par>
                            </p:childTnLst>
                          </p:cTn>
                        </p:par>
                        <p:par>
                          <p:cTn fill="hold" id="103" nodeType="afterGroup">
                            <p:stCondLst>
                              <p:cond delay="4500"/>
                            </p:stCondLst>
                            <p:childTnLst>
                              <p:par>
                                <p:cTn fill="hold" id="104" nodeType="afterEffect" presetClass="exit" presetID="1" presetSubtype="0">
                                  <p:stCondLst>
                                    <p:cond delay="0"/>
                                  </p:stCondLst>
                                  <p:childTnLst>
                                    <p:set>
                                      <p:cBhvr>
                                        <p:cTn dur="1" fill="hold" id="105">
                                          <p:stCondLst>
                                            <p:cond delay="0"/>
                                          </p:stCondLst>
                                        </p:cTn>
                                        <p:tgtEl>
                                          <p:spTgt spid="4"/>
                                        </p:tgtEl>
                                        <p:attrNameLst>
                                          <p:attrName>style.visibility</p:attrName>
                                        </p:attrNameLst>
                                      </p:cBhvr>
                                      <p:to>
                                        <p:strVal val="hidden"/>
                                      </p:to>
                                    </p:set>
                                  </p:childTnLst>
                                </p:cTn>
                              </p:par>
                              <p:par>
                                <p:cTn fill="hold" id="106" nodeType="withEffect" presetClass="exit" presetID="1" presetSubtype="0">
                                  <p:stCondLst>
                                    <p:cond delay="0"/>
                                  </p:stCondLst>
                                  <p:childTnLst>
                                    <p:set>
                                      <p:cBhvr>
                                        <p:cTn dur="1" fill="hold" id="107">
                                          <p:stCondLst>
                                            <p:cond delay="0"/>
                                          </p:stCondLst>
                                        </p:cTn>
                                        <p:tgtEl>
                                          <p:spTgt spid="94"/>
                                        </p:tgtEl>
                                        <p:attrNameLst>
                                          <p:attrName>style.visibility</p:attrName>
                                        </p:attrNameLst>
                                      </p:cBhvr>
                                      <p:to>
                                        <p:strVal val="hidden"/>
                                      </p:to>
                                    </p:set>
                                  </p:childTnLst>
                                </p:cTn>
                              </p:par>
                            </p:childTnLst>
                          </p:cTn>
                        </p:par>
                        <p:par>
                          <p:cTn fill="hold" id="108" nodeType="afterGroup">
                            <p:stCondLst>
                              <p:cond delay="4501"/>
                            </p:stCondLst>
                            <p:childTnLst>
                              <p:par>
                                <p:cTn fill="hold" grpId="0" id="109" nodeType="afterEffect" presetClass="entr" presetID="22" presetSubtype="1">
                                  <p:stCondLst>
                                    <p:cond delay="0"/>
                                  </p:stCondLst>
                                  <p:childTnLst>
                                    <p:set>
                                      <p:cBhvr>
                                        <p:cTn dur="1" fill="hold" id="110">
                                          <p:stCondLst>
                                            <p:cond delay="0"/>
                                          </p:stCondLst>
                                        </p:cTn>
                                        <p:tgtEl>
                                          <p:spTgt spid="111"/>
                                        </p:tgtEl>
                                        <p:attrNameLst>
                                          <p:attrName>style.visibility</p:attrName>
                                        </p:attrNameLst>
                                      </p:cBhvr>
                                      <p:to>
                                        <p:strVal val="visible"/>
                                      </p:to>
                                    </p:set>
                                    <p:animEffect filter="wipe(up)" transition="in">
                                      <p:cBhvr>
                                        <p:cTn dur="1250" id="111"/>
                                        <p:tgtEl>
                                          <p:spTgt spid="111"/>
                                        </p:tgtEl>
                                      </p:cBhvr>
                                    </p:animEffect>
                                  </p:childTnLst>
                                </p:cTn>
                              </p:par>
                            </p:childTnLst>
                          </p:cTn>
                        </p:par>
                        <p:par>
                          <p:cTn fill="hold" id="112" nodeType="afterGroup">
                            <p:stCondLst>
                              <p:cond delay="5751"/>
                            </p:stCondLst>
                            <p:childTnLst>
                              <p:par>
                                <p:cTn fill="hold" grpId="0" id="113" nodeType="afterEffect" presetClass="entr" presetID="22" presetSubtype="8">
                                  <p:stCondLst>
                                    <p:cond delay="0"/>
                                  </p:stCondLst>
                                  <p:childTnLst>
                                    <p:set>
                                      <p:cBhvr>
                                        <p:cTn dur="1" fill="hold" id="114">
                                          <p:stCondLst>
                                            <p:cond delay="0"/>
                                          </p:stCondLst>
                                        </p:cTn>
                                        <p:tgtEl>
                                          <p:spTgt spid="113"/>
                                        </p:tgtEl>
                                        <p:attrNameLst>
                                          <p:attrName>style.visibility</p:attrName>
                                        </p:attrNameLst>
                                      </p:cBhvr>
                                      <p:to>
                                        <p:strVal val="visible"/>
                                      </p:to>
                                    </p:set>
                                    <p:animEffect filter="wipe(left)" transition="in">
                                      <p:cBhvr>
                                        <p:cTn dur="1250" id="115"/>
                                        <p:tgtEl>
                                          <p:spTgt spid="113"/>
                                        </p:tgtEl>
                                      </p:cBhvr>
                                    </p:animEffect>
                                  </p:childTnLst>
                                </p:cTn>
                              </p:par>
                            </p:childTnLst>
                          </p:cTn>
                        </p:par>
                        <p:par>
                          <p:cTn fill="hold" id="116" nodeType="afterGroup">
                            <p:stCondLst>
                              <p:cond delay="7001"/>
                            </p:stCondLst>
                            <p:childTnLst>
                              <p:par>
                                <p:cTn fill="hold" grpId="0" id="117" nodeType="afterEffect" presetClass="entr" presetID="22" presetSubtype="1">
                                  <p:stCondLst>
                                    <p:cond delay="0"/>
                                  </p:stCondLst>
                                  <p:childTnLst>
                                    <p:set>
                                      <p:cBhvr>
                                        <p:cTn dur="1" fill="hold" id="118">
                                          <p:stCondLst>
                                            <p:cond delay="0"/>
                                          </p:stCondLst>
                                        </p:cTn>
                                        <p:tgtEl>
                                          <p:spTgt spid="112"/>
                                        </p:tgtEl>
                                        <p:attrNameLst>
                                          <p:attrName>style.visibility</p:attrName>
                                        </p:attrNameLst>
                                      </p:cBhvr>
                                      <p:to>
                                        <p:strVal val="visible"/>
                                      </p:to>
                                    </p:set>
                                    <p:animEffect filter="wipe(up)" transition="in">
                                      <p:cBhvr>
                                        <p:cTn dur="1250" id="119"/>
                                        <p:tgtEl>
                                          <p:spTgt spid="112"/>
                                        </p:tgtEl>
                                      </p:cBhvr>
                                    </p:animEffect>
                                  </p:childTnLst>
                                </p:cTn>
                              </p:par>
                            </p:childTnLst>
                          </p:cTn>
                        </p:par>
                        <p:par>
                          <p:cTn fill="hold" id="120" nodeType="afterGroup">
                            <p:stCondLst>
                              <p:cond delay="8251"/>
                            </p:stCondLst>
                            <p:childTnLst>
                              <p:par>
                                <p:cTn fill="hold" grpId="0" id="121" nodeType="afterEffect" presetClass="entr" presetID="22" presetSubtype="2">
                                  <p:stCondLst>
                                    <p:cond delay="0"/>
                                  </p:stCondLst>
                                  <p:childTnLst>
                                    <p:set>
                                      <p:cBhvr>
                                        <p:cTn dur="1" fill="hold" id="122">
                                          <p:stCondLst>
                                            <p:cond delay="0"/>
                                          </p:stCondLst>
                                        </p:cTn>
                                        <p:tgtEl>
                                          <p:spTgt spid="114"/>
                                        </p:tgtEl>
                                        <p:attrNameLst>
                                          <p:attrName>style.visibility</p:attrName>
                                        </p:attrNameLst>
                                      </p:cBhvr>
                                      <p:to>
                                        <p:strVal val="visible"/>
                                      </p:to>
                                    </p:set>
                                    <p:animEffect filter="wipe(right)" transition="in">
                                      <p:cBhvr>
                                        <p:cTn dur="1250" id="123"/>
                                        <p:tgtEl>
                                          <p:spTgt spid="114"/>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10"/>
      <p:bldP grpId="0" spid="37"/>
      <p:bldP grpId="0" spid="38"/>
      <p:bldP grpId="0" spid="40"/>
      <p:bldP grpId="0" spid="41"/>
      <p:bldP grpId="0" spid="42"/>
      <p:bldP grpId="0" spid="43"/>
      <p:bldP grpId="0" spid="44"/>
      <p:bldP grpId="0" spid="92"/>
      <p:bldP grpId="0" spid="93"/>
      <p:bldP grpId="0" spid="111"/>
      <p:bldP grpId="0" spid="113"/>
      <p:bldP grpId="0" spid="112"/>
      <p:bldP grpId="0" spid="114"/>
    </p:bldLst>
  </p:timing>
</p:sld>
</file>

<file path=ppt/slides/slide13.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7" name="椭圆 6">
            <a:extLst>
              <a:ext uri="{FF2B5EF4-FFF2-40B4-BE49-F238E27FC236}">
                <a16:creationId xmlns:a16="http://schemas.microsoft.com/office/drawing/2014/main" id="{97F35CCF-B1AD-40AD-9D77-E1886CA3C847}"/>
              </a:ext>
            </a:extLst>
          </p:cNvPr>
          <p:cNvSpPr/>
          <p:nvPr/>
        </p:nvSpPr>
        <p:spPr>
          <a:xfrm>
            <a:off x="11325281" y="5957455"/>
            <a:ext cx="1193212" cy="1193212"/>
          </a:xfrm>
          <a:prstGeom prst="ellipse">
            <a:avLst/>
          </a:prstGeom>
          <a:solidFill>
            <a:srgbClr val="A0CBD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10" name="文本框 9">
            <a:extLst>
              <a:ext uri="{FF2B5EF4-FFF2-40B4-BE49-F238E27FC236}">
                <a16:creationId xmlns:a16="http://schemas.microsoft.com/office/drawing/2014/main" id="{3EF1E9ED-80AB-4909-8BA5-A43F4FCE2334}"/>
              </a:ext>
            </a:extLst>
          </p:cNvPr>
          <p:cNvSpPr txBox="1"/>
          <p:nvPr/>
        </p:nvSpPr>
        <p:spPr>
          <a:xfrm>
            <a:off x="4133850" y="390618"/>
            <a:ext cx="3924300" cy="640080"/>
          </a:xfrm>
          <a:prstGeom prst="rect">
            <a:avLst/>
          </a:prstGeom>
          <a:noFill/>
        </p:spPr>
        <p:txBody>
          <a:bodyPr rtlCol="0" wrap="square">
            <a:spAutoFit/>
          </a:bodyPr>
          <a:lstStyle/>
          <a:p>
            <a:pPr algn="ctr"/>
            <a:r>
              <a:rPr altLang="en-US" lang="zh-CN" sz="3600">
                <a:solidFill>
                  <a:schemeClr val="tx1">
                    <a:lumMod val="85000"/>
                    <a:lumOff val="15000"/>
                  </a:schemeClr>
                </a:solidFill>
                <a:latin charset="-122" panose="02000500000000000000" pitchFamily="2" typeface="方正雅士黑 简"/>
                <a:ea charset="-122" panose="02000500000000000000" pitchFamily="2" typeface="方正雅士黑 简"/>
              </a:rPr>
              <a:t>工作成果展示</a:t>
            </a:r>
          </a:p>
        </p:txBody>
      </p:sp>
      <p:cxnSp>
        <p:nvCxnSpPr>
          <p:cNvPr id="13" name="直接连接符 12">
            <a:extLst>
              <a:ext uri="{FF2B5EF4-FFF2-40B4-BE49-F238E27FC236}">
                <a16:creationId xmlns:a16="http://schemas.microsoft.com/office/drawing/2014/main" id="{63C006F1-C17E-4B5D-A667-14B1AFD009FE}"/>
              </a:ext>
            </a:extLst>
          </p:cNvPr>
          <p:cNvCxnSpPr/>
          <p:nvPr/>
        </p:nvCxnSpPr>
        <p:spPr>
          <a:xfrm>
            <a:off x="7791452" y="683005"/>
            <a:ext cx="571498" cy="0"/>
          </a:xfrm>
          <a:prstGeom prst="line">
            <a:avLst/>
          </a:prstGeom>
          <a:ln cap="rnd" w="19050">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pic>
        <p:nvPicPr>
          <p:cNvPr id="15" name="图形 14">
            <a:extLst>
              <a:ext uri="{FF2B5EF4-FFF2-40B4-BE49-F238E27FC236}">
                <a16:creationId xmlns:a16="http://schemas.microsoft.com/office/drawing/2014/main" id="{D0B6809A-9193-440B-AB59-9B5857A764E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314825" y="597280"/>
            <a:ext cx="171450" cy="171450"/>
          </a:xfrm>
          <a:prstGeom prst="rect">
            <a:avLst/>
          </a:prstGeom>
        </p:spPr>
      </p:pic>
      <p:pic>
        <p:nvPicPr>
          <p:cNvPr id="16" name="图形 15">
            <a:extLst>
              <a:ext uri="{FF2B5EF4-FFF2-40B4-BE49-F238E27FC236}">
                <a16:creationId xmlns:a16="http://schemas.microsoft.com/office/drawing/2014/main" id="{1508760C-4270-4AAF-AD1C-A51CD87667C3}"/>
              </a:ext>
            </a:extLst>
          </p:cNvPr>
          <p:cNvPicPr>
            <a:picLocks noChangeAspect="1"/>
          </p:cNvPicPr>
          <p:nvPr/>
        </p:nvPicPr>
        <p:blipFill>
          <a:blip r:embed="rId3">
            <a:extLst>
              <a:ext uri="{96DAC541-7B7A-43D3-8B79-37D633B846F1}">
                <asvg:svgBlip xmlns:asvg="http://schemas.microsoft.com/office/drawing/2016/SVG/main" r:embed="rId5"/>
              </a:ext>
            </a:extLst>
          </a:blip>
          <a:stretch>
            <a:fillRect/>
          </a:stretch>
        </p:blipFill>
        <p:spPr>
          <a:xfrm>
            <a:off x="7705727" y="597280"/>
            <a:ext cx="171450" cy="171450"/>
          </a:xfrm>
          <a:prstGeom prst="rect">
            <a:avLst/>
          </a:prstGeom>
        </p:spPr>
      </p:pic>
      <p:cxnSp>
        <p:nvCxnSpPr>
          <p:cNvPr id="18" name="直接连接符 17">
            <a:extLst>
              <a:ext uri="{FF2B5EF4-FFF2-40B4-BE49-F238E27FC236}">
                <a16:creationId xmlns:a16="http://schemas.microsoft.com/office/drawing/2014/main" id="{D59B9B17-AB83-41D0-BA0B-C09A6571714C}"/>
              </a:ext>
            </a:extLst>
          </p:cNvPr>
          <p:cNvCxnSpPr/>
          <p:nvPr/>
        </p:nvCxnSpPr>
        <p:spPr>
          <a:xfrm>
            <a:off x="3829052" y="683005"/>
            <a:ext cx="571498" cy="0"/>
          </a:xfrm>
          <a:prstGeom prst="line">
            <a:avLst/>
          </a:prstGeom>
          <a:ln cap="rnd" w="19050">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pic>
        <p:nvPicPr>
          <p:cNvPr id="11" name="图形 10">
            <a:extLst>
              <a:ext uri="{FF2B5EF4-FFF2-40B4-BE49-F238E27FC236}">
                <a16:creationId xmlns:a16="http://schemas.microsoft.com/office/drawing/2014/main" id="{DC2978AE-F650-4F98-B221-17A2FCD5F42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192576" y="5633038"/>
            <a:ext cx="871735" cy="1193212"/>
          </a:xfrm>
          <a:prstGeom prst="rect">
            <a:avLst/>
          </a:prstGeom>
        </p:spPr>
      </p:pic>
      <p:sp>
        <p:nvSpPr>
          <p:cNvPr id="5" name="矩形 4">
            <a:extLst>
              <a:ext uri="{FF2B5EF4-FFF2-40B4-BE49-F238E27FC236}">
                <a16:creationId xmlns:a16="http://schemas.microsoft.com/office/drawing/2014/main" id="{BEA78777-1BA9-40EF-BBFD-363C5BF77825}"/>
              </a:ext>
            </a:extLst>
          </p:cNvPr>
          <p:cNvSpPr/>
          <p:nvPr/>
        </p:nvSpPr>
        <p:spPr>
          <a:xfrm>
            <a:off x="1205798" y="1714500"/>
            <a:ext cx="2622550" cy="2622550"/>
          </a:xfrm>
          <a:prstGeom prst="rect">
            <a:avLst/>
          </a:prstGeom>
          <a:pattFill prst="pct5">
            <a:fgClr>
              <a:schemeClr val="bg1"/>
            </a:fgClr>
            <a:bgClr>
              <a:srgbClr val="B3E4FF"/>
            </a:bgClr>
          </a:patt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146" name="矩形 145">
            <a:extLst>
              <a:ext uri="{FF2B5EF4-FFF2-40B4-BE49-F238E27FC236}">
                <a16:creationId xmlns:a16="http://schemas.microsoft.com/office/drawing/2014/main" id="{36FEAA0D-92B1-4B1B-BE7F-9887617062F7}"/>
              </a:ext>
            </a:extLst>
          </p:cNvPr>
          <p:cNvSpPr/>
          <p:nvPr/>
        </p:nvSpPr>
        <p:spPr>
          <a:xfrm>
            <a:off x="1402648" y="1901825"/>
            <a:ext cx="2622550" cy="2622550"/>
          </a:xfrm>
          <a:prstGeom prst="rect">
            <a:avLst/>
          </a:prstGeom>
          <a:blipFill>
            <a:blip r:embed="rId8"/>
            <a:stretch>
              <a:fillRect b="-6214" t="-6272"/>
            </a:stretch>
          </a:blip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147" name="矩形 146">
            <a:extLst>
              <a:ext uri="{FF2B5EF4-FFF2-40B4-BE49-F238E27FC236}">
                <a16:creationId xmlns:a16="http://schemas.microsoft.com/office/drawing/2014/main" id="{DB15BDAC-DA45-4EC1-86D7-55EFC358044F}"/>
              </a:ext>
            </a:extLst>
          </p:cNvPr>
          <p:cNvSpPr/>
          <p:nvPr/>
        </p:nvSpPr>
        <p:spPr>
          <a:xfrm>
            <a:off x="3369560" y="3895725"/>
            <a:ext cx="471488" cy="471488"/>
          </a:xfrm>
          <a:prstGeom prst="rect">
            <a:avLst/>
          </a:prstGeom>
          <a:solidFill>
            <a:srgbClr val="00456B">
              <a:alpha val="44000"/>
            </a:srgbClr>
          </a:solidFill>
          <a:ln>
            <a:solidFill>
              <a:schemeClr val="bg1"/>
            </a:solidFill>
          </a:ln>
          <a:effectLst>
            <a:outerShdw algn="tl" blurRad="50800" dir="2700000" dist="381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r>
              <a:rPr altLang="zh-CN" b="1" lang="en-US"/>
              <a:t>A</a:t>
            </a:r>
          </a:p>
        </p:txBody>
      </p:sp>
      <p:sp>
        <p:nvSpPr>
          <p:cNvPr id="148" name="矩形 147">
            <a:extLst>
              <a:ext uri="{FF2B5EF4-FFF2-40B4-BE49-F238E27FC236}">
                <a16:creationId xmlns:a16="http://schemas.microsoft.com/office/drawing/2014/main" id="{0879FAD0-78C2-4EAD-814D-FD97AC6008CB}"/>
              </a:ext>
            </a:extLst>
          </p:cNvPr>
          <p:cNvSpPr/>
          <p:nvPr/>
        </p:nvSpPr>
        <p:spPr>
          <a:xfrm>
            <a:off x="4789487" y="1714500"/>
            <a:ext cx="2622550" cy="2622550"/>
          </a:xfrm>
          <a:prstGeom prst="rect">
            <a:avLst/>
          </a:prstGeom>
          <a:pattFill prst="pct5">
            <a:fgClr>
              <a:schemeClr val="bg1"/>
            </a:fgClr>
            <a:bgClr>
              <a:srgbClr val="FFB9BE"/>
            </a:bgClr>
          </a:patt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149" name="矩形 148">
            <a:extLst>
              <a:ext uri="{FF2B5EF4-FFF2-40B4-BE49-F238E27FC236}">
                <a16:creationId xmlns:a16="http://schemas.microsoft.com/office/drawing/2014/main" id="{0677C8CC-7DE1-49BB-A34B-D09D1BB73C56}"/>
              </a:ext>
            </a:extLst>
          </p:cNvPr>
          <p:cNvSpPr/>
          <p:nvPr/>
        </p:nvSpPr>
        <p:spPr>
          <a:xfrm>
            <a:off x="4986337" y="1901825"/>
            <a:ext cx="2622550" cy="2622550"/>
          </a:xfrm>
          <a:prstGeom prst="rect">
            <a:avLst/>
          </a:prstGeom>
          <a:blipFill>
            <a:blip r:embed="rId9"/>
            <a:stretch>
              <a:fillRect b="-6214" t="-6272"/>
            </a:stretch>
          </a:blip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150" name="矩形 149">
            <a:extLst>
              <a:ext uri="{FF2B5EF4-FFF2-40B4-BE49-F238E27FC236}">
                <a16:creationId xmlns:a16="http://schemas.microsoft.com/office/drawing/2014/main" id="{19F82B05-55A1-4D78-A581-A00312DE708C}"/>
              </a:ext>
            </a:extLst>
          </p:cNvPr>
          <p:cNvSpPr/>
          <p:nvPr/>
        </p:nvSpPr>
        <p:spPr>
          <a:xfrm>
            <a:off x="6953249" y="3895725"/>
            <a:ext cx="471488" cy="471488"/>
          </a:xfrm>
          <a:prstGeom prst="rect">
            <a:avLst/>
          </a:prstGeom>
          <a:solidFill>
            <a:srgbClr val="FF626C">
              <a:alpha val="44000"/>
            </a:srgbClr>
          </a:solidFill>
          <a:ln>
            <a:solidFill>
              <a:schemeClr val="bg1"/>
            </a:solidFill>
          </a:ln>
          <a:effectLst>
            <a:outerShdw algn="tl" blurRad="50800" dir="2700000" dist="381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r>
              <a:rPr altLang="zh-CN" b="1" lang="en-US"/>
              <a:t>B</a:t>
            </a:r>
          </a:p>
        </p:txBody>
      </p:sp>
      <p:sp>
        <p:nvSpPr>
          <p:cNvPr id="151" name="矩形 150">
            <a:extLst>
              <a:ext uri="{FF2B5EF4-FFF2-40B4-BE49-F238E27FC236}">
                <a16:creationId xmlns:a16="http://schemas.microsoft.com/office/drawing/2014/main" id="{9CE0E8E8-6004-40BF-9611-7E1BEBD2526E}"/>
              </a:ext>
            </a:extLst>
          </p:cNvPr>
          <p:cNvSpPr/>
          <p:nvPr/>
        </p:nvSpPr>
        <p:spPr>
          <a:xfrm>
            <a:off x="8373176" y="1714500"/>
            <a:ext cx="2622550" cy="2622550"/>
          </a:xfrm>
          <a:prstGeom prst="rect">
            <a:avLst/>
          </a:prstGeom>
          <a:pattFill prst="pct5">
            <a:fgClr>
              <a:schemeClr val="bg1"/>
            </a:fgClr>
            <a:bgClr>
              <a:srgbClr val="A0CBD0"/>
            </a:bgClr>
          </a:patt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152" name="矩形 151">
            <a:extLst>
              <a:ext uri="{FF2B5EF4-FFF2-40B4-BE49-F238E27FC236}">
                <a16:creationId xmlns:a16="http://schemas.microsoft.com/office/drawing/2014/main" id="{B9F7B8EA-A6F3-43A5-A91E-78870B524CCB}"/>
              </a:ext>
            </a:extLst>
          </p:cNvPr>
          <p:cNvSpPr/>
          <p:nvPr/>
        </p:nvSpPr>
        <p:spPr>
          <a:xfrm>
            <a:off x="8570026" y="1901825"/>
            <a:ext cx="2622550" cy="2622550"/>
          </a:xfrm>
          <a:prstGeom prst="rect">
            <a:avLst/>
          </a:prstGeom>
          <a:blipFill>
            <a:blip r:embed="rId10"/>
            <a:stretch>
              <a:fillRect b="-6214" t="-6272"/>
            </a:stretch>
          </a:blip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153" name="矩形 152">
            <a:extLst>
              <a:ext uri="{FF2B5EF4-FFF2-40B4-BE49-F238E27FC236}">
                <a16:creationId xmlns:a16="http://schemas.microsoft.com/office/drawing/2014/main" id="{B2AA3A7F-C1CE-4E55-9F04-392FF6194397}"/>
              </a:ext>
            </a:extLst>
          </p:cNvPr>
          <p:cNvSpPr/>
          <p:nvPr/>
        </p:nvSpPr>
        <p:spPr>
          <a:xfrm>
            <a:off x="10536938" y="3895725"/>
            <a:ext cx="471488" cy="471488"/>
          </a:xfrm>
          <a:prstGeom prst="rect">
            <a:avLst/>
          </a:prstGeom>
          <a:solidFill>
            <a:srgbClr val="60A8AF">
              <a:alpha val="44000"/>
            </a:srgbClr>
          </a:solidFill>
          <a:ln>
            <a:solidFill>
              <a:schemeClr val="bg1"/>
            </a:solidFill>
          </a:ln>
          <a:effectLst>
            <a:outerShdw algn="tl" blurRad="50800" dir="2700000" dist="381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r>
              <a:rPr altLang="zh-CN" b="1" lang="en-US"/>
              <a:t>C</a:t>
            </a:r>
          </a:p>
        </p:txBody>
      </p:sp>
      <p:grpSp>
        <p:nvGrpSpPr>
          <p:cNvPr id="155" name="Group 9">
            <a:extLst>
              <a:ext uri="{FF2B5EF4-FFF2-40B4-BE49-F238E27FC236}">
                <a16:creationId xmlns:a16="http://schemas.microsoft.com/office/drawing/2014/main" id="{F82A3DB5-5053-4728-8A50-CE3697D6885E}"/>
              </a:ext>
            </a:extLst>
          </p:cNvPr>
          <p:cNvGrpSpPr/>
          <p:nvPr/>
        </p:nvGrpSpPr>
        <p:grpSpPr>
          <a:xfrm>
            <a:off x="1554400" y="4685730"/>
            <a:ext cx="2216096" cy="1365627"/>
            <a:chOff x="948999" y="2265458"/>
            <a:chExt cx="2216096" cy="1365629"/>
          </a:xfrm>
        </p:grpSpPr>
        <p:sp>
          <p:nvSpPr>
            <p:cNvPr id="156" name="TextBox 56">
              <a:extLst>
                <a:ext uri="{FF2B5EF4-FFF2-40B4-BE49-F238E27FC236}">
                  <a16:creationId xmlns:a16="http://schemas.microsoft.com/office/drawing/2014/main" id="{A7AE0D6D-4AD1-4D29-94BA-BAEE957329FF}"/>
                </a:ext>
              </a:extLst>
            </p:cNvPr>
            <p:cNvSpPr txBox="1"/>
            <p:nvPr/>
          </p:nvSpPr>
          <p:spPr>
            <a:xfrm>
              <a:off x="948999" y="2265458"/>
              <a:ext cx="1129030" cy="660502"/>
            </a:xfrm>
            <a:prstGeom prst="rect">
              <a:avLst/>
            </a:prstGeom>
            <a:noFill/>
          </p:spPr>
          <p:txBody>
            <a:bodyPr rtlCol="0" wrap="none">
              <a:spAutoFit/>
            </a:bodyPr>
            <a:lstStyle/>
            <a:p>
              <a:pPr defTabSz="1219110"/>
              <a:r>
                <a:rPr altLang="en-US" b="1" lang="zh-CN" sz="1867">
                  <a:solidFill>
                    <a:schemeClr val="tx1">
                      <a:lumMod val="85000"/>
                      <a:lumOff val="15000"/>
                    </a:schemeClr>
                  </a:solidFill>
                  <a:latin panose="020f0502020204030204" typeface="等线"/>
                </a:rPr>
                <a:t>标题文本</a:t>
              </a:r>
            </a:p>
            <a:p>
              <a:pPr defTabSz="1219110"/>
              <a:r>
                <a:rPr altLang="en-US" b="1" lang="zh-CN" sz="1867">
                  <a:solidFill>
                    <a:schemeClr val="tx1">
                      <a:lumMod val="85000"/>
                      <a:lumOff val="15000"/>
                    </a:schemeClr>
                  </a:solidFill>
                  <a:latin panose="020f0502020204030204" typeface="等线"/>
                </a:rPr>
                <a:t>……</a:t>
              </a:r>
            </a:p>
          </p:txBody>
        </p:sp>
        <p:sp>
          <p:nvSpPr>
            <p:cNvPr id="157" name="Rectangle 58">
              <a:extLst>
                <a:ext uri="{FF2B5EF4-FFF2-40B4-BE49-F238E27FC236}">
                  <a16:creationId xmlns:a16="http://schemas.microsoft.com/office/drawing/2014/main" id="{C9D99381-3BF5-4705-9824-03AF5F3F68B9}"/>
                </a:ext>
              </a:extLst>
            </p:cNvPr>
            <p:cNvSpPr/>
            <p:nvPr/>
          </p:nvSpPr>
          <p:spPr>
            <a:xfrm>
              <a:off x="948999" y="2735905"/>
              <a:ext cx="2216096" cy="914400"/>
            </a:xfrm>
            <a:prstGeom prst="rect">
              <a:avLst/>
            </a:prstGeom>
          </p:spPr>
          <p:txBody>
            <a:bodyPr wrap="square">
              <a:spAutoFit/>
            </a:bodyPr>
            <a:lstStyle/>
            <a:p>
              <a:pPr>
                <a:lnSpc>
                  <a:spcPct val="150000"/>
                </a:lnSpc>
              </a:pPr>
              <a:r>
                <a:rPr altLang="en-US" lang="zh-CN" sz="1200">
                  <a:solidFill>
                    <a:schemeClr val="tx1">
                      <a:lumMod val="85000"/>
                      <a:lumOff val="15000"/>
                    </a:schemeClr>
                  </a:solidFill>
                  <a:latin typeface="+mn-ea"/>
                </a:rPr>
                <a:t>这里可以添加主要内容这里可以添加主要内容这里可以添加主要内容</a:t>
              </a:r>
            </a:p>
          </p:txBody>
        </p:sp>
      </p:grpSp>
      <p:grpSp>
        <p:nvGrpSpPr>
          <p:cNvPr id="158" name="Group 9">
            <a:extLst>
              <a:ext uri="{FF2B5EF4-FFF2-40B4-BE49-F238E27FC236}">
                <a16:creationId xmlns:a16="http://schemas.microsoft.com/office/drawing/2014/main" id="{AD608C29-661A-4238-B9A0-82C24990C61C}"/>
              </a:ext>
            </a:extLst>
          </p:cNvPr>
          <p:cNvGrpSpPr/>
          <p:nvPr/>
        </p:nvGrpSpPr>
        <p:grpSpPr>
          <a:xfrm>
            <a:off x="5189564" y="4685730"/>
            <a:ext cx="2216096" cy="1365627"/>
            <a:chOff x="948999" y="2265458"/>
            <a:chExt cx="2216096" cy="1365629"/>
          </a:xfrm>
        </p:grpSpPr>
        <p:sp>
          <p:nvSpPr>
            <p:cNvPr id="159" name="TextBox 56">
              <a:extLst>
                <a:ext uri="{FF2B5EF4-FFF2-40B4-BE49-F238E27FC236}">
                  <a16:creationId xmlns:a16="http://schemas.microsoft.com/office/drawing/2014/main" id="{E5AF5B58-C96B-4852-B47F-E16AB1ABCAF2}"/>
                </a:ext>
              </a:extLst>
            </p:cNvPr>
            <p:cNvSpPr txBox="1"/>
            <p:nvPr/>
          </p:nvSpPr>
          <p:spPr>
            <a:xfrm>
              <a:off x="948999" y="2265458"/>
              <a:ext cx="1129030" cy="660502"/>
            </a:xfrm>
            <a:prstGeom prst="rect">
              <a:avLst/>
            </a:prstGeom>
            <a:noFill/>
          </p:spPr>
          <p:txBody>
            <a:bodyPr rtlCol="0" wrap="none">
              <a:spAutoFit/>
            </a:bodyPr>
            <a:lstStyle/>
            <a:p>
              <a:pPr defTabSz="1219110"/>
              <a:r>
                <a:rPr altLang="en-US" b="1" lang="zh-CN" sz="1867">
                  <a:solidFill>
                    <a:schemeClr val="tx1">
                      <a:lumMod val="85000"/>
                      <a:lumOff val="15000"/>
                    </a:schemeClr>
                  </a:solidFill>
                  <a:latin panose="020f0502020204030204" typeface="等线"/>
                </a:rPr>
                <a:t>标题文本</a:t>
              </a:r>
            </a:p>
            <a:p>
              <a:pPr defTabSz="1219110"/>
              <a:r>
                <a:rPr altLang="en-US" b="1" lang="zh-CN" sz="1867">
                  <a:solidFill>
                    <a:schemeClr val="tx1">
                      <a:lumMod val="85000"/>
                      <a:lumOff val="15000"/>
                    </a:schemeClr>
                  </a:solidFill>
                  <a:latin panose="020f0502020204030204" typeface="等线"/>
                </a:rPr>
                <a:t>……</a:t>
              </a:r>
            </a:p>
          </p:txBody>
        </p:sp>
        <p:sp>
          <p:nvSpPr>
            <p:cNvPr id="160" name="Rectangle 58">
              <a:extLst>
                <a:ext uri="{FF2B5EF4-FFF2-40B4-BE49-F238E27FC236}">
                  <a16:creationId xmlns:a16="http://schemas.microsoft.com/office/drawing/2014/main" id="{222AF51D-A2BC-47E2-A2AA-7309E2416972}"/>
                </a:ext>
              </a:extLst>
            </p:cNvPr>
            <p:cNvSpPr/>
            <p:nvPr/>
          </p:nvSpPr>
          <p:spPr>
            <a:xfrm>
              <a:off x="948999" y="2735905"/>
              <a:ext cx="2216096" cy="914400"/>
            </a:xfrm>
            <a:prstGeom prst="rect">
              <a:avLst/>
            </a:prstGeom>
          </p:spPr>
          <p:txBody>
            <a:bodyPr wrap="square">
              <a:spAutoFit/>
            </a:bodyPr>
            <a:lstStyle/>
            <a:p>
              <a:pPr>
                <a:lnSpc>
                  <a:spcPct val="150000"/>
                </a:lnSpc>
              </a:pPr>
              <a:r>
                <a:rPr altLang="en-US" lang="zh-CN" sz="1200">
                  <a:solidFill>
                    <a:schemeClr val="tx1">
                      <a:lumMod val="85000"/>
                      <a:lumOff val="15000"/>
                    </a:schemeClr>
                  </a:solidFill>
                  <a:latin typeface="+mn-ea"/>
                </a:rPr>
                <a:t>这里可以添加主要内容这里可以添加主要内容这里可以添加主要内容</a:t>
              </a:r>
            </a:p>
          </p:txBody>
        </p:sp>
      </p:grpSp>
      <p:grpSp>
        <p:nvGrpSpPr>
          <p:cNvPr id="161" name="Group 9">
            <a:extLst>
              <a:ext uri="{FF2B5EF4-FFF2-40B4-BE49-F238E27FC236}">
                <a16:creationId xmlns:a16="http://schemas.microsoft.com/office/drawing/2014/main" id="{7D968DD3-F73E-44F3-8638-76163FEC7E8D}"/>
              </a:ext>
            </a:extLst>
          </p:cNvPr>
          <p:cNvGrpSpPr/>
          <p:nvPr/>
        </p:nvGrpSpPr>
        <p:grpSpPr>
          <a:xfrm>
            <a:off x="8724067" y="4685730"/>
            <a:ext cx="2216096" cy="1365627"/>
            <a:chOff x="948999" y="2265458"/>
            <a:chExt cx="2216096" cy="1365629"/>
          </a:xfrm>
        </p:grpSpPr>
        <p:sp>
          <p:nvSpPr>
            <p:cNvPr id="162" name="TextBox 56">
              <a:extLst>
                <a:ext uri="{FF2B5EF4-FFF2-40B4-BE49-F238E27FC236}">
                  <a16:creationId xmlns:a16="http://schemas.microsoft.com/office/drawing/2014/main" id="{FAE300BE-E927-4366-B8BE-40352397D9C8}"/>
                </a:ext>
              </a:extLst>
            </p:cNvPr>
            <p:cNvSpPr txBox="1"/>
            <p:nvPr/>
          </p:nvSpPr>
          <p:spPr>
            <a:xfrm>
              <a:off x="948999" y="2265458"/>
              <a:ext cx="1129030" cy="660502"/>
            </a:xfrm>
            <a:prstGeom prst="rect">
              <a:avLst/>
            </a:prstGeom>
            <a:noFill/>
          </p:spPr>
          <p:txBody>
            <a:bodyPr rtlCol="0" wrap="none">
              <a:spAutoFit/>
            </a:bodyPr>
            <a:lstStyle/>
            <a:p>
              <a:pPr defTabSz="1219110"/>
              <a:r>
                <a:rPr altLang="en-US" b="1" lang="zh-CN" sz="1867">
                  <a:solidFill>
                    <a:schemeClr val="tx1">
                      <a:lumMod val="85000"/>
                      <a:lumOff val="15000"/>
                    </a:schemeClr>
                  </a:solidFill>
                  <a:latin panose="020f0502020204030204" typeface="等线"/>
                </a:rPr>
                <a:t>标题文本</a:t>
              </a:r>
            </a:p>
            <a:p>
              <a:pPr defTabSz="1219110"/>
              <a:r>
                <a:rPr altLang="en-US" b="1" lang="zh-CN" sz="1867">
                  <a:solidFill>
                    <a:schemeClr val="tx1">
                      <a:lumMod val="85000"/>
                      <a:lumOff val="15000"/>
                    </a:schemeClr>
                  </a:solidFill>
                  <a:latin panose="020f0502020204030204" typeface="等线"/>
                </a:rPr>
                <a:t>……</a:t>
              </a:r>
            </a:p>
          </p:txBody>
        </p:sp>
        <p:sp>
          <p:nvSpPr>
            <p:cNvPr id="163" name="Rectangle 58">
              <a:extLst>
                <a:ext uri="{FF2B5EF4-FFF2-40B4-BE49-F238E27FC236}">
                  <a16:creationId xmlns:a16="http://schemas.microsoft.com/office/drawing/2014/main" id="{5D6DFDAC-01D5-4DFF-A86B-DEF15BAF8C84}"/>
                </a:ext>
              </a:extLst>
            </p:cNvPr>
            <p:cNvSpPr/>
            <p:nvPr/>
          </p:nvSpPr>
          <p:spPr>
            <a:xfrm>
              <a:off x="948998" y="2735905"/>
              <a:ext cx="2216096" cy="914400"/>
            </a:xfrm>
            <a:prstGeom prst="rect">
              <a:avLst/>
            </a:prstGeom>
          </p:spPr>
          <p:txBody>
            <a:bodyPr wrap="square">
              <a:spAutoFit/>
            </a:bodyPr>
            <a:lstStyle/>
            <a:p>
              <a:pPr>
                <a:lnSpc>
                  <a:spcPct val="150000"/>
                </a:lnSpc>
              </a:pPr>
              <a:r>
                <a:rPr altLang="en-US" lang="zh-CN" sz="1200">
                  <a:solidFill>
                    <a:schemeClr val="tx1">
                      <a:lumMod val="85000"/>
                      <a:lumOff val="15000"/>
                    </a:schemeClr>
                  </a:solidFill>
                  <a:latin typeface="+mn-ea"/>
                </a:rPr>
                <a:t>这里可以添加主要内容这里可以添加主要内容这里可以添加主要内容</a:t>
              </a:r>
            </a:p>
          </p:txBody>
        </p:sp>
      </p:grpSp>
      <p:sp>
        <p:nvSpPr>
          <p:cNvPr id="165" name="arrowheads-of-thin-outline-to-the-left_32766">
            <a:extLst>
              <a:ext uri="{FF2B5EF4-FFF2-40B4-BE49-F238E27FC236}">
                <a16:creationId xmlns:a16="http://schemas.microsoft.com/office/drawing/2014/main" id="{BFC82E66-8D51-407F-AECC-2A09E857B88A}"/>
              </a:ext>
            </a:extLst>
          </p:cNvPr>
          <p:cNvSpPr>
            <a:spLocks noChangeAspect="1"/>
          </p:cNvSpPr>
          <p:nvPr/>
        </p:nvSpPr>
        <p:spPr bwMode="auto">
          <a:xfrm>
            <a:off x="4250545" y="5156176"/>
            <a:ext cx="263669" cy="263546"/>
          </a:xfrm>
          <a:custGeom>
            <a:gdLst>
              <a:gd fmla="*/ 5083 w 6101" name="T0"/>
              <a:gd fmla="*/ 3053 h 6107" name="T1"/>
              <a:gd fmla="*/ 2791 w 6101" name="T2"/>
              <a:gd fmla="*/ 761 h 6107" name="T3"/>
              <a:gd fmla="*/ 2791 w 6101" name="T4"/>
              <a:gd fmla="*/ 164 h 6107" name="T5"/>
              <a:gd fmla="*/ 3387 w 6101" name="T6"/>
              <a:gd fmla="*/ 164 h 6107" name="T7"/>
              <a:gd fmla="*/ 5978 w 6101" name="T8"/>
              <a:gd fmla="*/ 2755 h 6107" name="T9"/>
              <a:gd fmla="*/ 6101 w 6101" name="T10"/>
              <a:gd fmla="*/ 3053 h 6107" name="T11"/>
              <a:gd fmla="*/ 5978 w 6101" name="T12"/>
              <a:gd fmla="*/ 3351 h 6107" name="T13"/>
              <a:gd fmla="*/ 3387 w 6101" name="T14"/>
              <a:gd fmla="*/ 5942 h 6107" name="T15"/>
              <a:gd fmla="*/ 2791 w 6101" name="T16"/>
              <a:gd fmla="*/ 5942 h 6107" name="T17"/>
              <a:gd fmla="*/ 2791 w 6101" name="T18"/>
              <a:gd fmla="*/ 5345 h 6107" name="T19"/>
              <a:gd fmla="*/ 5083 w 6101" name="T20"/>
              <a:gd fmla="*/ 3053 h 6107" name="T21"/>
              <a:gd fmla="*/ 165 w 6101" name="T22"/>
              <a:gd fmla="*/ 5345 h 6107" name="T23"/>
              <a:gd fmla="*/ 165 w 6101" name="T24"/>
              <a:gd fmla="*/ 5942 h 6107" name="T25"/>
              <a:gd fmla="*/ 761 w 6101" name="T26"/>
              <a:gd fmla="*/ 5942 h 6107" name="T27"/>
              <a:gd fmla="*/ 3352 w 6101" name="T28"/>
              <a:gd fmla="*/ 3351 h 6107" name="T29"/>
              <a:gd fmla="*/ 3475 w 6101" name="T30"/>
              <a:gd fmla="*/ 3053 h 6107" name="T31"/>
              <a:gd fmla="*/ 3352 w 6101" name="T32"/>
              <a:gd fmla="*/ 2755 h 6107" name="T33"/>
              <a:gd fmla="*/ 761 w 6101" name="T34"/>
              <a:gd fmla="*/ 164 h 6107" name="T35"/>
              <a:gd fmla="*/ 165 w 6101" name="T36"/>
              <a:gd fmla="*/ 164 h 6107" name="T37"/>
              <a:gd fmla="*/ 165 w 6101" name="T38"/>
              <a:gd fmla="*/ 761 h 6107" name="T39"/>
              <a:gd fmla="*/ 2457 w 6101" name="T40"/>
              <a:gd fmla="*/ 3053 h 6107" name="T41"/>
              <a:gd fmla="*/ 165 w 6101" name="T42"/>
              <a:gd fmla="*/ 5345 h 6107" name="T4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b="b" l="0" r="r" t="0"/>
            <a:pathLst>
              <a:path h="6107" w="6101">
                <a:moveTo>
                  <a:pt x="5083" y="3053"/>
                </a:moveTo>
                <a:lnTo>
                  <a:pt x="2791" y="761"/>
                </a:lnTo>
                <a:cubicBezTo>
                  <a:pt x="2626" y="596"/>
                  <a:pt x="2626" y="329"/>
                  <a:pt x="2791" y="164"/>
                </a:cubicBezTo>
                <a:cubicBezTo>
                  <a:pt x="2955" y="0"/>
                  <a:pt x="3222" y="0"/>
                  <a:pt x="3387" y="164"/>
                </a:cubicBezTo>
                <a:lnTo>
                  <a:pt x="5978" y="2755"/>
                </a:lnTo>
                <a:cubicBezTo>
                  <a:pt x="6060" y="2837"/>
                  <a:pt x="6101" y="2945"/>
                  <a:pt x="6101" y="3053"/>
                </a:cubicBezTo>
                <a:cubicBezTo>
                  <a:pt x="6101" y="3161"/>
                  <a:pt x="6060" y="3269"/>
                  <a:pt x="5978" y="3351"/>
                </a:cubicBezTo>
                <a:lnTo>
                  <a:pt x="3387" y="5942"/>
                </a:lnTo>
                <a:cubicBezTo>
                  <a:pt x="3222" y="6107"/>
                  <a:pt x="2955" y="6107"/>
                  <a:pt x="2791" y="5942"/>
                </a:cubicBezTo>
                <a:cubicBezTo>
                  <a:pt x="2626" y="5777"/>
                  <a:pt x="2626" y="5510"/>
                  <a:pt x="2791" y="5345"/>
                </a:cubicBezTo>
                <a:lnTo>
                  <a:pt x="5083" y="3053"/>
                </a:lnTo>
                <a:close/>
                <a:moveTo>
                  <a:pt x="165" y="5345"/>
                </a:moveTo>
                <a:cubicBezTo>
                  <a:pt x="0" y="5510"/>
                  <a:pt x="0" y="5777"/>
                  <a:pt x="165" y="5942"/>
                </a:cubicBezTo>
                <a:cubicBezTo>
                  <a:pt x="329" y="6107"/>
                  <a:pt x="596" y="6107"/>
                  <a:pt x="761" y="5942"/>
                </a:cubicBezTo>
                <a:lnTo>
                  <a:pt x="3352" y="3351"/>
                </a:lnTo>
                <a:cubicBezTo>
                  <a:pt x="3434" y="3269"/>
                  <a:pt x="3475" y="3161"/>
                  <a:pt x="3475" y="3053"/>
                </a:cubicBezTo>
                <a:cubicBezTo>
                  <a:pt x="3475" y="2945"/>
                  <a:pt x="3434" y="2837"/>
                  <a:pt x="3352" y="2755"/>
                </a:cubicBezTo>
                <a:lnTo>
                  <a:pt x="761" y="164"/>
                </a:lnTo>
                <a:cubicBezTo>
                  <a:pt x="596" y="0"/>
                  <a:pt x="329" y="0"/>
                  <a:pt x="165" y="164"/>
                </a:cubicBezTo>
                <a:cubicBezTo>
                  <a:pt x="0" y="329"/>
                  <a:pt x="0" y="596"/>
                  <a:pt x="165" y="761"/>
                </a:cubicBezTo>
                <a:lnTo>
                  <a:pt x="2457" y="3053"/>
                </a:lnTo>
                <a:lnTo>
                  <a:pt x="165" y="5345"/>
                </a:lnTo>
                <a:close/>
              </a:path>
            </a:pathLst>
          </a:custGeom>
          <a:solidFill>
            <a:schemeClr val="bg1">
              <a:lumMod val="75000"/>
            </a:schemeClr>
          </a:solidFill>
          <a:ln>
            <a:noFill/>
          </a:ln>
        </p:spPr>
        <p:txBody>
          <a:bodyPr/>
          <a:lstStyle/>
          <a:p>
            <a:endParaRPr altLang="en-US" lang="zh-CN"/>
          </a:p>
        </p:txBody>
      </p:sp>
      <p:sp>
        <p:nvSpPr>
          <p:cNvPr id="166" name="arrowheads-of-thin-outline-to-the-left_32766">
            <a:extLst>
              <a:ext uri="{FF2B5EF4-FFF2-40B4-BE49-F238E27FC236}">
                <a16:creationId xmlns:a16="http://schemas.microsoft.com/office/drawing/2014/main" id="{9CEEB3F9-9BCD-4184-86BB-F5300DBB27EE}"/>
              </a:ext>
            </a:extLst>
          </p:cNvPr>
          <p:cNvSpPr>
            <a:spLocks noChangeAspect="1"/>
          </p:cNvSpPr>
          <p:nvPr/>
        </p:nvSpPr>
        <p:spPr bwMode="auto">
          <a:xfrm>
            <a:off x="7890328" y="5156176"/>
            <a:ext cx="263669" cy="263546"/>
          </a:xfrm>
          <a:custGeom>
            <a:gdLst>
              <a:gd fmla="*/ 5083 w 6101" name="T0"/>
              <a:gd fmla="*/ 3053 h 6107" name="T1"/>
              <a:gd fmla="*/ 2791 w 6101" name="T2"/>
              <a:gd fmla="*/ 761 h 6107" name="T3"/>
              <a:gd fmla="*/ 2791 w 6101" name="T4"/>
              <a:gd fmla="*/ 164 h 6107" name="T5"/>
              <a:gd fmla="*/ 3387 w 6101" name="T6"/>
              <a:gd fmla="*/ 164 h 6107" name="T7"/>
              <a:gd fmla="*/ 5978 w 6101" name="T8"/>
              <a:gd fmla="*/ 2755 h 6107" name="T9"/>
              <a:gd fmla="*/ 6101 w 6101" name="T10"/>
              <a:gd fmla="*/ 3053 h 6107" name="T11"/>
              <a:gd fmla="*/ 5978 w 6101" name="T12"/>
              <a:gd fmla="*/ 3351 h 6107" name="T13"/>
              <a:gd fmla="*/ 3387 w 6101" name="T14"/>
              <a:gd fmla="*/ 5942 h 6107" name="T15"/>
              <a:gd fmla="*/ 2791 w 6101" name="T16"/>
              <a:gd fmla="*/ 5942 h 6107" name="T17"/>
              <a:gd fmla="*/ 2791 w 6101" name="T18"/>
              <a:gd fmla="*/ 5345 h 6107" name="T19"/>
              <a:gd fmla="*/ 5083 w 6101" name="T20"/>
              <a:gd fmla="*/ 3053 h 6107" name="T21"/>
              <a:gd fmla="*/ 165 w 6101" name="T22"/>
              <a:gd fmla="*/ 5345 h 6107" name="T23"/>
              <a:gd fmla="*/ 165 w 6101" name="T24"/>
              <a:gd fmla="*/ 5942 h 6107" name="T25"/>
              <a:gd fmla="*/ 761 w 6101" name="T26"/>
              <a:gd fmla="*/ 5942 h 6107" name="T27"/>
              <a:gd fmla="*/ 3352 w 6101" name="T28"/>
              <a:gd fmla="*/ 3351 h 6107" name="T29"/>
              <a:gd fmla="*/ 3475 w 6101" name="T30"/>
              <a:gd fmla="*/ 3053 h 6107" name="T31"/>
              <a:gd fmla="*/ 3352 w 6101" name="T32"/>
              <a:gd fmla="*/ 2755 h 6107" name="T33"/>
              <a:gd fmla="*/ 761 w 6101" name="T34"/>
              <a:gd fmla="*/ 164 h 6107" name="T35"/>
              <a:gd fmla="*/ 165 w 6101" name="T36"/>
              <a:gd fmla="*/ 164 h 6107" name="T37"/>
              <a:gd fmla="*/ 165 w 6101" name="T38"/>
              <a:gd fmla="*/ 761 h 6107" name="T39"/>
              <a:gd fmla="*/ 2457 w 6101" name="T40"/>
              <a:gd fmla="*/ 3053 h 6107" name="T41"/>
              <a:gd fmla="*/ 165 w 6101" name="T42"/>
              <a:gd fmla="*/ 5345 h 6107" name="T4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b="b" l="0" r="r" t="0"/>
            <a:pathLst>
              <a:path h="6107" w="6101">
                <a:moveTo>
                  <a:pt x="5083" y="3053"/>
                </a:moveTo>
                <a:lnTo>
                  <a:pt x="2791" y="761"/>
                </a:lnTo>
                <a:cubicBezTo>
                  <a:pt x="2626" y="596"/>
                  <a:pt x="2626" y="329"/>
                  <a:pt x="2791" y="164"/>
                </a:cubicBezTo>
                <a:cubicBezTo>
                  <a:pt x="2955" y="0"/>
                  <a:pt x="3222" y="0"/>
                  <a:pt x="3387" y="164"/>
                </a:cubicBezTo>
                <a:lnTo>
                  <a:pt x="5978" y="2755"/>
                </a:lnTo>
                <a:cubicBezTo>
                  <a:pt x="6060" y="2837"/>
                  <a:pt x="6101" y="2945"/>
                  <a:pt x="6101" y="3053"/>
                </a:cubicBezTo>
                <a:cubicBezTo>
                  <a:pt x="6101" y="3161"/>
                  <a:pt x="6060" y="3269"/>
                  <a:pt x="5978" y="3351"/>
                </a:cubicBezTo>
                <a:lnTo>
                  <a:pt x="3387" y="5942"/>
                </a:lnTo>
                <a:cubicBezTo>
                  <a:pt x="3222" y="6107"/>
                  <a:pt x="2955" y="6107"/>
                  <a:pt x="2791" y="5942"/>
                </a:cubicBezTo>
                <a:cubicBezTo>
                  <a:pt x="2626" y="5777"/>
                  <a:pt x="2626" y="5510"/>
                  <a:pt x="2791" y="5345"/>
                </a:cubicBezTo>
                <a:lnTo>
                  <a:pt x="5083" y="3053"/>
                </a:lnTo>
                <a:close/>
                <a:moveTo>
                  <a:pt x="165" y="5345"/>
                </a:moveTo>
                <a:cubicBezTo>
                  <a:pt x="0" y="5510"/>
                  <a:pt x="0" y="5777"/>
                  <a:pt x="165" y="5942"/>
                </a:cubicBezTo>
                <a:cubicBezTo>
                  <a:pt x="329" y="6107"/>
                  <a:pt x="596" y="6107"/>
                  <a:pt x="761" y="5942"/>
                </a:cubicBezTo>
                <a:lnTo>
                  <a:pt x="3352" y="3351"/>
                </a:lnTo>
                <a:cubicBezTo>
                  <a:pt x="3434" y="3269"/>
                  <a:pt x="3475" y="3161"/>
                  <a:pt x="3475" y="3053"/>
                </a:cubicBezTo>
                <a:cubicBezTo>
                  <a:pt x="3475" y="2945"/>
                  <a:pt x="3434" y="2837"/>
                  <a:pt x="3352" y="2755"/>
                </a:cubicBezTo>
                <a:lnTo>
                  <a:pt x="761" y="164"/>
                </a:lnTo>
                <a:cubicBezTo>
                  <a:pt x="596" y="0"/>
                  <a:pt x="329" y="0"/>
                  <a:pt x="165" y="164"/>
                </a:cubicBezTo>
                <a:cubicBezTo>
                  <a:pt x="0" y="329"/>
                  <a:pt x="0" y="596"/>
                  <a:pt x="165" y="761"/>
                </a:cubicBezTo>
                <a:lnTo>
                  <a:pt x="2457" y="3053"/>
                </a:lnTo>
                <a:lnTo>
                  <a:pt x="165" y="5345"/>
                </a:lnTo>
                <a:close/>
              </a:path>
            </a:pathLst>
          </a:custGeom>
          <a:solidFill>
            <a:schemeClr val="bg1">
              <a:lumMod val="75000"/>
            </a:schemeClr>
          </a:solidFill>
          <a:ln>
            <a:noFill/>
          </a:ln>
        </p:spPr>
        <p:txBody>
          <a:bodyPr/>
          <a:lstStyle/>
          <a:p>
            <a:endParaRPr altLang="en-US" lang="zh-CN"/>
          </a:p>
        </p:txBody>
      </p:sp>
    </p:spTree>
    <p:extLst>
      <p:ext uri="{BB962C8B-B14F-4D97-AF65-F5344CB8AC3E}">
        <p14:creationId val="1101534372"/>
      </p:ext>
    </p:extLst>
  </p:cSld>
  <p:clrMapOvr>
    <a:masterClrMapping/>
  </p:clrMapOvr>
  <mc:AlternateContent>
    <mc:Choice Requires="p14">
      <p:transition p14:dur="1500" spd="slow">
        <p:random/>
      </p:transition>
    </mc:Choice>
    <mc:Fallback>
      <p:transition spd="slow">
        <p:random/>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decel="100000" fill="hold" grpId="0" id="5" nodeType="withEffect" presetClass="entr" presetID="50" presetSubtype="0">
                                  <p:stCondLst>
                                    <p:cond delay="0"/>
                                  </p:stCondLst>
                                  <p:childTnLst>
                                    <p:set>
                                      <p:cBhvr>
                                        <p:cTn dur="1" fill="hold" id="6">
                                          <p:stCondLst>
                                            <p:cond delay="0"/>
                                          </p:stCondLst>
                                        </p:cTn>
                                        <p:tgtEl>
                                          <p:spTgt spid="10"/>
                                        </p:tgtEl>
                                        <p:attrNameLst>
                                          <p:attrName>style.visibility</p:attrName>
                                        </p:attrNameLst>
                                      </p:cBhvr>
                                      <p:to>
                                        <p:strVal val="visible"/>
                                      </p:to>
                                    </p:set>
                                    <p:anim calcmode="lin" valueType="num">
                                      <p:cBhvr>
                                        <p:cTn dur="1000" fill="hold" id="7"/>
                                        <p:tgtEl>
                                          <p:spTgt spid="10"/>
                                        </p:tgtEl>
                                        <p:attrNameLst>
                                          <p:attrName>ppt_w</p:attrName>
                                        </p:attrNameLst>
                                      </p:cBhvr>
                                      <p:tavLst>
                                        <p:tav tm="0">
                                          <p:val>
                                            <p:strVal val="#ppt_w+.3"/>
                                          </p:val>
                                        </p:tav>
                                        <p:tav tm="100000">
                                          <p:val>
                                            <p:strVal val="#ppt_w"/>
                                          </p:val>
                                        </p:tav>
                                      </p:tavLst>
                                    </p:anim>
                                    <p:anim calcmode="lin" valueType="num">
                                      <p:cBhvr>
                                        <p:cTn dur="1000" fill="hold" id="8"/>
                                        <p:tgtEl>
                                          <p:spTgt spid="10"/>
                                        </p:tgtEl>
                                        <p:attrNameLst>
                                          <p:attrName>ppt_h</p:attrName>
                                        </p:attrNameLst>
                                      </p:cBhvr>
                                      <p:tavLst>
                                        <p:tav tm="0">
                                          <p:val>
                                            <p:strVal val="#ppt_h"/>
                                          </p:val>
                                        </p:tav>
                                        <p:tav tm="100000">
                                          <p:val>
                                            <p:strVal val="#ppt_h"/>
                                          </p:val>
                                        </p:tav>
                                      </p:tavLst>
                                    </p:anim>
                                    <p:animEffect filter="fade" transition="in">
                                      <p:cBhvr>
                                        <p:cTn dur="1000" id="9"/>
                                        <p:tgtEl>
                                          <p:spTgt spid="10"/>
                                        </p:tgtEl>
                                      </p:cBhvr>
                                    </p:animEffect>
                                  </p:childTnLst>
                                </p:cTn>
                              </p:par>
                              <p:par>
                                <p:cTn fill="hold" id="10" nodeType="withEffect" presetClass="entr" presetID="53" presetSubtype="0">
                                  <p:stCondLst>
                                    <p:cond delay="250"/>
                                  </p:stCondLst>
                                  <p:childTnLst>
                                    <p:set>
                                      <p:cBhvr>
                                        <p:cTn dur="1" fill="hold" id="11">
                                          <p:stCondLst>
                                            <p:cond delay="0"/>
                                          </p:stCondLst>
                                        </p:cTn>
                                        <p:tgtEl>
                                          <p:spTgt spid="15"/>
                                        </p:tgtEl>
                                        <p:attrNameLst>
                                          <p:attrName>style.visibility</p:attrName>
                                        </p:attrNameLst>
                                      </p:cBhvr>
                                      <p:to>
                                        <p:strVal val="visible"/>
                                      </p:to>
                                    </p:set>
                                    <p:anim calcmode="lin" valueType="num">
                                      <p:cBhvr>
                                        <p:cTn dur="500" fill="hold" id="12"/>
                                        <p:tgtEl>
                                          <p:spTgt spid="15"/>
                                        </p:tgtEl>
                                        <p:attrNameLst>
                                          <p:attrName>ppt_w</p:attrName>
                                        </p:attrNameLst>
                                      </p:cBhvr>
                                      <p:tavLst>
                                        <p:tav tm="0">
                                          <p:val>
                                            <p:fltVal val="0"/>
                                          </p:val>
                                        </p:tav>
                                        <p:tav tm="100000">
                                          <p:val>
                                            <p:strVal val="#ppt_w"/>
                                          </p:val>
                                        </p:tav>
                                      </p:tavLst>
                                    </p:anim>
                                    <p:anim calcmode="lin" valueType="num">
                                      <p:cBhvr>
                                        <p:cTn dur="500" fill="hold" id="13"/>
                                        <p:tgtEl>
                                          <p:spTgt spid="15"/>
                                        </p:tgtEl>
                                        <p:attrNameLst>
                                          <p:attrName>ppt_h</p:attrName>
                                        </p:attrNameLst>
                                      </p:cBhvr>
                                      <p:tavLst>
                                        <p:tav tm="0">
                                          <p:val>
                                            <p:fltVal val="0"/>
                                          </p:val>
                                        </p:tav>
                                        <p:tav tm="100000">
                                          <p:val>
                                            <p:strVal val="#ppt_h"/>
                                          </p:val>
                                        </p:tav>
                                      </p:tavLst>
                                    </p:anim>
                                    <p:animEffect filter="fade" transition="in">
                                      <p:cBhvr>
                                        <p:cTn dur="500" id="14"/>
                                        <p:tgtEl>
                                          <p:spTgt spid="15"/>
                                        </p:tgtEl>
                                      </p:cBhvr>
                                    </p:animEffect>
                                  </p:childTnLst>
                                </p:cTn>
                              </p:par>
                              <p:par>
                                <p:cTn fill="hold" id="15" nodeType="withEffect" presetClass="entr" presetID="53" presetSubtype="0">
                                  <p:stCondLst>
                                    <p:cond delay="250"/>
                                  </p:stCondLst>
                                  <p:childTnLst>
                                    <p:set>
                                      <p:cBhvr>
                                        <p:cTn dur="1" fill="hold" id="16">
                                          <p:stCondLst>
                                            <p:cond delay="0"/>
                                          </p:stCondLst>
                                        </p:cTn>
                                        <p:tgtEl>
                                          <p:spTgt spid="16"/>
                                        </p:tgtEl>
                                        <p:attrNameLst>
                                          <p:attrName>style.visibility</p:attrName>
                                        </p:attrNameLst>
                                      </p:cBhvr>
                                      <p:to>
                                        <p:strVal val="visible"/>
                                      </p:to>
                                    </p:set>
                                    <p:anim calcmode="lin" valueType="num">
                                      <p:cBhvr>
                                        <p:cTn dur="500" fill="hold" id="17"/>
                                        <p:tgtEl>
                                          <p:spTgt spid="16"/>
                                        </p:tgtEl>
                                        <p:attrNameLst>
                                          <p:attrName>ppt_w</p:attrName>
                                        </p:attrNameLst>
                                      </p:cBhvr>
                                      <p:tavLst>
                                        <p:tav tm="0">
                                          <p:val>
                                            <p:fltVal val="0"/>
                                          </p:val>
                                        </p:tav>
                                        <p:tav tm="100000">
                                          <p:val>
                                            <p:strVal val="#ppt_w"/>
                                          </p:val>
                                        </p:tav>
                                      </p:tavLst>
                                    </p:anim>
                                    <p:anim calcmode="lin" valueType="num">
                                      <p:cBhvr>
                                        <p:cTn dur="500" fill="hold" id="18"/>
                                        <p:tgtEl>
                                          <p:spTgt spid="16"/>
                                        </p:tgtEl>
                                        <p:attrNameLst>
                                          <p:attrName>ppt_h</p:attrName>
                                        </p:attrNameLst>
                                      </p:cBhvr>
                                      <p:tavLst>
                                        <p:tav tm="0">
                                          <p:val>
                                            <p:fltVal val="0"/>
                                          </p:val>
                                        </p:tav>
                                        <p:tav tm="100000">
                                          <p:val>
                                            <p:strVal val="#ppt_h"/>
                                          </p:val>
                                        </p:tav>
                                      </p:tavLst>
                                    </p:anim>
                                    <p:animEffect filter="fade" transition="in">
                                      <p:cBhvr>
                                        <p:cTn dur="500" id="19"/>
                                        <p:tgtEl>
                                          <p:spTgt spid="16"/>
                                        </p:tgtEl>
                                      </p:cBhvr>
                                    </p:animEffect>
                                  </p:childTnLst>
                                </p:cTn>
                              </p:par>
                              <p:par>
                                <p:cTn fill="hold" id="20" nodeType="withEffect" presetClass="entr" presetID="22" presetSubtype="8">
                                  <p:stCondLst>
                                    <p:cond delay="750"/>
                                  </p:stCondLst>
                                  <p:childTnLst>
                                    <p:set>
                                      <p:cBhvr>
                                        <p:cTn dur="1" fill="hold" id="21">
                                          <p:stCondLst>
                                            <p:cond delay="0"/>
                                          </p:stCondLst>
                                        </p:cTn>
                                        <p:tgtEl>
                                          <p:spTgt spid="13"/>
                                        </p:tgtEl>
                                        <p:attrNameLst>
                                          <p:attrName>style.visibility</p:attrName>
                                        </p:attrNameLst>
                                      </p:cBhvr>
                                      <p:to>
                                        <p:strVal val="visible"/>
                                      </p:to>
                                    </p:set>
                                    <p:animEffect filter="wipe(left)" transition="in">
                                      <p:cBhvr>
                                        <p:cTn dur="250" id="22"/>
                                        <p:tgtEl>
                                          <p:spTgt spid="13"/>
                                        </p:tgtEl>
                                      </p:cBhvr>
                                    </p:animEffect>
                                  </p:childTnLst>
                                </p:cTn>
                              </p:par>
                              <p:par>
                                <p:cTn fill="hold" id="23" nodeType="withEffect" presetClass="entr" presetID="22" presetSubtype="2">
                                  <p:stCondLst>
                                    <p:cond delay="750"/>
                                  </p:stCondLst>
                                  <p:childTnLst>
                                    <p:set>
                                      <p:cBhvr>
                                        <p:cTn dur="1" fill="hold" id="24">
                                          <p:stCondLst>
                                            <p:cond delay="0"/>
                                          </p:stCondLst>
                                        </p:cTn>
                                        <p:tgtEl>
                                          <p:spTgt spid="18"/>
                                        </p:tgtEl>
                                        <p:attrNameLst>
                                          <p:attrName>style.visibility</p:attrName>
                                        </p:attrNameLst>
                                      </p:cBhvr>
                                      <p:to>
                                        <p:strVal val="visible"/>
                                      </p:to>
                                    </p:set>
                                    <p:animEffect filter="wipe(right)" transition="in">
                                      <p:cBhvr>
                                        <p:cTn dur="250" id="25"/>
                                        <p:tgtEl>
                                          <p:spTgt spid="18"/>
                                        </p:tgtEl>
                                      </p:cBhvr>
                                    </p:animEffect>
                                  </p:childTnLst>
                                </p:cTn>
                              </p:par>
                            </p:childTnLst>
                          </p:cTn>
                        </p:par>
                        <p:par>
                          <p:cTn fill="hold" id="26" nodeType="afterGroup">
                            <p:stCondLst>
                              <p:cond delay="1000"/>
                            </p:stCondLst>
                            <p:childTnLst>
                              <p:par>
                                <p:cTn fill="hold" grpId="0" id="27" nodeType="afterEffect" presetClass="entr" presetID="18" presetSubtype="6">
                                  <p:stCondLst>
                                    <p:cond delay="0"/>
                                  </p:stCondLst>
                                  <p:childTnLst>
                                    <p:set>
                                      <p:cBhvr>
                                        <p:cTn dur="1" fill="hold" id="28">
                                          <p:stCondLst>
                                            <p:cond delay="0"/>
                                          </p:stCondLst>
                                        </p:cTn>
                                        <p:tgtEl>
                                          <p:spTgt spid="5"/>
                                        </p:tgtEl>
                                        <p:attrNameLst>
                                          <p:attrName>style.visibility</p:attrName>
                                        </p:attrNameLst>
                                      </p:cBhvr>
                                      <p:to>
                                        <p:strVal val="visible"/>
                                      </p:to>
                                    </p:set>
                                    <p:animEffect filter="strips(downRight)" transition="in">
                                      <p:cBhvr>
                                        <p:cTn dur="500" id="29"/>
                                        <p:tgtEl>
                                          <p:spTgt spid="5"/>
                                        </p:tgtEl>
                                      </p:cBhvr>
                                    </p:animEffect>
                                  </p:childTnLst>
                                </p:cTn>
                              </p:par>
                              <p:par>
                                <p:cTn fill="hold" grpId="0" id="30" nodeType="withEffect" presetClass="entr" presetID="18" presetSubtype="9">
                                  <p:stCondLst>
                                    <p:cond delay="0"/>
                                  </p:stCondLst>
                                  <p:childTnLst>
                                    <p:set>
                                      <p:cBhvr>
                                        <p:cTn dur="1" fill="hold" id="31">
                                          <p:stCondLst>
                                            <p:cond delay="0"/>
                                          </p:stCondLst>
                                        </p:cTn>
                                        <p:tgtEl>
                                          <p:spTgt spid="146"/>
                                        </p:tgtEl>
                                        <p:attrNameLst>
                                          <p:attrName>style.visibility</p:attrName>
                                        </p:attrNameLst>
                                      </p:cBhvr>
                                      <p:to>
                                        <p:strVal val="visible"/>
                                      </p:to>
                                    </p:set>
                                    <p:animEffect filter="strips(upLeft)" transition="in">
                                      <p:cBhvr>
                                        <p:cTn dur="500" id="32"/>
                                        <p:tgtEl>
                                          <p:spTgt spid="146"/>
                                        </p:tgtEl>
                                      </p:cBhvr>
                                    </p:animEffect>
                                  </p:childTnLst>
                                </p:cTn>
                              </p:par>
                            </p:childTnLst>
                          </p:cTn>
                        </p:par>
                        <p:par>
                          <p:cTn fill="hold" id="33" nodeType="afterGroup">
                            <p:stCondLst>
                              <p:cond delay="1500"/>
                            </p:stCondLst>
                            <p:childTnLst>
                              <p:par>
                                <p:cTn fill="hold" grpId="0" id="34" nodeType="afterEffect" presetClass="entr" presetID="53" presetSubtype="0">
                                  <p:stCondLst>
                                    <p:cond delay="0"/>
                                  </p:stCondLst>
                                  <p:childTnLst>
                                    <p:set>
                                      <p:cBhvr>
                                        <p:cTn dur="1" fill="hold" id="35">
                                          <p:stCondLst>
                                            <p:cond delay="0"/>
                                          </p:stCondLst>
                                        </p:cTn>
                                        <p:tgtEl>
                                          <p:spTgt spid="147"/>
                                        </p:tgtEl>
                                        <p:attrNameLst>
                                          <p:attrName>style.visibility</p:attrName>
                                        </p:attrNameLst>
                                      </p:cBhvr>
                                      <p:to>
                                        <p:strVal val="visible"/>
                                      </p:to>
                                    </p:set>
                                    <p:anim calcmode="lin" valueType="num">
                                      <p:cBhvr>
                                        <p:cTn dur="500" fill="hold" id="36"/>
                                        <p:tgtEl>
                                          <p:spTgt spid="147"/>
                                        </p:tgtEl>
                                        <p:attrNameLst>
                                          <p:attrName>ppt_w</p:attrName>
                                        </p:attrNameLst>
                                      </p:cBhvr>
                                      <p:tavLst>
                                        <p:tav tm="0">
                                          <p:val>
                                            <p:fltVal val="0"/>
                                          </p:val>
                                        </p:tav>
                                        <p:tav tm="100000">
                                          <p:val>
                                            <p:strVal val="#ppt_w"/>
                                          </p:val>
                                        </p:tav>
                                      </p:tavLst>
                                    </p:anim>
                                    <p:anim calcmode="lin" valueType="num">
                                      <p:cBhvr>
                                        <p:cTn dur="500" fill="hold" id="37"/>
                                        <p:tgtEl>
                                          <p:spTgt spid="147"/>
                                        </p:tgtEl>
                                        <p:attrNameLst>
                                          <p:attrName>ppt_h</p:attrName>
                                        </p:attrNameLst>
                                      </p:cBhvr>
                                      <p:tavLst>
                                        <p:tav tm="0">
                                          <p:val>
                                            <p:fltVal val="0"/>
                                          </p:val>
                                        </p:tav>
                                        <p:tav tm="100000">
                                          <p:val>
                                            <p:strVal val="#ppt_h"/>
                                          </p:val>
                                        </p:tav>
                                      </p:tavLst>
                                    </p:anim>
                                    <p:animEffect filter="fade" transition="in">
                                      <p:cBhvr>
                                        <p:cTn dur="500" id="38"/>
                                        <p:tgtEl>
                                          <p:spTgt spid="147"/>
                                        </p:tgtEl>
                                      </p:cBhvr>
                                    </p:animEffect>
                                  </p:childTnLst>
                                </p:cTn>
                              </p:par>
                            </p:childTnLst>
                          </p:cTn>
                        </p:par>
                        <p:par>
                          <p:cTn fill="hold" id="39" nodeType="afterGroup">
                            <p:stCondLst>
                              <p:cond delay="2000"/>
                            </p:stCondLst>
                            <p:childTnLst>
                              <p:par>
                                <p:cTn fill="hold" id="40" nodeType="afterEffect" presetClass="entr" presetID="22" presetSubtype="1">
                                  <p:stCondLst>
                                    <p:cond delay="0"/>
                                  </p:stCondLst>
                                  <p:childTnLst>
                                    <p:set>
                                      <p:cBhvr>
                                        <p:cTn dur="1" fill="hold" id="41">
                                          <p:stCondLst>
                                            <p:cond delay="0"/>
                                          </p:stCondLst>
                                        </p:cTn>
                                        <p:tgtEl>
                                          <p:spTgt spid="155"/>
                                        </p:tgtEl>
                                        <p:attrNameLst>
                                          <p:attrName>style.visibility</p:attrName>
                                        </p:attrNameLst>
                                      </p:cBhvr>
                                      <p:to>
                                        <p:strVal val="visible"/>
                                      </p:to>
                                    </p:set>
                                    <p:animEffect filter="wipe(up)" transition="in">
                                      <p:cBhvr>
                                        <p:cTn dur="500" id="42"/>
                                        <p:tgtEl>
                                          <p:spTgt spid="155"/>
                                        </p:tgtEl>
                                      </p:cBhvr>
                                    </p:animEffect>
                                  </p:childTnLst>
                                </p:cTn>
                              </p:par>
                            </p:childTnLst>
                          </p:cTn>
                        </p:par>
                        <p:par>
                          <p:cTn fill="hold" id="43" nodeType="afterGroup">
                            <p:stCondLst>
                              <p:cond delay="2500"/>
                            </p:stCondLst>
                            <p:childTnLst>
                              <p:par>
                                <p:cTn fill="hold" grpId="0" id="44" nodeType="afterEffect" presetClass="entr" presetID="22" presetSubtype="8">
                                  <p:stCondLst>
                                    <p:cond delay="0"/>
                                  </p:stCondLst>
                                  <p:childTnLst>
                                    <p:set>
                                      <p:cBhvr>
                                        <p:cTn dur="1" fill="hold" id="45">
                                          <p:stCondLst>
                                            <p:cond delay="0"/>
                                          </p:stCondLst>
                                        </p:cTn>
                                        <p:tgtEl>
                                          <p:spTgt spid="165"/>
                                        </p:tgtEl>
                                        <p:attrNameLst>
                                          <p:attrName>style.visibility</p:attrName>
                                        </p:attrNameLst>
                                      </p:cBhvr>
                                      <p:to>
                                        <p:strVal val="visible"/>
                                      </p:to>
                                    </p:set>
                                    <p:animEffect filter="wipe(left)" transition="in">
                                      <p:cBhvr>
                                        <p:cTn dur="500" id="46"/>
                                        <p:tgtEl>
                                          <p:spTgt spid="165"/>
                                        </p:tgtEl>
                                      </p:cBhvr>
                                    </p:animEffect>
                                  </p:childTnLst>
                                </p:cTn>
                              </p:par>
                            </p:childTnLst>
                          </p:cTn>
                        </p:par>
                        <p:par>
                          <p:cTn fill="hold" id="47" nodeType="afterGroup">
                            <p:stCondLst>
                              <p:cond delay="3000"/>
                            </p:stCondLst>
                            <p:childTnLst>
                              <p:par>
                                <p:cTn fill="hold" grpId="0" id="48" nodeType="afterEffect" presetClass="entr" presetID="18" presetSubtype="6">
                                  <p:stCondLst>
                                    <p:cond delay="0"/>
                                  </p:stCondLst>
                                  <p:childTnLst>
                                    <p:set>
                                      <p:cBhvr>
                                        <p:cTn dur="1" fill="hold" id="49">
                                          <p:stCondLst>
                                            <p:cond delay="0"/>
                                          </p:stCondLst>
                                        </p:cTn>
                                        <p:tgtEl>
                                          <p:spTgt spid="148"/>
                                        </p:tgtEl>
                                        <p:attrNameLst>
                                          <p:attrName>style.visibility</p:attrName>
                                        </p:attrNameLst>
                                      </p:cBhvr>
                                      <p:to>
                                        <p:strVal val="visible"/>
                                      </p:to>
                                    </p:set>
                                    <p:animEffect filter="strips(downRight)" transition="in">
                                      <p:cBhvr>
                                        <p:cTn dur="500" id="50"/>
                                        <p:tgtEl>
                                          <p:spTgt spid="148"/>
                                        </p:tgtEl>
                                      </p:cBhvr>
                                    </p:animEffect>
                                  </p:childTnLst>
                                </p:cTn>
                              </p:par>
                              <p:par>
                                <p:cTn fill="hold" grpId="0" id="51" nodeType="withEffect" presetClass="entr" presetID="18" presetSubtype="9">
                                  <p:stCondLst>
                                    <p:cond delay="0"/>
                                  </p:stCondLst>
                                  <p:childTnLst>
                                    <p:set>
                                      <p:cBhvr>
                                        <p:cTn dur="1" fill="hold" id="52">
                                          <p:stCondLst>
                                            <p:cond delay="0"/>
                                          </p:stCondLst>
                                        </p:cTn>
                                        <p:tgtEl>
                                          <p:spTgt spid="149"/>
                                        </p:tgtEl>
                                        <p:attrNameLst>
                                          <p:attrName>style.visibility</p:attrName>
                                        </p:attrNameLst>
                                      </p:cBhvr>
                                      <p:to>
                                        <p:strVal val="visible"/>
                                      </p:to>
                                    </p:set>
                                    <p:animEffect filter="strips(upLeft)" transition="in">
                                      <p:cBhvr>
                                        <p:cTn dur="500" id="53"/>
                                        <p:tgtEl>
                                          <p:spTgt spid="149"/>
                                        </p:tgtEl>
                                      </p:cBhvr>
                                    </p:animEffect>
                                  </p:childTnLst>
                                </p:cTn>
                              </p:par>
                            </p:childTnLst>
                          </p:cTn>
                        </p:par>
                        <p:par>
                          <p:cTn fill="hold" id="54" nodeType="afterGroup">
                            <p:stCondLst>
                              <p:cond delay="3500"/>
                            </p:stCondLst>
                            <p:childTnLst>
                              <p:par>
                                <p:cTn fill="hold" grpId="0" id="55" nodeType="afterEffect" presetClass="entr" presetID="53" presetSubtype="0">
                                  <p:stCondLst>
                                    <p:cond delay="0"/>
                                  </p:stCondLst>
                                  <p:childTnLst>
                                    <p:set>
                                      <p:cBhvr>
                                        <p:cTn dur="1" fill="hold" id="56">
                                          <p:stCondLst>
                                            <p:cond delay="0"/>
                                          </p:stCondLst>
                                        </p:cTn>
                                        <p:tgtEl>
                                          <p:spTgt spid="150"/>
                                        </p:tgtEl>
                                        <p:attrNameLst>
                                          <p:attrName>style.visibility</p:attrName>
                                        </p:attrNameLst>
                                      </p:cBhvr>
                                      <p:to>
                                        <p:strVal val="visible"/>
                                      </p:to>
                                    </p:set>
                                    <p:anim calcmode="lin" valueType="num">
                                      <p:cBhvr>
                                        <p:cTn dur="500" fill="hold" id="57"/>
                                        <p:tgtEl>
                                          <p:spTgt spid="150"/>
                                        </p:tgtEl>
                                        <p:attrNameLst>
                                          <p:attrName>ppt_w</p:attrName>
                                        </p:attrNameLst>
                                      </p:cBhvr>
                                      <p:tavLst>
                                        <p:tav tm="0">
                                          <p:val>
                                            <p:fltVal val="0"/>
                                          </p:val>
                                        </p:tav>
                                        <p:tav tm="100000">
                                          <p:val>
                                            <p:strVal val="#ppt_w"/>
                                          </p:val>
                                        </p:tav>
                                      </p:tavLst>
                                    </p:anim>
                                    <p:anim calcmode="lin" valueType="num">
                                      <p:cBhvr>
                                        <p:cTn dur="500" fill="hold" id="58"/>
                                        <p:tgtEl>
                                          <p:spTgt spid="150"/>
                                        </p:tgtEl>
                                        <p:attrNameLst>
                                          <p:attrName>ppt_h</p:attrName>
                                        </p:attrNameLst>
                                      </p:cBhvr>
                                      <p:tavLst>
                                        <p:tav tm="0">
                                          <p:val>
                                            <p:fltVal val="0"/>
                                          </p:val>
                                        </p:tav>
                                        <p:tav tm="100000">
                                          <p:val>
                                            <p:strVal val="#ppt_h"/>
                                          </p:val>
                                        </p:tav>
                                      </p:tavLst>
                                    </p:anim>
                                    <p:animEffect filter="fade" transition="in">
                                      <p:cBhvr>
                                        <p:cTn dur="500" id="59"/>
                                        <p:tgtEl>
                                          <p:spTgt spid="150"/>
                                        </p:tgtEl>
                                      </p:cBhvr>
                                    </p:animEffect>
                                  </p:childTnLst>
                                </p:cTn>
                              </p:par>
                            </p:childTnLst>
                          </p:cTn>
                        </p:par>
                        <p:par>
                          <p:cTn fill="hold" id="60" nodeType="afterGroup">
                            <p:stCondLst>
                              <p:cond delay="4000"/>
                            </p:stCondLst>
                            <p:childTnLst>
                              <p:par>
                                <p:cTn fill="hold" id="61" nodeType="afterEffect" presetClass="entr" presetID="22" presetSubtype="1">
                                  <p:stCondLst>
                                    <p:cond delay="0"/>
                                  </p:stCondLst>
                                  <p:childTnLst>
                                    <p:set>
                                      <p:cBhvr>
                                        <p:cTn dur="1" fill="hold" id="62">
                                          <p:stCondLst>
                                            <p:cond delay="0"/>
                                          </p:stCondLst>
                                        </p:cTn>
                                        <p:tgtEl>
                                          <p:spTgt spid="158"/>
                                        </p:tgtEl>
                                        <p:attrNameLst>
                                          <p:attrName>style.visibility</p:attrName>
                                        </p:attrNameLst>
                                      </p:cBhvr>
                                      <p:to>
                                        <p:strVal val="visible"/>
                                      </p:to>
                                    </p:set>
                                    <p:animEffect filter="wipe(up)" transition="in">
                                      <p:cBhvr>
                                        <p:cTn dur="500" id="63"/>
                                        <p:tgtEl>
                                          <p:spTgt spid="158"/>
                                        </p:tgtEl>
                                      </p:cBhvr>
                                    </p:animEffect>
                                  </p:childTnLst>
                                </p:cTn>
                              </p:par>
                            </p:childTnLst>
                          </p:cTn>
                        </p:par>
                        <p:par>
                          <p:cTn fill="hold" id="64" nodeType="afterGroup">
                            <p:stCondLst>
                              <p:cond delay="4500"/>
                            </p:stCondLst>
                            <p:childTnLst>
                              <p:par>
                                <p:cTn fill="hold" grpId="0" id="65" nodeType="afterEffect" presetClass="entr" presetID="22" presetSubtype="8">
                                  <p:stCondLst>
                                    <p:cond delay="0"/>
                                  </p:stCondLst>
                                  <p:childTnLst>
                                    <p:set>
                                      <p:cBhvr>
                                        <p:cTn dur="1" fill="hold" id="66">
                                          <p:stCondLst>
                                            <p:cond delay="0"/>
                                          </p:stCondLst>
                                        </p:cTn>
                                        <p:tgtEl>
                                          <p:spTgt spid="166"/>
                                        </p:tgtEl>
                                        <p:attrNameLst>
                                          <p:attrName>style.visibility</p:attrName>
                                        </p:attrNameLst>
                                      </p:cBhvr>
                                      <p:to>
                                        <p:strVal val="visible"/>
                                      </p:to>
                                    </p:set>
                                    <p:animEffect filter="wipe(left)" transition="in">
                                      <p:cBhvr>
                                        <p:cTn dur="500" id="67"/>
                                        <p:tgtEl>
                                          <p:spTgt spid="166"/>
                                        </p:tgtEl>
                                      </p:cBhvr>
                                    </p:animEffect>
                                  </p:childTnLst>
                                </p:cTn>
                              </p:par>
                            </p:childTnLst>
                          </p:cTn>
                        </p:par>
                        <p:par>
                          <p:cTn fill="hold" id="68" nodeType="afterGroup">
                            <p:stCondLst>
                              <p:cond delay="5000"/>
                            </p:stCondLst>
                            <p:childTnLst>
                              <p:par>
                                <p:cTn fill="hold" grpId="0" id="69" nodeType="afterEffect" presetClass="entr" presetID="18" presetSubtype="6">
                                  <p:stCondLst>
                                    <p:cond delay="0"/>
                                  </p:stCondLst>
                                  <p:childTnLst>
                                    <p:set>
                                      <p:cBhvr>
                                        <p:cTn dur="1" fill="hold" id="70">
                                          <p:stCondLst>
                                            <p:cond delay="0"/>
                                          </p:stCondLst>
                                        </p:cTn>
                                        <p:tgtEl>
                                          <p:spTgt spid="151"/>
                                        </p:tgtEl>
                                        <p:attrNameLst>
                                          <p:attrName>style.visibility</p:attrName>
                                        </p:attrNameLst>
                                      </p:cBhvr>
                                      <p:to>
                                        <p:strVal val="visible"/>
                                      </p:to>
                                    </p:set>
                                    <p:animEffect filter="strips(downRight)" transition="in">
                                      <p:cBhvr>
                                        <p:cTn dur="500" id="71"/>
                                        <p:tgtEl>
                                          <p:spTgt spid="151"/>
                                        </p:tgtEl>
                                      </p:cBhvr>
                                    </p:animEffect>
                                  </p:childTnLst>
                                </p:cTn>
                              </p:par>
                              <p:par>
                                <p:cTn fill="hold" grpId="0" id="72" nodeType="withEffect" presetClass="entr" presetID="18" presetSubtype="9">
                                  <p:stCondLst>
                                    <p:cond delay="0"/>
                                  </p:stCondLst>
                                  <p:childTnLst>
                                    <p:set>
                                      <p:cBhvr>
                                        <p:cTn dur="1" fill="hold" id="73">
                                          <p:stCondLst>
                                            <p:cond delay="0"/>
                                          </p:stCondLst>
                                        </p:cTn>
                                        <p:tgtEl>
                                          <p:spTgt spid="152"/>
                                        </p:tgtEl>
                                        <p:attrNameLst>
                                          <p:attrName>style.visibility</p:attrName>
                                        </p:attrNameLst>
                                      </p:cBhvr>
                                      <p:to>
                                        <p:strVal val="visible"/>
                                      </p:to>
                                    </p:set>
                                    <p:animEffect filter="strips(upLeft)" transition="in">
                                      <p:cBhvr>
                                        <p:cTn dur="500" id="74"/>
                                        <p:tgtEl>
                                          <p:spTgt spid="152"/>
                                        </p:tgtEl>
                                      </p:cBhvr>
                                    </p:animEffect>
                                  </p:childTnLst>
                                </p:cTn>
                              </p:par>
                            </p:childTnLst>
                          </p:cTn>
                        </p:par>
                        <p:par>
                          <p:cTn fill="hold" id="75" nodeType="afterGroup">
                            <p:stCondLst>
                              <p:cond delay="5500"/>
                            </p:stCondLst>
                            <p:childTnLst>
                              <p:par>
                                <p:cTn fill="hold" grpId="0" id="76" nodeType="afterEffect" presetClass="entr" presetID="53" presetSubtype="0">
                                  <p:stCondLst>
                                    <p:cond delay="0"/>
                                  </p:stCondLst>
                                  <p:childTnLst>
                                    <p:set>
                                      <p:cBhvr>
                                        <p:cTn dur="1" fill="hold" id="77">
                                          <p:stCondLst>
                                            <p:cond delay="0"/>
                                          </p:stCondLst>
                                        </p:cTn>
                                        <p:tgtEl>
                                          <p:spTgt spid="153"/>
                                        </p:tgtEl>
                                        <p:attrNameLst>
                                          <p:attrName>style.visibility</p:attrName>
                                        </p:attrNameLst>
                                      </p:cBhvr>
                                      <p:to>
                                        <p:strVal val="visible"/>
                                      </p:to>
                                    </p:set>
                                    <p:anim calcmode="lin" valueType="num">
                                      <p:cBhvr>
                                        <p:cTn dur="500" fill="hold" id="78"/>
                                        <p:tgtEl>
                                          <p:spTgt spid="153"/>
                                        </p:tgtEl>
                                        <p:attrNameLst>
                                          <p:attrName>ppt_w</p:attrName>
                                        </p:attrNameLst>
                                      </p:cBhvr>
                                      <p:tavLst>
                                        <p:tav tm="0">
                                          <p:val>
                                            <p:fltVal val="0"/>
                                          </p:val>
                                        </p:tav>
                                        <p:tav tm="100000">
                                          <p:val>
                                            <p:strVal val="#ppt_w"/>
                                          </p:val>
                                        </p:tav>
                                      </p:tavLst>
                                    </p:anim>
                                    <p:anim calcmode="lin" valueType="num">
                                      <p:cBhvr>
                                        <p:cTn dur="500" fill="hold" id="79"/>
                                        <p:tgtEl>
                                          <p:spTgt spid="153"/>
                                        </p:tgtEl>
                                        <p:attrNameLst>
                                          <p:attrName>ppt_h</p:attrName>
                                        </p:attrNameLst>
                                      </p:cBhvr>
                                      <p:tavLst>
                                        <p:tav tm="0">
                                          <p:val>
                                            <p:fltVal val="0"/>
                                          </p:val>
                                        </p:tav>
                                        <p:tav tm="100000">
                                          <p:val>
                                            <p:strVal val="#ppt_h"/>
                                          </p:val>
                                        </p:tav>
                                      </p:tavLst>
                                    </p:anim>
                                    <p:animEffect filter="fade" transition="in">
                                      <p:cBhvr>
                                        <p:cTn dur="500" id="80"/>
                                        <p:tgtEl>
                                          <p:spTgt spid="153"/>
                                        </p:tgtEl>
                                      </p:cBhvr>
                                    </p:animEffect>
                                  </p:childTnLst>
                                </p:cTn>
                              </p:par>
                            </p:childTnLst>
                          </p:cTn>
                        </p:par>
                        <p:par>
                          <p:cTn fill="hold" id="81" nodeType="afterGroup">
                            <p:stCondLst>
                              <p:cond delay="6000"/>
                            </p:stCondLst>
                            <p:childTnLst>
                              <p:par>
                                <p:cTn fill="hold" id="82" nodeType="afterEffect" presetClass="entr" presetID="22" presetSubtype="1">
                                  <p:stCondLst>
                                    <p:cond delay="0"/>
                                  </p:stCondLst>
                                  <p:childTnLst>
                                    <p:set>
                                      <p:cBhvr>
                                        <p:cTn dur="1" fill="hold" id="83">
                                          <p:stCondLst>
                                            <p:cond delay="0"/>
                                          </p:stCondLst>
                                        </p:cTn>
                                        <p:tgtEl>
                                          <p:spTgt spid="161"/>
                                        </p:tgtEl>
                                        <p:attrNameLst>
                                          <p:attrName>style.visibility</p:attrName>
                                        </p:attrNameLst>
                                      </p:cBhvr>
                                      <p:to>
                                        <p:strVal val="visible"/>
                                      </p:to>
                                    </p:set>
                                    <p:animEffect filter="wipe(up)" transition="in">
                                      <p:cBhvr>
                                        <p:cTn dur="500" id="84"/>
                                        <p:tgtEl>
                                          <p:spTgt spid="161"/>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10"/>
      <p:bldP grpId="0" spid="5"/>
      <p:bldP grpId="0" spid="146"/>
      <p:bldP grpId="0" spid="147"/>
      <p:bldP grpId="0" spid="148"/>
      <p:bldP grpId="0" spid="149"/>
      <p:bldP grpId="0" spid="150"/>
      <p:bldP grpId="0" spid="151"/>
      <p:bldP grpId="0" spid="152"/>
      <p:bldP grpId="0" spid="153"/>
      <p:bldP grpId="0" spid="165"/>
      <p:bldP grpId="0" spid="166"/>
    </p:bldLst>
  </p:timing>
</p:sld>
</file>

<file path=ppt/slides/slide14.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pic>
        <p:nvPicPr>
          <p:cNvPr id="52" name="图形 51">
            <a:extLst>
              <a:ext uri="{FF2B5EF4-FFF2-40B4-BE49-F238E27FC236}">
                <a16:creationId xmlns:a16="http://schemas.microsoft.com/office/drawing/2014/main" id="{8D33FEF6-9F37-4458-AA3E-4C458A179BF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flipV="1">
            <a:off x="59107" y="4827095"/>
            <a:ext cx="1870413" cy="1956409"/>
          </a:xfrm>
          <a:prstGeom prst="rect">
            <a:avLst/>
          </a:prstGeom>
        </p:spPr>
      </p:pic>
      <p:pic>
        <p:nvPicPr>
          <p:cNvPr id="53" name="图形 52">
            <a:extLst>
              <a:ext uri="{FF2B5EF4-FFF2-40B4-BE49-F238E27FC236}">
                <a16:creationId xmlns:a16="http://schemas.microsoft.com/office/drawing/2014/main" id="{2B0BF704-574C-4B05-806E-D359C2544A7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051181" y="40578"/>
            <a:ext cx="2065140" cy="1630373"/>
          </a:xfrm>
          <a:prstGeom prst="rect">
            <a:avLst/>
          </a:prstGeom>
        </p:spPr>
      </p:pic>
      <p:pic>
        <p:nvPicPr>
          <p:cNvPr id="18" name="图片 17">
            <a:extLst>
              <a:ext uri="{FF2B5EF4-FFF2-40B4-BE49-F238E27FC236}">
                <a16:creationId xmlns:a16="http://schemas.microsoft.com/office/drawing/2014/main" id="{01B58B04-61DF-4368-9E5B-1A9430F90136}"/>
              </a:ext>
            </a:extLst>
          </p:cNvPr>
          <p:cNvPicPr>
            <a:picLocks noChangeAspect="1"/>
          </p:cNvPicPr>
          <p:nvPr/>
        </p:nvPicPr>
        <p:blipFill>
          <a:blip r:embed="rId7">
            <a:extLst>
              <a:ext uri="{28A0092B-C50C-407E-A947-70E740481C1C}">
                <a14:useLocalDpi val="0"/>
              </a:ext>
            </a:extLst>
          </a:blip>
          <a:srcRect b="9410" l="12695" r="15432" t="13963"/>
          <a:stretch>
            <a:fillRect/>
          </a:stretch>
        </p:blipFill>
        <p:spPr>
          <a:xfrm rot="5400000">
            <a:off x="2925434" y="-1362528"/>
            <a:ext cx="6195993" cy="9583056"/>
          </a:xfrm>
          <a:prstGeom prst="rect">
            <a:avLst/>
          </a:prstGeom>
          <a:effectLst>
            <a:outerShdw algn="t" blurRad="152400" dir="5400000" dist="76200" rotWithShape="0">
              <a:prstClr val="black">
                <a:alpha val="40000"/>
              </a:prstClr>
            </a:outerShdw>
          </a:effectLst>
        </p:spPr>
      </p:pic>
      <p:sp>
        <p:nvSpPr>
          <p:cNvPr id="14" name="文本框 13">
            <a:extLst>
              <a:ext uri="{FF2B5EF4-FFF2-40B4-BE49-F238E27FC236}">
                <a16:creationId xmlns:a16="http://schemas.microsoft.com/office/drawing/2014/main" id="{3AAB08FD-929D-4210-86B9-92132AA71D62}"/>
              </a:ext>
            </a:extLst>
          </p:cNvPr>
          <p:cNvSpPr txBox="1"/>
          <p:nvPr/>
        </p:nvSpPr>
        <p:spPr>
          <a:xfrm>
            <a:off x="1244600" y="3157664"/>
            <a:ext cx="9702800" cy="1554480"/>
          </a:xfrm>
          <a:prstGeom prst="rect">
            <a:avLst/>
          </a:prstGeom>
          <a:noFill/>
        </p:spPr>
        <p:txBody>
          <a:bodyPr rtlCol="0" wrap="square">
            <a:spAutoFit/>
          </a:bodyPr>
          <a:lstStyle/>
          <a:p>
            <a:pPr algn="ctr"/>
            <a:r>
              <a:rPr altLang="en-US" b="1" lang="zh-CN" spc="-150" sz="9600">
                <a:solidFill>
                  <a:schemeClr val="tx1">
                    <a:lumMod val="75000"/>
                    <a:lumOff val="25000"/>
                  </a:schemeClr>
                </a:solidFill>
                <a:latin charset="-122" panose="02000500000000000000" pitchFamily="2" typeface="方正手迹-小欢卡通体"/>
                <a:ea charset="-122" panose="02000500000000000000" pitchFamily="2" typeface="方正手迹-小欢卡通体"/>
              </a:rPr>
              <a:t>工作经验总结</a:t>
            </a:r>
          </a:p>
        </p:txBody>
      </p:sp>
      <p:grpSp>
        <p:nvGrpSpPr>
          <p:cNvPr id="2" name="组合 1">
            <a:extLst>
              <a:ext uri="{FF2B5EF4-FFF2-40B4-BE49-F238E27FC236}">
                <a16:creationId xmlns:a16="http://schemas.microsoft.com/office/drawing/2014/main" id="{838B7507-BC27-4394-A9B9-4F3FCB597C1B}"/>
              </a:ext>
            </a:extLst>
          </p:cNvPr>
          <p:cNvGrpSpPr/>
          <p:nvPr/>
        </p:nvGrpSpPr>
        <p:grpSpPr>
          <a:xfrm>
            <a:off x="4926015" y="4766828"/>
            <a:ext cx="2339970" cy="482600"/>
            <a:chOff x="4926015" y="4766828"/>
            <a:chExt cx="2339970" cy="482600"/>
          </a:xfrm>
        </p:grpSpPr>
        <p:sp>
          <p:nvSpPr>
            <p:cNvPr id="15" name="矩形 14">
              <a:extLst>
                <a:ext uri="{FF2B5EF4-FFF2-40B4-BE49-F238E27FC236}">
                  <a16:creationId xmlns:a16="http://schemas.microsoft.com/office/drawing/2014/main" id="{76128341-D5BE-4727-98FA-EEEF15553AE5}"/>
                </a:ext>
              </a:extLst>
            </p:cNvPr>
            <p:cNvSpPr/>
            <p:nvPr/>
          </p:nvSpPr>
          <p:spPr>
            <a:xfrm>
              <a:off x="4926015" y="4766828"/>
              <a:ext cx="1169985" cy="482600"/>
            </a:xfrm>
            <a:prstGeom prst="rect">
              <a:avLst/>
            </a:prstGeom>
            <a:solidFill>
              <a:srgbClr val="FF626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2000">
                <a:solidFill>
                  <a:srgbClr val="00416B"/>
                </a:solidFill>
                <a:latin charset="-122" panose="02000500000000000000" pitchFamily="2" typeface="方正雅士黑 简"/>
                <a:ea charset="-122" panose="02000500000000000000" pitchFamily="2" typeface="方正雅士黑 简"/>
              </a:endParaRPr>
            </a:p>
          </p:txBody>
        </p:sp>
        <p:sp>
          <p:nvSpPr>
            <p:cNvPr id="16" name="矩形 15">
              <a:extLst>
                <a:ext uri="{FF2B5EF4-FFF2-40B4-BE49-F238E27FC236}">
                  <a16:creationId xmlns:a16="http://schemas.microsoft.com/office/drawing/2014/main" id="{EB775F2C-CA06-4532-900A-BFA261DBEEB0}"/>
                </a:ext>
              </a:extLst>
            </p:cNvPr>
            <p:cNvSpPr/>
            <p:nvPr/>
          </p:nvSpPr>
          <p:spPr>
            <a:xfrm>
              <a:off x="6096000" y="4766828"/>
              <a:ext cx="1169985" cy="482600"/>
            </a:xfrm>
            <a:prstGeom prst="rect">
              <a:avLst/>
            </a:prstGeom>
            <a:solidFill>
              <a:srgbClr val="60A8A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2000">
                <a:solidFill>
                  <a:srgbClr val="00416B"/>
                </a:solidFill>
                <a:latin charset="-122" panose="02000500000000000000" pitchFamily="2" typeface="方正雅士黑 简"/>
                <a:ea charset="-122" panose="02000500000000000000" pitchFamily="2" typeface="方正雅士黑 简"/>
              </a:endParaRPr>
            </a:p>
          </p:txBody>
        </p:sp>
      </p:grpSp>
      <p:sp>
        <p:nvSpPr>
          <p:cNvPr id="17" name="矩形 16">
            <a:extLst>
              <a:ext uri="{FF2B5EF4-FFF2-40B4-BE49-F238E27FC236}">
                <a16:creationId xmlns:a16="http://schemas.microsoft.com/office/drawing/2014/main" id="{013E49E3-785E-448C-8679-9E330C4A1944}"/>
              </a:ext>
            </a:extLst>
          </p:cNvPr>
          <p:cNvSpPr/>
          <p:nvPr/>
        </p:nvSpPr>
        <p:spPr>
          <a:xfrm>
            <a:off x="5054780" y="4783176"/>
            <a:ext cx="2164080" cy="457200"/>
          </a:xfrm>
          <a:prstGeom prst="rect">
            <a:avLst/>
          </a:prstGeom>
        </p:spPr>
        <p:txBody>
          <a:bodyPr wrap="none">
            <a:spAutoFit/>
          </a:bodyPr>
          <a:lstStyle/>
          <a:p>
            <a:pPr algn="ctr"/>
            <a:r>
              <a:rPr altLang="zh-CN" lang="en-US" sz="2400">
                <a:solidFill>
                  <a:schemeClr val="bg1"/>
                </a:solidFill>
                <a:latin charset="-122" panose="02000500000000000000" pitchFamily="2" typeface="方正雅士黑 简"/>
                <a:ea charset="-122" panose="02000500000000000000" pitchFamily="2" typeface="方正雅士黑 简"/>
              </a:rPr>
              <a:t>PART    THREE</a:t>
            </a:r>
          </a:p>
        </p:txBody>
      </p:sp>
      <p:pic>
        <p:nvPicPr>
          <p:cNvPr id="37" name="图形 36">
            <a:extLst>
              <a:ext uri="{FF2B5EF4-FFF2-40B4-BE49-F238E27FC236}">
                <a16:creationId xmlns:a16="http://schemas.microsoft.com/office/drawing/2014/main" id="{1922C27C-412F-48EA-86A1-63AB411C8C2D}"/>
              </a:ext>
            </a:extLst>
          </p:cNvPr>
          <p:cNvPicPr>
            <a:picLocks noChangeAspect="1"/>
          </p:cNvPicPr>
          <p:nvPr/>
        </p:nvPicPr>
        <p:blipFill>
          <a:blip r:embed="rId8">
            <a:extLst>
              <a:ext uri="{96DAC541-7B7A-43D3-8B79-37D633B846F1}">
                <asvg:svgBlip xmlns:asvg="http://schemas.microsoft.com/office/drawing/2016/SVG/main" r:embed="rId9"/>
              </a:ext>
            </a:extLst>
          </a:blip>
          <a:srcRect b="22696" l="25200" r="27996" t="18077"/>
          <a:stretch>
            <a:fillRect/>
          </a:stretch>
        </p:blipFill>
        <p:spPr>
          <a:xfrm>
            <a:off x="5077152" y="1770899"/>
            <a:ext cx="1025136" cy="1297252"/>
          </a:xfrm>
          <a:custGeom>
            <a:rect b="b" l="l" r="r" t="t"/>
            <a:pathLst>
              <a:path h="1868444" w="1476514">
                <a:moveTo>
                  <a:pt x="750582" y="0"/>
                </a:moveTo>
                <a:cubicBezTo>
                  <a:pt x="872187" y="0"/>
                  <a:pt x="972018" y="14995"/>
                  <a:pt x="1050075" y="44986"/>
                </a:cubicBezTo>
                <a:cubicBezTo>
                  <a:pt x="1128132" y="74976"/>
                  <a:pt x="1191811" y="114005"/>
                  <a:pt x="1241110" y="162072"/>
                </a:cubicBezTo>
                <a:cubicBezTo>
                  <a:pt x="1290409" y="210138"/>
                  <a:pt x="1329233" y="260670"/>
                  <a:pt x="1357580" y="313667"/>
                </a:cubicBezTo>
                <a:cubicBezTo>
                  <a:pt x="1385927" y="366664"/>
                  <a:pt x="1408728" y="428493"/>
                  <a:pt x="1425982" y="499156"/>
                </a:cubicBezTo>
                <a:cubicBezTo>
                  <a:pt x="1459670" y="633907"/>
                  <a:pt x="1476514" y="774410"/>
                  <a:pt x="1476514" y="920665"/>
                </a:cubicBezTo>
                <a:cubicBezTo>
                  <a:pt x="1476514" y="1248505"/>
                  <a:pt x="1421053" y="1488429"/>
                  <a:pt x="1310129" y="1640435"/>
                </a:cubicBezTo>
                <a:cubicBezTo>
                  <a:pt x="1199206" y="1792441"/>
                  <a:pt x="1008171" y="1868444"/>
                  <a:pt x="737025" y="1868444"/>
                </a:cubicBezTo>
                <a:cubicBezTo>
                  <a:pt x="585018" y="1868444"/>
                  <a:pt x="462181" y="1844205"/>
                  <a:pt x="368512" y="1795728"/>
                </a:cubicBezTo>
                <a:cubicBezTo>
                  <a:pt x="274844" y="1747250"/>
                  <a:pt x="198019" y="1676177"/>
                  <a:pt x="138038" y="1582508"/>
                </a:cubicBezTo>
                <a:cubicBezTo>
                  <a:pt x="94490" y="1515954"/>
                  <a:pt x="60597" y="1424956"/>
                  <a:pt x="36358" y="1309513"/>
                </a:cubicBezTo>
                <a:cubicBezTo>
                  <a:pt x="12119" y="1194071"/>
                  <a:pt x="0" y="1066509"/>
                  <a:pt x="0" y="926827"/>
                </a:cubicBezTo>
                <a:cubicBezTo>
                  <a:pt x="0" y="583375"/>
                  <a:pt x="61829" y="343041"/>
                  <a:pt x="185488" y="205825"/>
                </a:cubicBezTo>
                <a:cubicBezTo>
                  <a:pt x="309148" y="68608"/>
                  <a:pt x="497512" y="0"/>
                  <a:pt x="750582" y="0"/>
                </a:cubicBezTo>
                <a:close/>
                <a:moveTo>
                  <a:pt x="733327" y="334003"/>
                </a:moveTo>
                <a:cubicBezTo>
                  <a:pt x="650340" y="334003"/>
                  <a:pt x="590359" y="376113"/>
                  <a:pt x="553385" y="460332"/>
                </a:cubicBezTo>
                <a:cubicBezTo>
                  <a:pt x="516410" y="544552"/>
                  <a:pt x="497923" y="700461"/>
                  <a:pt x="497923" y="928060"/>
                </a:cubicBezTo>
                <a:cubicBezTo>
                  <a:pt x="497923" y="1158123"/>
                  <a:pt x="518259" y="1315265"/>
                  <a:pt x="558931" y="1399485"/>
                </a:cubicBezTo>
                <a:cubicBezTo>
                  <a:pt x="599603" y="1483704"/>
                  <a:pt x="658556" y="1525814"/>
                  <a:pt x="735792" y="1525814"/>
                </a:cubicBezTo>
                <a:cubicBezTo>
                  <a:pt x="786735" y="1525814"/>
                  <a:pt x="830899" y="1507943"/>
                  <a:pt x="868284" y="1472201"/>
                </a:cubicBezTo>
                <a:cubicBezTo>
                  <a:pt x="905669" y="1436459"/>
                  <a:pt x="933195" y="1379970"/>
                  <a:pt x="950860" y="1302735"/>
                </a:cubicBezTo>
                <a:cubicBezTo>
                  <a:pt x="968526" y="1225499"/>
                  <a:pt x="977359" y="1105126"/>
                  <a:pt x="977359" y="941617"/>
                </a:cubicBezTo>
                <a:cubicBezTo>
                  <a:pt x="977359" y="701694"/>
                  <a:pt x="957023" y="540444"/>
                  <a:pt x="916351" y="457868"/>
                </a:cubicBezTo>
                <a:cubicBezTo>
                  <a:pt x="875679" y="375291"/>
                  <a:pt x="814671" y="334003"/>
                  <a:pt x="733327" y="334003"/>
                </a:cubicBezTo>
                <a:close/>
              </a:path>
            </a:pathLst>
          </a:custGeom>
        </p:spPr>
      </p:pic>
      <p:cxnSp>
        <p:nvCxnSpPr>
          <p:cNvPr id="41" name="直接连接符 40">
            <a:extLst>
              <a:ext uri="{FF2B5EF4-FFF2-40B4-BE49-F238E27FC236}">
                <a16:creationId xmlns:a16="http://schemas.microsoft.com/office/drawing/2014/main" id="{E636E03A-FE62-4C2C-A59C-E8FD958F8D13}"/>
              </a:ext>
            </a:extLst>
          </p:cNvPr>
          <p:cNvCxnSpPr/>
          <p:nvPr/>
        </p:nvCxnSpPr>
        <p:spPr>
          <a:xfrm>
            <a:off x="411695" y="2518913"/>
            <a:ext cx="983411" cy="0"/>
          </a:xfrm>
          <a:prstGeom prst="line">
            <a:avLst/>
          </a:prstGeom>
          <a:ln cap="rnd" w="38100">
            <a:solidFill>
              <a:schemeClr val="bg1"/>
            </a:solidFill>
            <a:round/>
          </a:ln>
        </p:spPr>
        <p:style>
          <a:lnRef idx="1">
            <a:schemeClr val="accent1"/>
          </a:lnRef>
          <a:fillRef idx="0">
            <a:schemeClr val="accent1"/>
          </a:fillRef>
          <a:effectRef idx="0">
            <a:schemeClr val="accent1"/>
          </a:effectRef>
          <a:fontRef idx="minor">
            <a:schemeClr val="tx1"/>
          </a:fontRef>
        </p:style>
      </p:cxnSp>
      <p:cxnSp>
        <p:nvCxnSpPr>
          <p:cNvPr id="42" name="直接连接符 41">
            <a:extLst>
              <a:ext uri="{FF2B5EF4-FFF2-40B4-BE49-F238E27FC236}">
                <a16:creationId xmlns:a16="http://schemas.microsoft.com/office/drawing/2014/main" id="{95F08B9C-16B6-4569-B702-38B1AF5AF488}"/>
              </a:ext>
            </a:extLst>
          </p:cNvPr>
          <p:cNvCxnSpPr/>
          <p:nvPr/>
        </p:nvCxnSpPr>
        <p:spPr>
          <a:xfrm>
            <a:off x="1101913" y="2271473"/>
            <a:ext cx="379561" cy="0"/>
          </a:xfrm>
          <a:prstGeom prst="line">
            <a:avLst/>
          </a:prstGeom>
          <a:ln cap="rnd" w="38100">
            <a:solidFill>
              <a:schemeClr val="bg1"/>
            </a:solidFill>
            <a:round/>
          </a:ln>
        </p:spPr>
        <p:style>
          <a:lnRef idx="1">
            <a:schemeClr val="accent1"/>
          </a:lnRef>
          <a:fillRef idx="0">
            <a:schemeClr val="accent1"/>
          </a:fillRef>
          <a:effectRef idx="0">
            <a:schemeClr val="accent1"/>
          </a:effectRef>
          <a:fontRef idx="minor">
            <a:schemeClr val="tx1"/>
          </a:fontRef>
        </p:style>
      </p:cxnSp>
      <p:pic>
        <p:nvPicPr>
          <p:cNvPr id="54" name="图形 53">
            <a:extLst>
              <a:ext uri="{FF2B5EF4-FFF2-40B4-BE49-F238E27FC236}">
                <a16:creationId xmlns:a16="http://schemas.microsoft.com/office/drawing/2014/main" id="{13D02E48-3DEE-4265-A5E9-DA6886F9CFD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30955" y="763694"/>
            <a:ext cx="268506" cy="268506"/>
          </a:xfrm>
          <a:prstGeom prst="rect">
            <a:avLst/>
          </a:prstGeom>
        </p:spPr>
      </p:pic>
      <p:pic>
        <p:nvPicPr>
          <p:cNvPr id="55" name="图形 54">
            <a:extLst>
              <a:ext uri="{FF2B5EF4-FFF2-40B4-BE49-F238E27FC236}">
                <a16:creationId xmlns:a16="http://schemas.microsoft.com/office/drawing/2014/main" id="{D8F8FC5F-39E0-413A-A0E1-834248523C3C}"/>
              </a:ext>
            </a:extLst>
          </p:cNvPr>
          <p:cNvPicPr>
            <a:picLocks noChangeAspect="1"/>
          </p:cNvPicPr>
          <p:nvPr/>
        </p:nvPicPr>
        <p:blipFill>
          <a:blip r:embed="rId10">
            <a:extLst>
              <a:ext uri="{96DAC541-7B7A-43D3-8B79-37D633B846F1}">
                <asvg:svgBlip xmlns:asvg="http://schemas.microsoft.com/office/drawing/2016/SVG/main" r:embed="rId12"/>
              </a:ext>
            </a:extLst>
          </a:blip>
          <a:stretch>
            <a:fillRect/>
          </a:stretch>
        </p:blipFill>
        <p:spPr>
          <a:xfrm>
            <a:off x="11086082" y="6011689"/>
            <a:ext cx="246232" cy="246232"/>
          </a:xfrm>
          <a:prstGeom prst="rect">
            <a:avLst/>
          </a:prstGeom>
        </p:spPr>
      </p:pic>
      <p:cxnSp>
        <p:nvCxnSpPr>
          <p:cNvPr id="56" name="直接连接符 55">
            <a:extLst>
              <a:ext uri="{FF2B5EF4-FFF2-40B4-BE49-F238E27FC236}">
                <a16:creationId xmlns:a16="http://schemas.microsoft.com/office/drawing/2014/main" id="{19633C08-5B20-4E2F-8F2E-815875B31679}"/>
              </a:ext>
            </a:extLst>
          </p:cNvPr>
          <p:cNvCxnSpPr/>
          <p:nvPr/>
        </p:nvCxnSpPr>
        <p:spPr>
          <a:xfrm>
            <a:off x="10736186" y="4572796"/>
            <a:ext cx="983411" cy="0"/>
          </a:xfrm>
          <a:prstGeom prst="line">
            <a:avLst/>
          </a:prstGeom>
          <a:ln cap="rnd" w="38100">
            <a:solidFill>
              <a:schemeClr val="bg1"/>
            </a:solidFill>
            <a:round/>
          </a:ln>
        </p:spPr>
        <p:style>
          <a:lnRef idx="1">
            <a:schemeClr val="accent1"/>
          </a:lnRef>
          <a:fillRef idx="0">
            <a:schemeClr val="accent1"/>
          </a:fillRef>
          <a:effectRef idx="0">
            <a:schemeClr val="accent1"/>
          </a:effectRef>
          <a:fontRef idx="minor">
            <a:schemeClr val="tx1"/>
          </a:fontRef>
        </p:style>
      </p:cxnSp>
      <p:cxnSp>
        <p:nvCxnSpPr>
          <p:cNvPr id="57" name="直接连接符 56">
            <a:extLst>
              <a:ext uri="{FF2B5EF4-FFF2-40B4-BE49-F238E27FC236}">
                <a16:creationId xmlns:a16="http://schemas.microsoft.com/office/drawing/2014/main" id="{E7261DA9-E5D1-475F-A769-B1177D9364B2}"/>
              </a:ext>
            </a:extLst>
          </p:cNvPr>
          <p:cNvCxnSpPr/>
          <p:nvPr/>
        </p:nvCxnSpPr>
        <p:spPr>
          <a:xfrm>
            <a:off x="11426404" y="4325356"/>
            <a:ext cx="379561" cy="0"/>
          </a:xfrm>
          <a:prstGeom prst="line">
            <a:avLst/>
          </a:prstGeom>
          <a:ln cap="rnd" w="38100">
            <a:solidFill>
              <a:schemeClr val="bg1"/>
            </a:solidFill>
            <a:round/>
          </a:ln>
        </p:spPr>
        <p:style>
          <a:lnRef idx="1">
            <a:schemeClr val="accent1"/>
          </a:lnRef>
          <a:fillRef idx="0">
            <a:schemeClr val="accent1"/>
          </a:fillRef>
          <a:effectRef idx="0">
            <a:schemeClr val="accent1"/>
          </a:effectRef>
          <a:fontRef idx="minor">
            <a:schemeClr val="tx1"/>
          </a:fontRef>
        </p:style>
      </p:cxnSp>
      <p:grpSp>
        <p:nvGrpSpPr>
          <p:cNvPr id="63" name="组合 62">
            <a:extLst>
              <a:ext uri="{FF2B5EF4-FFF2-40B4-BE49-F238E27FC236}">
                <a16:creationId xmlns:a16="http://schemas.microsoft.com/office/drawing/2014/main" id="{8AD69468-B53A-4849-A0EA-E60DD2D66E1D}"/>
              </a:ext>
            </a:extLst>
          </p:cNvPr>
          <p:cNvGrpSpPr/>
          <p:nvPr/>
        </p:nvGrpSpPr>
        <p:grpSpPr>
          <a:xfrm>
            <a:off x="4310626" y="1648268"/>
            <a:ext cx="758330" cy="1509396"/>
            <a:chOff x="4355021" y="1468708"/>
            <a:chExt cx="758330" cy="1509396"/>
          </a:xfrm>
        </p:grpSpPr>
        <p:sp>
          <p:nvSpPr>
            <p:cNvPr id="58" name="星形: 五角 57">
              <a:extLst>
                <a:ext uri="{FF2B5EF4-FFF2-40B4-BE49-F238E27FC236}">
                  <a16:creationId xmlns:a16="http://schemas.microsoft.com/office/drawing/2014/main" id="{954F6521-7C96-4022-A877-6F6F92D8C137}"/>
                </a:ext>
              </a:extLst>
            </p:cNvPr>
            <p:cNvSpPr/>
            <p:nvPr/>
          </p:nvSpPr>
          <p:spPr>
            <a:xfrm>
              <a:off x="4652433" y="2517186"/>
              <a:ext cx="460918" cy="460918"/>
            </a:xfrm>
            <a:prstGeom prst="star5">
              <a:avLst/>
            </a:prstGeom>
            <a:solidFill>
              <a:srgbClr val="FF626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60" name="星形: 五角 59">
              <a:extLst>
                <a:ext uri="{FF2B5EF4-FFF2-40B4-BE49-F238E27FC236}">
                  <a16:creationId xmlns:a16="http://schemas.microsoft.com/office/drawing/2014/main" id="{68CACEF3-4258-4B14-9C2B-D2CB02B9AC7E}"/>
                </a:ext>
              </a:extLst>
            </p:cNvPr>
            <p:cNvSpPr/>
            <p:nvPr/>
          </p:nvSpPr>
          <p:spPr>
            <a:xfrm>
              <a:off x="4355021" y="2208794"/>
              <a:ext cx="320445" cy="320445"/>
            </a:xfrm>
            <a:prstGeom prst="star5">
              <a:avLst/>
            </a:prstGeom>
            <a:solidFill>
              <a:srgbClr val="60A8A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61" name="星形: 五角 60">
              <a:extLst>
                <a:ext uri="{FF2B5EF4-FFF2-40B4-BE49-F238E27FC236}">
                  <a16:creationId xmlns:a16="http://schemas.microsoft.com/office/drawing/2014/main" id="{94563166-AC75-47DA-83AB-8F7760639102}"/>
                </a:ext>
              </a:extLst>
            </p:cNvPr>
            <p:cNvSpPr/>
            <p:nvPr/>
          </p:nvSpPr>
          <p:spPr>
            <a:xfrm>
              <a:off x="4431095" y="1794975"/>
              <a:ext cx="228299" cy="228299"/>
            </a:xfrm>
            <a:prstGeom prst="star5">
              <a:avLst/>
            </a:prstGeom>
            <a:solidFill>
              <a:srgbClr val="FFC73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62" name="星形: 五角 61">
              <a:extLst>
                <a:ext uri="{FF2B5EF4-FFF2-40B4-BE49-F238E27FC236}">
                  <a16:creationId xmlns:a16="http://schemas.microsoft.com/office/drawing/2014/main" id="{08C48CBA-C2D1-46B1-9CC5-8F9D9CD271DD}"/>
                </a:ext>
              </a:extLst>
            </p:cNvPr>
            <p:cNvSpPr/>
            <p:nvPr/>
          </p:nvSpPr>
          <p:spPr>
            <a:xfrm>
              <a:off x="4771591" y="1468708"/>
              <a:ext cx="160111" cy="160111"/>
            </a:xfrm>
            <a:prstGeom prst="star5">
              <a:avLst/>
            </a:prstGeom>
            <a:solidFill>
              <a:srgbClr val="00456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grpSp>
      <p:grpSp>
        <p:nvGrpSpPr>
          <p:cNvPr id="75" name="组合 74">
            <a:extLst>
              <a:ext uri="{FF2B5EF4-FFF2-40B4-BE49-F238E27FC236}">
                <a16:creationId xmlns:a16="http://schemas.microsoft.com/office/drawing/2014/main" id="{733A3385-D462-478D-A653-6745B30FBDE3}"/>
              </a:ext>
            </a:extLst>
          </p:cNvPr>
          <p:cNvGrpSpPr/>
          <p:nvPr/>
        </p:nvGrpSpPr>
        <p:grpSpPr>
          <a:xfrm flipH="1">
            <a:off x="7123046" y="1648268"/>
            <a:ext cx="758330" cy="1509396"/>
            <a:chOff x="4355021" y="1468708"/>
            <a:chExt cx="758330" cy="1509396"/>
          </a:xfrm>
        </p:grpSpPr>
        <p:sp>
          <p:nvSpPr>
            <p:cNvPr id="76" name="星形: 五角 75">
              <a:extLst>
                <a:ext uri="{FF2B5EF4-FFF2-40B4-BE49-F238E27FC236}">
                  <a16:creationId xmlns:a16="http://schemas.microsoft.com/office/drawing/2014/main" id="{2D1F972A-604C-4581-9AE8-0CD88F41C244}"/>
                </a:ext>
              </a:extLst>
            </p:cNvPr>
            <p:cNvSpPr/>
            <p:nvPr/>
          </p:nvSpPr>
          <p:spPr>
            <a:xfrm>
              <a:off x="4652433" y="2517186"/>
              <a:ext cx="460918" cy="460918"/>
            </a:xfrm>
            <a:prstGeom prst="star5">
              <a:avLst/>
            </a:prstGeom>
            <a:solidFill>
              <a:srgbClr val="FF626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77" name="星形: 五角 76">
              <a:extLst>
                <a:ext uri="{FF2B5EF4-FFF2-40B4-BE49-F238E27FC236}">
                  <a16:creationId xmlns:a16="http://schemas.microsoft.com/office/drawing/2014/main" id="{1E62B4AF-C5E3-4C40-9B39-B6B2CC30AB7D}"/>
                </a:ext>
              </a:extLst>
            </p:cNvPr>
            <p:cNvSpPr/>
            <p:nvPr/>
          </p:nvSpPr>
          <p:spPr>
            <a:xfrm>
              <a:off x="4355021" y="2208794"/>
              <a:ext cx="320445" cy="320445"/>
            </a:xfrm>
            <a:prstGeom prst="star5">
              <a:avLst/>
            </a:prstGeom>
            <a:solidFill>
              <a:srgbClr val="60A8A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78" name="星形: 五角 77">
              <a:extLst>
                <a:ext uri="{FF2B5EF4-FFF2-40B4-BE49-F238E27FC236}">
                  <a16:creationId xmlns:a16="http://schemas.microsoft.com/office/drawing/2014/main" id="{96ACDF28-8D51-4EAA-BCA8-C9B791D850D7}"/>
                </a:ext>
              </a:extLst>
            </p:cNvPr>
            <p:cNvSpPr/>
            <p:nvPr/>
          </p:nvSpPr>
          <p:spPr>
            <a:xfrm>
              <a:off x="4431095" y="1794975"/>
              <a:ext cx="228299" cy="228299"/>
            </a:xfrm>
            <a:prstGeom prst="star5">
              <a:avLst/>
            </a:prstGeom>
            <a:solidFill>
              <a:srgbClr val="FFC73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79" name="星形: 五角 78">
              <a:extLst>
                <a:ext uri="{FF2B5EF4-FFF2-40B4-BE49-F238E27FC236}">
                  <a16:creationId xmlns:a16="http://schemas.microsoft.com/office/drawing/2014/main" id="{3B7B9B4F-2F72-4E18-8E56-918C8D8A059E}"/>
                </a:ext>
              </a:extLst>
            </p:cNvPr>
            <p:cNvSpPr/>
            <p:nvPr/>
          </p:nvSpPr>
          <p:spPr>
            <a:xfrm>
              <a:off x="4771591" y="1468708"/>
              <a:ext cx="160111" cy="160111"/>
            </a:xfrm>
            <a:prstGeom prst="star5">
              <a:avLst/>
            </a:prstGeom>
            <a:solidFill>
              <a:srgbClr val="00456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grpSp>
      <p:pic>
        <p:nvPicPr>
          <p:cNvPr id="31" name="图形 30">
            <a:extLst>
              <a:ext uri="{FF2B5EF4-FFF2-40B4-BE49-F238E27FC236}">
                <a16:creationId xmlns:a16="http://schemas.microsoft.com/office/drawing/2014/main" id="{8E7C9A55-0AF8-4BE9-B7A9-619101AA8B55}"/>
              </a:ext>
            </a:extLst>
          </p:cNvPr>
          <p:cNvPicPr>
            <a:picLocks noChangeAspect="1"/>
          </p:cNvPicPr>
          <p:nvPr/>
        </p:nvPicPr>
        <p:blipFill>
          <a:blip r:embed="rId13">
            <a:extLst>
              <a:ext uri="{96DAC541-7B7A-43D3-8B79-37D633B846F1}">
                <asvg:svgBlip xmlns:asvg="http://schemas.microsoft.com/office/drawing/2016/SVG/main" r:embed="rId14"/>
              </a:ext>
            </a:extLst>
          </a:blip>
          <a:srcRect b="5670" l="19172" r="22017" t="1040"/>
          <a:stretch>
            <a:fillRect/>
          </a:stretch>
        </p:blipFill>
        <p:spPr>
          <a:xfrm>
            <a:off x="6114898" y="1770900"/>
            <a:ext cx="1008148" cy="1326536"/>
          </a:xfrm>
          <a:custGeom>
            <a:rect b="b" l="l" r="r" t="t"/>
            <a:pathLst>
              <a:path h="1297335" w="1036327">
                <a:moveTo>
                  <a:pt x="507467" y="0"/>
                </a:moveTo>
                <a:cubicBezTo>
                  <a:pt x="671202" y="0"/>
                  <a:pt x="789583" y="30522"/>
                  <a:pt x="862608" y="91567"/>
                </a:cubicBezTo>
                <a:cubicBezTo>
                  <a:pt x="935633" y="152611"/>
                  <a:pt x="972145" y="229345"/>
                  <a:pt x="972145" y="321767"/>
                </a:cubicBezTo>
                <a:cubicBezTo>
                  <a:pt x="972145" y="375965"/>
                  <a:pt x="957312" y="425029"/>
                  <a:pt x="927646" y="468958"/>
                </a:cubicBezTo>
                <a:cubicBezTo>
                  <a:pt x="897979" y="512887"/>
                  <a:pt x="853194" y="551396"/>
                  <a:pt x="793291" y="584486"/>
                </a:cubicBezTo>
                <a:cubicBezTo>
                  <a:pt x="841784" y="596466"/>
                  <a:pt x="878867" y="610444"/>
                  <a:pt x="904540" y="626418"/>
                </a:cubicBezTo>
                <a:cubicBezTo>
                  <a:pt x="946187" y="652091"/>
                  <a:pt x="978564" y="685894"/>
                  <a:pt x="1001669" y="727826"/>
                </a:cubicBezTo>
                <a:cubicBezTo>
                  <a:pt x="1024775" y="769758"/>
                  <a:pt x="1036328" y="819820"/>
                  <a:pt x="1036328" y="878012"/>
                </a:cubicBezTo>
                <a:cubicBezTo>
                  <a:pt x="1036328" y="951037"/>
                  <a:pt x="1017215" y="1021067"/>
                  <a:pt x="978991" y="1088102"/>
                </a:cubicBezTo>
                <a:cubicBezTo>
                  <a:pt x="940767" y="1155136"/>
                  <a:pt x="885713" y="1206767"/>
                  <a:pt x="813829" y="1242994"/>
                </a:cubicBezTo>
                <a:cubicBezTo>
                  <a:pt x="741945" y="1279222"/>
                  <a:pt x="647526" y="1297335"/>
                  <a:pt x="530572" y="1297335"/>
                </a:cubicBezTo>
                <a:cubicBezTo>
                  <a:pt x="416471" y="1297335"/>
                  <a:pt x="326473" y="1283928"/>
                  <a:pt x="260580" y="1257114"/>
                </a:cubicBezTo>
                <a:cubicBezTo>
                  <a:pt x="194686" y="1230301"/>
                  <a:pt x="140488" y="1191078"/>
                  <a:pt x="97985" y="1139447"/>
                </a:cubicBezTo>
                <a:cubicBezTo>
                  <a:pt x="55482" y="1087816"/>
                  <a:pt x="22820" y="1022921"/>
                  <a:pt x="0" y="944761"/>
                </a:cubicBezTo>
                <a:lnTo>
                  <a:pt x="348295" y="898550"/>
                </a:lnTo>
                <a:cubicBezTo>
                  <a:pt x="361987" y="968723"/>
                  <a:pt x="383239" y="1017359"/>
                  <a:pt x="412049" y="1044458"/>
                </a:cubicBezTo>
                <a:cubicBezTo>
                  <a:pt x="440860" y="1071557"/>
                  <a:pt x="477515" y="1085106"/>
                  <a:pt x="522015" y="1085106"/>
                </a:cubicBezTo>
                <a:cubicBezTo>
                  <a:pt x="568796" y="1085106"/>
                  <a:pt x="607734" y="1067991"/>
                  <a:pt x="638826" y="1033761"/>
                </a:cubicBezTo>
                <a:cubicBezTo>
                  <a:pt x="669919" y="999530"/>
                  <a:pt x="685465" y="953890"/>
                  <a:pt x="685465" y="896839"/>
                </a:cubicBezTo>
                <a:cubicBezTo>
                  <a:pt x="685465" y="838647"/>
                  <a:pt x="670489" y="793577"/>
                  <a:pt x="640538" y="761628"/>
                </a:cubicBezTo>
                <a:cubicBezTo>
                  <a:pt x="610586" y="729680"/>
                  <a:pt x="569937" y="713706"/>
                  <a:pt x="518592" y="713706"/>
                </a:cubicBezTo>
                <a:cubicBezTo>
                  <a:pt x="491207" y="713706"/>
                  <a:pt x="453554" y="720552"/>
                  <a:pt x="405631" y="734244"/>
                </a:cubicBezTo>
                <a:lnTo>
                  <a:pt x="423602" y="485217"/>
                </a:lnTo>
                <a:cubicBezTo>
                  <a:pt x="442999" y="488070"/>
                  <a:pt x="458118" y="489496"/>
                  <a:pt x="468957" y="489496"/>
                </a:cubicBezTo>
                <a:cubicBezTo>
                  <a:pt x="514598" y="489496"/>
                  <a:pt x="552679" y="474948"/>
                  <a:pt x="583202" y="445852"/>
                </a:cubicBezTo>
                <a:cubicBezTo>
                  <a:pt x="613724" y="416756"/>
                  <a:pt x="628985" y="382241"/>
                  <a:pt x="628985" y="342305"/>
                </a:cubicBezTo>
                <a:cubicBezTo>
                  <a:pt x="628985" y="304081"/>
                  <a:pt x="617575" y="273559"/>
                  <a:pt x="594754" y="250739"/>
                </a:cubicBezTo>
                <a:cubicBezTo>
                  <a:pt x="571934" y="227918"/>
                  <a:pt x="540556" y="216508"/>
                  <a:pt x="500621" y="216508"/>
                </a:cubicBezTo>
                <a:cubicBezTo>
                  <a:pt x="459544" y="216508"/>
                  <a:pt x="426169" y="228917"/>
                  <a:pt x="400497" y="253734"/>
                </a:cubicBezTo>
                <a:cubicBezTo>
                  <a:pt x="374824" y="278551"/>
                  <a:pt x="357423" y="322052"/>
                  <a:pt x="348295" y="384237"/>
                </a:cubicBezTo>
                <a:lnTo>
                  <a:pt x="18827" y="325190"/>
                </a:lnTo>
                <a:cubicBezTo>
                  <a:pt x="46211" y="220216"/>
                  <a:pt x="98841" y="139775"/>
                  <a:pt x="176715" y="83865"/>
                </a:cubicBezTo>
                <a:cubicBezTo>
                  <a:pt x="254589" y="27955"/>
                  <a:pt x="364840" y="0"/>
                  <a:pt x="507467" y="0"/>
                </a:cubicBezTo>
                <a:close/>
              </a:path>
            </a:pathLst>
          </a:custGeom>
        </p:spPr>
      </p:pic>
    </p:spTree>
    <p:extLst>
      <p:ext uri="{BB962C8B-B14F-4D97-AF65-F5344CB8AC3E}">
        <p14:creationId val="2992289693"/>
      </p:ext>
    </p:extLst>
  </p:cSld>
  <p:clrMapOvr>
    <a:masterClrMapping/>
  </p:clrMapOvr>
  <mc:AlternateContent>
    <mc:Choice Requires="p14">
      <p:transition p14:dur="1500" spd="slow">
        <p:random/>
      </p:transition>
    </mc:Choice>
    <mc:Fallback>
      <p:transition spd="slow">
        <p:random/>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id="5" nodeType="withEffect" presetClass="entr" presetID="2" presetSubtype="9">
                                  <p:stCondLst>
                                    <p:cond delay="0"/>
                                  </p:stCondLst>
                                  <p:childTnLst>
                                    <p:set>
                                      <p:cBhvr>
                                        <p:cTn dur="1" fill="hold" id="6">
                                          <p:stCondLst>
                                            <p:cond delay="0"/>
                                          </p:stCondLst>
                                        </p:cTn>
                                        <p:tgtEl>
                                          <p:spTgt spid="37"/>
                                        </p:tgtEl>
                                        <p:attrNameLst>
                                          <p:attrName>style.visibility</p:attrName>
                                        </p:attrNameLst>
                                      </p:cBhvr>
                                      <p:to>
                                        <p:strVal val="visible"/>
                                      </p:to>
                                    </p:set>
                                    <p:anim calcmode="lin" valueType="num">
                                      <p:cBhvr additive="base">
                                        <p:cTn dur="1250" fill="hold" id="7"/>
                                        <p:tgtEl>
                                          <p:spTgt spid="37"/>
                                        </p:tgtEl>
                                        <p:attrNameLst>
                                          <p:attrName>ppt_x</p:attrName>
                                        </p:attrNameLst>
                                      </p:cBhvr>
                                      <p:tavLst>
                                        <p:tav tm="0">
                                          <p:val>
                                            <p:strVal val="0-#ppt_w/2"/>
                                          </p:val>
                                        </p:tav>
                                        <p:tav tm="100000">
                                          <p:val>
                                            <p:strVal val="#ppt_x"/>
                                          </p:val>
                                        </p:tav>
                                      </p:tavLst>
                                    </p:anim>
                                    <p:anim calcmode="lin" valueType="num">
                                      <p:cBhvr additive="base">
                                        <p:cTn dur="1250" fill="hold" id="8"/>
                                        <p:tgtEl>
                                          <p:spTgt spid="37"/>
                                        </p:tgtEl>
                                        <p:attrNameLst>
                                          <p:attrName>ppt_y</p:attrName>
                                        </p:attrNameLst>
                                      </p:cBhvr>
                                      <p:tavLst>
                                        <p:tav tm="0">
                                          <p:val>
                                            <p:strVal val="0-#ppt_h/2"/>
                                          </p:val>
                                        </p:tav>
                                        <p:tav tm="100000">
                                          <p:val>
                                            <p:strVal val="#ppt_y"/>
                                          </p:val>
                                        </p:tav>
                                      </p:tavLst>
                                    </p:anim>
                                  </p:childTnLst>
                                </p:cTn>
                              </p:par>
                              <p:par>
                                <p:cTn fill="hold" id="9" nodeType="withEffect" presetClass="entr" presetID="2" presetSubtype="3">
                                  <p:stCondLst>
                                    <p:cond delay="0"/>
                                  </p:stCondLst>
                                  <p:childTnLst>
                                    <p:set>
                                      <p:cBhvr>
                                        <p:cTn dur="1" fill="hold" id="10">
                                          <p:stCondLst>
                                            <p:cond delay="0"/>
                                          </p:stCondLst>
                                        </p:cTn>
                                        <p:tgtEl>
                                          <p:spTgt spid="31"/>
                                        </p:tgtEl>
                                        <p:attrNameLst>
                                          <p:attrName>style.visibility</p:attrName>
                                        </p:attrNameLst>
                                      </p:cBhvr>
                                      <p:to>
                                        <p:strVal val="visible"/>
                                      </p:to>
                                    </p:set>
                                    <p:anim calcmode="lin" valueType="num">
                                      <p:cBhvr additive="base">
                                        <p:cTn dur="1250" fill="hold" id="11"/>
                                        <p:tgtEl>
                                          <p:spTgt spid="31"/>
                                        </p:tgtEl>
                                        <p:attrNameLst>
                                          <p:attrName>ppt_x</p:attrName>
                                        </p:attrNameLst>
                                      </p:cBhvr>
                                      <p:tavLst>
                                        <p:tav tm="0">
                                          <p:val>
                                            <p:strVal val="1+#ppt_w/2"/>
                                          </p:val>
                                        </p:tav>
                                        <p:tav tm="100000">
                                          <p:val>
                                            <p:strVal val="#ppt_x"/>
                                          </p:val>
                                        </p:tav>
                                      </p:tavLst>
                                    </p:anim>
                                    <p:anim calcmode="lin" valueType="num">
                                      <p:cBhvr additive="base">
                                        <p:cTn dur="1250" fill="hold" id="12"/>
                                        <p:tgtEl>
                                          <p:spTgt spid="31"/>
                                        </p:tgtEl>
                                        <p:attrNameLst>
                                          <p:attrName>ppt_y</p:attrName>
                                        </p:attrNameLst>
                                      </p:cBhvr>
                                      <p:tavLst>
                                        <p:tav tm="0">
                                          <p:val>
                                            <p:strVal val="0-#ppt_h/2"/>
                                          </p:val>
                                        </p:tav>
                                        <p:tav tm="100000">
                                          <p:val>
                                            <p:strVal val="#ppt_y"/>
                                          </p:val>
                                        </p:tav>
                                      </p:tavLst>
                                    </p:anim>
                                  </p:childTnLst>
                                </p:cTn>
                              </p:par>
                            </p:childTnLst>
                          </p:cTn>
                        </p:par>
                        <p:par>
                          <p:cTn fill="hold" id="13" nodeType="afterGroup">
                            <p:stCondLst>
                              <p:cond delay="1250"/>
                            </p:stCondLst>
                            <p:childTnLst>
                              <p:par>
                                <p:cTn fill="hold" id="14" nodeType="afterEffect" presetClass="entr" presetID="22" presetSubtype="4">
                                  <p:stCondLst>
                                    <p:cond delay="0"/>
                                  </p:stCondLst>
                                  <p:childTnLst>
                                    <p:set>
                                      <p:cBhvr>
                                        <p:cTn dur="1" fill="hold" id="15">
                                          <p:stCondLst>
                                            <p:cond delay="0"/>
                                          </p:stCondLst>
                                        </p:cTn>
                                        <p:tgtEl>
                                          <p:spTgt spid="63"/>
                                        </p:tgtEl>
                                        <p:attrNameLst>
                                          <p:attrName>style.visibility</p:attrName>
                                        </p:attrNameLst>
                                      </p:cBhvr>
                                      <p:to>
                                        <p:strVal val="visible"/>
                                      </p:to>
                                    </p:set>
                                    <p:animEffect filter="wipe(down)" transition="in">
                                      <p:cBhvr>
                                        <p:cTn dur="500" id="16"/>
                                        <p:tgtEl>
                                          <p:spTgt spid="63"/>
                                        </p:tgtEl>
                                      </p:cBhvr>
                                    </p:animEffect>
                                  </p:childTnLst>
                                </p:cTn>
                              </p:par>
                              <p:par>
                                <p:cTn fill="hold" id="17" nodeType="withEffect" presetClass="entr" presetID="22" presetSubtype="4">
                                  <p:stCondLst>
                                    <p:cond delay="0"/>
                                  </p:stCondLst>
                                  <p:childTnLst>
                                    <p:set>
                                      <p:cBhvr>
                                        <p:cTn dur="1" fill="hold" id="18">
                                          <p:stCondLst>
                                            <p:cond delay="0"/>
                                          </p:stCondLst>
                                        </p:cTn>
                                        <p:tgtEl>
                                          <p:spTgt spid="75"/>
                                        </p:tgtEl>
                                        <p:attrNameLst>
                                          <p:attrName>style.visibility</p:attrName>
                                        </p:attrNameLst>
                                      </p:cBhvr>
                                      <p:to>
                                        <p:strVal val="visible"/>
                                      </p:to>
                                    </p:set>
                                    <p:animEffect filter="wipe(down)" transition="in">
                                      <p:cBhvr>
                                        <p:cTn dur="500" id="19"/>
                                        <p:tgtEl>
                                          <p:spTgt spid="75"/>
                                        </p:tgtEl>
                                      </p:cBhvr>
                                    </p:animEffect>
                                  </p:childTnLst>
                                </p:cTn>
                              </p:par>
                            </p:childTnLst>
                          </p:cTn>
                        </p:par>
                        <p:par>
                          <p:cTn fill="hold" id="20" nodeType="afterGroup">
                            <p:stCondLst>
                              <p:cond delay="1750"/>
                            </p:stCondLst>
                            <p:childTnLst>
                              <p:par>
                                <p:cTn fill="hold" grpId="0" id="21" nodeType="afterEffect" presetClass="entr" presetID="56" presetSubtype="0">
                                  <p:stCondLst>
                                    <p:cond delay="0"/>
                                  </p:stCondLst>
                                  <p:iterate type="lt">
                                    <p:tmPct val="13333"/>
                                  </p:iterate>
                                  <p:childTnLst>
                                    <p:set>
                                      <p:cBhvr>
                                        <p:cTn dur="1" fill="hold" id="22">
                                          <p:stCondLst>
                                            <p:cond delay="0"/>
                                          </p:stCondLst>
                                        </p:cTn>
                                        <p:tgtEl>
                                          <p:spTgt spid="14"/>
                                        </p:tgtEl>
                                        <p:attrNameLst>
                                          <p:attrName>style.visibility</p:attrName>
                                        </p:attrNameLst>
                                      </p:cBhvr>
                                      <p:to>
                                        <p:strVal val="visible"/>
                                      </p:to>
                                    </p:set>
                                    <p:anim by="(-#ppt_w*2)" calcmode="lin" valueType="num">
                                      <p:cBhvr rctx="PPT">
                                        <p:cTn autoRev="1" dur="375" fill="hold" id="23">
                                          <p:stCondLst>
                                            <p:cond delay="0"/>
                                          </p:stCondLst>
                                        </p:cTn>
                                        <p:tgtEl>
                                          <p:spTgt spid="14"/>
                                        </p:tgtEl>
                                        <p:attrNameLst>
                                          <p:attrName>ppt_w</p:attrName>
                                        </p:attrNameLst>
                                      </p:cBhvr>
                                    </p:anim>
                                    <p:anim by="(#ppt_w*0.50)" calcmode="lin" valueType="num">
                                      <p:cBhvr>
                                        <p:cTn autoRev="1" decel="50000" dur="375" fill="hold" id="24">
                                          <p:stCondLst>
                                            <p:cond delay="0"/>
                                          </p:stCondLst>
                                        </p:cTn>
                                        <p:tgtEl>
                                          <p:spTgt spid="14"/>
                                        </p:tgtEl>
                                        <p:attrNameLst>
                                          <p:attrName>ppt_x</p:attrName>
                                        </p:attrNameLst>
                                      </p:cBhvr>
                                    </p:anim>
                                    <p:anim calcmode="lin" from="(-#ppt_h/2)" to="(#ppt_y)" valueType="num">
                                      <p:cBhvr>
                                        <p:cTn dur="750" fill="hold" id="25">
                                          <p:stCondLst>
                                            <p:cond delay="0"/>
                                          </p:stCondLst>
                                        </p:cTn>
                                        <p:tgtEl>
                                          <p:spTgt spid="14"/>
                                        </p:tgtEl>
                                        <p:attrNameLst>
                                          <p:attrName>ppt_y</p:attrName>
                                        </p:attrNameLst>
                                      </p:cBhvr>
                                    </p:anim>
                                    <p:animRot by="21600000">
                                      <p:cBhvr>
                                        <p:cTn dur="750" fill="hold" id="26">
                                          <p:stCondLst>
                                            <p:cond delay="0"/>
                                          </p:stCondLst>
                                        </p:cTn>
                                        <p:tgtEl>
                                          <p:spTgt spid="14"/>
                                        </p:tgtEl>
                                        <p:attrNameLst>
                                          <p:attrName>r</p:attrName>
                                        </p:attrNameLst>
                                      </p:cBhvr>
                                    </p:animRot>
                                  </p:childTnLst>
                                </p:cTn>
                              </p:par>
                            </p:childTnLst>
                          </p:cTn>
                        </p:par>
                        <p:par>
                          <p:cTn fill="hold" id="27" nodeType="afterGroup">
                            <p:stCondLst>
                              <p:cond delay="2500"/>
                            </p:stCondLst>
                            <p:childTnLst>
                              <p:par>
                                <p:cTn fill="hold" grpId="1" id="28" nodeType="afterEffect" presetClass="emph" presetID="26" presetSubtype="0">
                                  <p:stCondLst>
                                    <p:cond delay="0"/>
                                  </p:stCondLst>
                                  <p:iterate type="lt">
                                    <p:tmPct val="10000"/>
                                  </p:iterate>
                                  <p:childTnLst>
                                    <p:animEffect filter="fade" transition="out">
                                      <p:cBhvr>
                                        <p:cTn dur="500" id="29" tmFilter="0, 0; .2, .5; .8, .5; 1, 0"/>
                                        <p:tgtEl>
                                          <p:spTgt spid="14"/>
                                        </p:tgtEl>
                                      </p:cBhvr>
                                    </p:animEffect>
                                    <p:animScale>
                                      <p:cBhvr>
                                        <p:cTn autoRev="1" dur="250" fill="hold" id="30"/>
                                        <p:tgtEl>
                                          <p:spTgt spid="14"/>
                                        </p:tgtEl>
                                      </p:cBhvr>
                                      <p:by x="105000" y="105000"/>
                                    </p:animScale>
                                  </p:childTnLst>
                                </p:cTn>
                              </p:par>
                            </p:childTnLst>
                          </p:cTn>
                        </p:par>
                        <p:par>
                          <p:cTn fill="hold" id="31" nodeType="afterGroup">
                            <p:stCondLst>
                              <p:cond delay="3000"/>
                            </p:stCondLst>
                            <p:childTnLst>
                              <p:par>
                                <p:cTn fill="hold" id="32" nodeType="afterEffect" presetClass="entr" presetID="16" presetSubtype="21">
                                  <p:stCondLst>
                                    <p:cond delay="0"/>
                                  </p:stCondLst>
                                  <p:childTnLst>
                                    <p:set>
                                      <p:cBhvr>
                                        <p:cTn dur="1" fill="hold" id="33">
                                          <p:stCondLst>
                                            <p:cond delay="0"/>
                                          </p:stCondLst>
                                        </p:cTn>
                                        <p:tgtEl>
                                          <p:spTgt spid="2"/>
                                        </p:tgtEl>
                                        <p:attrNameLst>
                                          <p:attrName>style.visibility</p:attrName>
                                        </p:attrNameLst>
                                      </p:cBhvr>
                                      <p:to>
                                        <p:strVal val="visible"/>
                                      </p:to>
                                    </p:set>
                                    <p:animEffect filter="barn(inVertical)" transition="in">
                                      <p:cBhvr>
                                        <p:cTn dur="500" id="34"/>
                                        <p:tgtEl>
                                          <p:spTgt spid="2"/>
                                        </p:tgtEl>
                                      </p:cBhvr>
                                    </p:animEffect>
                                  </p:childTnLst>
                                </p:cTn>
                              </p:par>
                              <p:par>
                                <p:cTn fill="hold" grpId="0" id="35" nodeType="withEffect" presetClass="entr" presetID="16" presetSubtype="37">
                                  <p:stCondLst>
                                    <p:cond delay="0"/>
                                  </p:stCondLst>
                                  <p:childTnLst>
                                    <p:set>
                                      <p:cBhvr>
                                        <p:cTn dur="1" fill="hold" id="36">
                                          <p:stCondLst>
                                            <p:cond delay="0"/>
                                          </p:stCondLst>
                                        </p:cTn>
                                        <p:tgtEl>
                                          <p:spTgt spid="17"/>
                                        </p:tgtEl>
                                        <p:attrNameLst>
                                          <p:attrName>style.visibility</p:attrName>
                                        </p:attrNameLst>
                                      </p:cBhvr>
                                      <p:to>
                                        <p:strVal val="visible"/>
                                      </p:to>
                                    </p:set>
                                    <p:animEffect filter="barn(outVertical)" transition="in">
                                      <p:cBhvr>
                                        <p:cTn dur="500" id="37"/>
                                        <p:tgtEl>
                                          <p:spTgt spid="17"/>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14"/>
      <p:bldP grpId="1" spid="14"/>
      <p:bldP grpId="0" spid="17"/>
    </p:bldLst>
  </p:timing>
</p:sld>
</file>

<file path=ppt/slides/slide15.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7" name="椭圆 6">
            <a:extLst>
              <a:ext uri="{FF2B5EF4-FFF2-40B4-BE49-F238E27FC236}">
                <a16:creationId xmlns:a16="http://schemas.microsoft.com/office/drawing/2014/main" id="{97F35CCF-B1AD-40AD-9D77-E1886CA3C847}"/>
              </a:ext>
            </a:extLst>
          </p:cNvPr>
          <p:cNvSpPr/>
          <p:nvPr/>
        </p:nvSpPr>
        <p:spPr>
          <a:xfrm>
            <a:off x="11325281" y="5957455"/>
            <a:ext cx="1193212" cy="1193212"/>
          </a:xfrm>
          <a:prstGeom prst="ellipse">
            <a:avLst/>
          </a:prstGeom>
          <a:solidFill>
            <a:srgbClr val="A0CBD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10" name="文本框 9">
            <a:extLst>
              <a:ext uri="{FF2B5EF4-FFF2-40B4-BE49-F238E27FC236}">
                <a16:creationId xmlns:a16="http://schemas.microsoft.com/office/drawing/2014/main" id="{3EF1E9ED-80AB-4909-8BA5-A43F4FCE2334}"/>
              </a:ext>
            </a:extLst>
          </p:cNvPr>
          <p:cNvSpPr txBox="1"/>
          <p:nvPr/>
        </p:nvSpPr>
        <p:spPr>
          <a:xfrm>
            <a:off x="4133850" y="390618"/>
            <a:ext cx="3924300" cy="640080"/>
          </a:xfrm>
          <a:prstGeom prst="rect">
            <a:avLst/>
          </a:prstGeom>
          <a:noFill/>
        </p:spPr>
        <p:txBody>
          <a:bodyPr rtlCol="0" wrap="square">
            <a:spAutoFit/>
          </a:bodyPr>
          <a:lstStyle/>
          <a:p>
            <a:pPr algn="ctr"/>
            <a:r>
              <a:rPr altLang="en-US" lang="zh-CN" sz="3600">
                <a:solidFill>
                  <a:schemeClr val="tx1">
                    <a:lumMod val="85000"/>
                    <a:lumOff val="15000"/>
                  </a:schemeClr>
                </a:solidFill>
                <a:latin charset="-122" panose="02000500000000000000" pitchFamily="2" typeface="方正雅士黑 简"/>
                <a:ea charset="-122" panose="02000500000000000000" pitchFamily="2" typeface="方正雅士黑 简"/>
              </a:rPr>
              <a:t>工作经验总结</a:t>
            </a:r>
          </a:p>
        </p:txBody>
      </p:sp>
      <p:cxnSp>
        <p:nvCxnSpPr>
          <p:cNvPr id="13" name="直接连接符 12">
            <a:extLst>
              <a:ext uri="{FF2B5EF4-FFF2-40B4-BE49-F238E27FC236}">
                <a16:creationId xmlns:a16="http://schemas.microsoft.com/office/drawing/2014/main" id="{63C006F1-C17E-4B5D-A667-14B1AFD009FE}"/>
              </a:ext>
            </a:extLst>
          </p:cNvPr>
          <p:cNvCxnSpPr/>
          <p:nvPr/>
        </p:nvCxnSpPr>
        <p:spPr>
          <a:xfrm>
            <a:off x="7791452" y="683005"/>
            <a:ext cx="571498" cy="0"/>
          </a:xfrm>
          <a:prstGeom prst="line">
            <a:avLst/>
          </a:prstGeom>
          <a:ln cap="rnd" w="19050">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pic>
        <p:nvPicPr>
          <p:cNvPr id="15" name="图形 14">
            <a:extLst>
              <a:ext uri="{FF2B5EF4-FFF2-40B4-BE49-F238E27FC236}">
                <a16:creationId xmlns:a16="http://schemas.microsoft.com/office/drawing/2014/main" id="{D0B6809A-9193-440B-AB59-9B5857A764E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314825" y="597280"/>
            <a:ext cx="171450" cy="171450"/>
          </a:xfrm>
          <a:prstGeom prst="rect">
            <a:avLst/>
          </a:prstGeom>
        </p:spPr>
      </p:pic>
      <p:pic>
        <p:nvPicPr>
          <p:cNvPr id="16" name="图形 15">
            <a:extLst>
              <a:ext uri="{FF2B5EF4-FFF2-40B4-BE49-F238E27FC236}">
                <a16:creationId xmlns:a16="http://schemas.microsoft.com/office/drawing/2014/main" id="{1508760C-4270-4AAF-AD1C-A51CD87667C3}"/>
              </a:ext>
            </a:extLst>
          </p:cNvPr>
          <p:cNvPicPr>
            <a:picLocks noChangeAspect="1"/>
          </p:cNvPicPr>
          <p:nvPr/>
        </p:nvPicPr>
        <p:blipFill>
          <a:blip r:embed="rId3">
            <a:extLst>
              <a:ext uri="{96DAC541-7B7A-43D3-8B79-37D633B846F1}">
                <asvg:svgBlip xmlns:asvg="http://schemas.microsoft.com/office/drawing/2016/SVG/main" r:embed="rId5"/>
              </a:ext>
            </a:extLst>
          </a:blip>
          <a:stretch>
            <a:fillRect/>
          </a:stretch>
        </p:blipFill>
        <p:spPr>
          <a:xfrm>
            <a:off x="7705727" y="597280"/>
            <a:ext cx="171450" cy="171450"/>
          </a:xfrm>
          <a:prstGeom prst="rect">
            <a:avLst/>
          </a:prstGeom>
        </p:spPr>
      </p:pic>
      <p:cxnSp>
        <p:nvCxnSpPr>
          <p:cNvPr id="18" name="直接连接符 17">
            <a:extLst>
              <a:ext uri="{FF2B5EF4-FFF2-40B4-BE49-F238E27FC236}">
                <a16:creationId xmlns:a16="http://schemas.microsoft.com/office/drawing/2014/main" id="{D59B9B17-AB83-41D0-BA0B-C09A6571714C}"/>
              </a:ext>
            </a:extLst>
          </p:cNvPr>
          <p:cNvCxnSpPr/>
          <p:nvPr/>
        </p:nvCxnSpPr>
        <p:spPr>
          <a:xfrm>
            <a:off x="3829052" y="683005"/>
            <a:ext cx="571498" cy="0"/>
          </a:xfrm>
          <a:prstGeom prst="line">
            <a:avLst/>
          </a:prstGeom>
          <a:ln cap="rnd" w="19050">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pic>
        <p:nvPicPr>
          <p:cNvPr id="11" name="图形 10">
            <a:extLst>
              <a:ext uri="{FF2B5EF4-FFF2-40B4-BE49-F238E27FC236}">
                <a16:creationId xmlns:a16="http://schemas.microsoft.com/office/drawing/2014/main" id="{E1E887FF-8850-4D33-8F22-CAEB6902B244}"/>
              </a:ext>
            </a:extLst>
          </p:cNvPr>
          <p:cNvPicPr>
            <a:picLocks noChangeAspect="1"/>
          </p:cNvPicPr>
          <p:nvPr/>
        </p:nvPicPr>
        <p:blipFill>
          <a:blip r:embed="rId6">
            <a:extLst>
              <a:ext uri="{96DAC541-7B7A-43D3-8B79-37D633B846F1}">
                <asvg:svgBlip xmlns:asvg="http://schemas.microsoft.com/office/drawing/2016/SVG/main" r:embed="rId7"/>
              </a:ext>
            </a:extLst>
          </a:blip>
          <a:srcRect b="5670" l="19172" r="22017" t="1040"/>
          <a:stretch>
            <a:fillRect/>
          </a:stretch>
        </p:blipFill>
        <p:spPr>
          <a:xfrm>
            <a:off x="11287125" y="5671165"/>
            <a:ext cx="742156" cy="976539"/>
          </a:xfrm>
          <a:custGeom>
            <a:rect b="b" l="l" r="r" t="t"/>
            <a:pathLst>
              <a:path h="1297335" w="1036327">
                <a:moveTo>
                  <a:pt x="507467" y="0"/>
                </a:moveTo>
                <a:cubicBezTo>
                  <a:pt x="671202" y="0"/>
                  <a:pt x="789583" y="30522"/>
                  <a:pt x="862608" y="91567"/>
                </a:cubicBezTo>
                <a:cubicBezTo>
                  <a:pt x="935633" y="152611"/>
                  <a:pt x="972145" y="229345"/>
                  <a:pt x="972145" y="321767"/>
                </a:cubicBezTo>
                <a:cubicBezTo>
                  <a:pt x="972145" y="375965"/>
                  <a:pt x="957312" y="425029"/>
                  <a:pt x="927646" y="468958"/>
                </a:cubicBezTo>
                <a:cubicBezTo>
                  <a:pt x="897979" y="512887"/>
                  <a:pt x="853194" y="551396"/>
                  <a:pt x="793291" y="584486"/>
                </a:cubicBezTo>
                <a:cubicBezTo>
                  <a:pt x="841784" y="596466"/>
                  <a:pt x="878867" y="610444"/>
                  <a:pt x="904540" y="626418"/>
                </a:cubicBezTo>
                <a:cubicBezTo>
                  <a:pt x="946187" y="652091"/>
                  <a:pt x="978564" y="685894"/>
                  <a:pt x="1001669" y="727826"/>
                </a:cubicBezTo>
                <a:cubicBezTo>
                  <a:pt x="1024775" y="769758"/>
                  <a:pt x="1036328" y="819820"/>
                  <a:pt x="1036328" y="878012"/>
                </a:cubicBezTo>
                <a:cubicBezTo>
                  <a:pt x="1036328" y="951037"/>
                  <a:pt x="1017215" y="1021067"/>
                  <a:pt x="978991" y="1088102"/>
                </a:cubicBezTo>
                <a:cubicBezTo>
                  <a:pt x="940767" y="1155136"/>
                  <a:pt x="885713" y="1206767"/>
                  <a:pt x="813829" y="1242994"/>
                </a:cubicBezTo>
                <a:cubicBezTo>
                  <a:pt x="741945" y="1279222"/>
                  <a:pt x="647526" y="1297335"/>
                  <a:pt x="530572" y="1297335"/>
                </a:cubicBezTo>
                <a:cubicBezTo>
                  <a:pt x="416471" y="1297335"/>
                  <a:pt x="326473" y="1283928"/>
                  <a:pt x="260580" y="1257114"/>
                </a:cubicBezTo>
                <a:cubicBezTo>
                  <a:pt x="194686" y="1230301"/>
                  <a:pt x="140488" y="1191078"/>
                  <a:pt x="97985" y="1139447"/>
                </a:cubicBezTo>
                <a:cubicBezTo>
                  <a:pt x="55482" y="1087816"/>
                  <a:pt x="22820" y="1022921"/>
                  <a:pt x="0" y="944761"/>
                </a:cubicBezTo>
                <a:lnTo>
                  <a:pt x="348295" y="898550"/>
                </a:lnTo>
                <a:cubicBezTo>
                  <a:pt x="361987" y="968723"/>
                  <a:pt x="383239" y="1017359"/>
                  <a:pt x="412049" y="1044458"/>
                </a:cubicBezTo>
                <a:cubicBezTo>
                  <a:pt x="440860" y="1071557"/>
                  <a:pt x="477515" y="1085106"/>
                  <a:pt x="522015" y="1085106"/>
                </a:cubicBezTo>
                <a:cubicBezTo>
                  <a:pt x="568796" y="1085106"/>
                  <a:pt x="607734" y="1067991"/>
                  <a:pt x="638826" y="1033761"/>
                </a:cubicBezTo>
                <a:cubicBezTo>
                  <a:pt x="669919" y="999530"/>
                  <a:pt x="685465" y="953890"/>
                  <a:pt x="685465" y="896839"/>
                </a:cubicBezTo>
                <a:cubicBezTo>
                  <a:pt x="685465" y="838647"/>
                  <a:pt x="670489" y="793577"/>
                  <a:pt x="640538" y="761628"/>
                </a:cubicBezTo>
                <a:cubicBezTo>
                  <a:pt x="610586" y="729680"/>
                  <a:pt x="569937" y="713706"/>
                  <a:pt x="518592" y="713706"/>
                </a:cubicBezTo>
                <a:cubicBezTo>
                  <a:pt x="491207" y="713706"/>
                  <a:pt x="453554" y="720552"/>
                  <a:pt x="405631" y="734244"/>
                </a:cubicBezTo>
                <a:lnTo>
                  <a:pt x="423602" y="485217"/>
                </a:lnTo>
                <a:cubicBezTo>
                  <a:pt x="442999" y="488070"/>
                  <a:pt x="458118" y="489496"/>
                  <a:pt x="468957" y="489496"/>
                </a:cubicBezTo>
                <a:cubicBezTo>
                  <a:pt x="514598" y="489496"/>
                  <a:pt x="552679" y="474948"/>
                  <a:pt x="583202" y="445852"/>
                </a:cubicBezTo>
                <a:cubicBezTo>
                  <a:pt x="613724" y="416756"/>
                  <a:pt x="628985" y="382241"/>
                  <a:pt x="628985" y="342305"/>
                </a:cubicBezTo>
                <a:cubicBezTo>
                  <a:pt x="628985" y="304081"/>
                  <a:pt x="617575" y="273559"/>
                  <a:pt x="594754" y="250739"/>
                </a:cubicBezTo>
                <a:cubicBezTo>
                  <a:pt x="571934" y="227918"/>
                  <a:pt x="540556" y="216508"/>
                  <a:pt x="500621" y="216508"/>
                </a:cubicBezTo>
                <a:cubicBezTo>
                  <a:pt x="459544" y="216508"/>
                  <a:pt x="426169" y="228917"/>
                  <a:pt x="400497" y="253734"/>
                </a:cubicBezTo>
                <a:cubicBezTo>
                  <a:pt x="374824" y="278551"/>
                  <a:pt x="357423" y="322052"/>
                  <a:pt x="348295" y="384237"/>
                </a:cubicBezTo>
                <a:lnTo>
                  <a:pt x="18827" y="325190"/>
                </a:lnTo>
                <a:cubicBezTo>
                  <a:pt x="46211" y="220216"/>
                  <a:pt x="98841" y="139775"/>
                  <a:pt x="176715" y="83865"/>
                </a:cubicBezTo>
                <a:cubicBezTo>
                  <a:pt x="254589" y="27955"/>
                  <a:pt x="364840" y="0"/>
                  <a:pt x="507467" y="0"/>
                </a:cubicBezTo>
                <a:close/>
              </a:path>
            </a:pathLst>
          </a:custGeom>
        </p:spPr>
      </p:pic>
      <p:cxnSp>
        <p:nvCxnSpPr>
          <p:cNvPr id="49" name="直接连接符 48">
            <a:extLst>
              <a:ext uri="{FF2B5EF4-FFF2-40B4-BE49-F238E27FC236}">
                <a16:creationId xmlns:a16="http://schemas.microsoft.com/office/drawing/2014/main" id="{071DD46A-D41C-491B-BE70-66883CC6BA05}"/>
              </a:ext>
            </a:extLst>
          </p:cNvPr>
          <p:cNvCxnSpPr/>
          <p:nvPr/>
        </p:nvCxnSpPr>
        <p:spPr>
          <a:xfrm>
            <a:off x="1569931" y="3918412"/>
            <a:ext cx="905213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0" name="椭圆 49">
            <a:extLst>
              <a:ext uri="{FF2B5EF4-FFF2-40B4-BE49-F238E27FC236}">
                <a16:creationId xmlns:a16="http://schemas.microsoft.com/office/drawing/2014/main" id="{536EC942-9562-4CD1-BC8B-147F04F92426}"/>
              </a:ext>
            </a:extLst>
          </p:cNvPr>
          <p:cNvSpPr/>
          <p:nvPr/>
        </p:nvSpPr>
        <p:spPr>
          <a:xfrm flipV="1">
            <a:off x="2353967" y="3852231"/>
            <a:ext cx="132366" cy="132366"/>
          </a:xfrm>
          <a:prstGeom prst="ellipse">
            <a:avLst/>
          </a:prstGeom>
          <a:solidFill>
            <a:srgbClr val="60A8A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3200">
              <a:latin charset="0" panose="020b0604020202020204" pitchFamily="34" typeface="Arial"/>
              <a:ea charset="-122" panose="020b0400000000000000" pitchFamily="34" typeface="思源黑体 CN Normal"/>
              <a:sym charset="0" panose="020b0604020202020204" pitchFamily="34" typeface="Arial"/>
            </a:endParaRPr>
          </a:p>
        </p:txBody>
      </p:sp>
      <p:sp>
        <p:nvSpPr>
          <p:cNvPr id="51" name="椭圆 50">
            <a:extLst>
              <a:ext uri="{FF2B5EF4-FFF2-40B4-BE49-F238E27FC236}">
                <a16:creationId xmlns:a16="http://schemas.microsoft.com/office/drawing/2014/main" id="{AE4A157E-7514-48A1-908B-A1607ADDFA9F}"/>
              </a:ext>
            </a:extLst>
          </p:cNvPr>
          <p:cNvSpPr/>
          <p:nvPr/>
        </p:nvSpPr>
        <p:spPr>
          <a:xfrm flipV="1">
            <a:off x="4772300" y="3852231"/>
            <a:ext cx="132366" cy="132366"/>
          </a:xfrm>
          <a:prstGeom prst="ellipse">
            <a:avLst/>
          </a:prstGeom>
          <a:solidFill>
            <a:srgbClr val="FF626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3200">
              <a:latin charset="0" panose="020b0604020202020204" pitchFamily="34" typeface="Arial"/>
              <a:ea charset="-122" panose="020b0400000000000000" pitchFamily="34" typeface="思源黑体 CN Normal"/>
              <a:sym charset="0" panose="020b0604020202020204" pitchFamily="34" typeface="Arial"/>
            </a:endParaRPr>
          </a:p>
        </p:txBody>
      </p:sp>
      <p:sp>
        <p:nvSpPr>
          <p:cNvPr id="52" name="椭圆 51">
            <a:extLst>
              <a:ext uri="{FF2B5EF4-FFF2-40B4-BE49-F238E27FC236}">
                <a16:creationId xmlns:a16="http://schemas.microsoft.com/office/drawing/2014/main" id="{2B55CDD5-C387-4750-A582-C850BD779C0A}"/>
              </a:ext>
            </a:extLst>
          </p:cNvPr>
          <p:cNvSpPr/>
          <p:nvPr/>
        </p:nvSpPr>
        <p:spPr>
          <a:xfrm flipV="1">
            <a:off x="7190636" y="3852231"/>
            <a:ext cx="132366" cy="132366"/>
          </a:xfrm>
          <a:prstGeom prst="ellipse">
            <a:avLst/>
          </a:prstGeom>
          <a:solidFill>
            <a:srgbClr val="00456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3200">
              <a:latin charset="0" panose="020b0604020202020204" pitchFamily="34" typeface="Arial"/>
              <a:ea charset="-122" panose="020b0400000000000000" pitchFamily="34" typeface="思源黑体 CN Normal"/>
              <a:sym charset="0" panose="020b0604020202020204" pitchFamily="34" typeface="Arial"/>
            </a:endParaRPr>
          </a:p>
        </p:txBody>
      </p:sp>
      <p:sp>
        <p:nvSpPr>
          <p:cNvPr id="53" name="椭圆 52">
            <a:extLst>
              <a:ext uri="{FF2B5EF4-FFF2-40B4-BE49-F238E27FC236}">
                <a16:creationId xmlns:a16="http://schemas.microsoft.com/office/drawing/2014/main" id="{505B6D20-7951-4CB2-9C9B-EB51251A0D40}"/>
              </a:ext>
            </a:extLst>
          </p:cNvPr>
          <p:cNvSpPr/>
          <p:nvPr/>
        </p:nvSpPr>
        <p:spPr>
          <a:xfrm flipV="1">
            <a:off x="9608968" y="3852231"/>
            <a:ext cx="132366" cy="132366"/>
          </a:xfrm>
          <a:prstGeom prst="ellipse">
            <a:avLst/>
          </a:prstGeom>
          <a:solidFill>
            <a:srgbClr val="FFC73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3200">
              <a:latin charset="0" panose="020b0604020202020204" pitchFamily="34" typeface="Arial"/>
              <a:ea charset="-122" panose="020b0400000000000000" pitchFamily="34" typeface="思源黑体 CN Normal"/>
              <a:sym charset="0" panose="020b0604020202020204" pitchFamily="34" typeface="Arial"/>
            </a:endParaRPr>
          </a:p>
        </p:txBody>
      </p:sp>
      <p:grpSp>
        <p:nvGrpSpPr>
          <p:cNvPr id="54" name="组合 53">
            <a:extLst>
              <a:ext uri="{FF2B5EF4-FFF2-40B4-BE49-F238E27FC236}">
                <a16:creationId xmlns:a16="http://schemas.microsoft.com/office/drawing/2014/main" id="{2E3B2529-CD50-4C8E-A6B8-EC10A1D0C25D}"/>
              </a:ext>
            </a:extLst>
          </p:cNvPr>
          <p:cNvGrpSpPr/>
          <p:nvPr/>
        </p:nvGrpSpPr>
        <p:grpSpPr>
          <a:xfrm>
            <a:off x="1778362" y="2291064"/>
            <a:ext cx="1283577" cy="1458939"/>
            <a:chOff x="645473" y="1566443"/>
            <a:chExt cx="1167305" cy="1326783"/>
          </a:xfrm>
        </p:grpSpPr>
        <p:sp>
          <p:nvSpPr>
            <p:cNvPr id="55" name="椭圆 8">
              <a:extLst>
                <a:ext uri="{FF2B5EF4-FFF2-40B4-BE49-F238E27FC236}">
                  <a16:creationId xmlns:a16="http://schemas.microsoft.com/office/drawing/2014/main" id="{CAC86EFD-7516-4D92-AD54-50D79B7480F3}"/>
                </a:ext>
              </a:extLst>
            </p:cNvPr>
            <p:cNvSpPr/>
            <p:nvPr/>
          </p:nvSpPr>
          <p:spPr>
            <a:xfrm>
              <a:off x="645473" y="1566443"/>
              <a:ext cx="1167305" cy="1326783"/>
            </a:xfrm>
            <a:custGeom>
              <a:rect b="b" l="l" r="r" t="t"/>
              <a:pathLst>
                <a:path h="1032895" w="908743">
                  <a:moveTo>
                    <a:pt x="405432" y="908744"/>
                  </a:moveTo>
                  <a:lnTo>
                    <a:pt x="454372" y="908744"/>
                  </a:lnTo>
                  <a:lnTo>
                    <a:pt x="503312" y="908744"/>
                  </a:lnTo>
                  <a:lnTo>
                    <a:pt x="454372" y="1032896"/>
                  </a:lnTo>
                  <a:close/>
                  <a:moveTo>
                    <a:pt x="454372" y="0"/>
                  </a:moveTo>
                  <a:cubicBezTo>
                    <a:pt x="705315" y="0"/>
                    <a:pt x="908744" y="203429"/>
                    <a:pt x="908744" y="454372"/>
                  </a:cubicBezTo>
                  <a:cubicBezTo>
                    <a:pt x="908744" y="705315"/>
                    <a:pt x="705315" y="908744"/>
                    <a:pt x="454372" y="908744"/>
                  </a:cubicBezTo>
                  <a:cubicBezTo>
                    <a:pt x="203429" y="908744"/>
                    <a:pt x="0" y="705315"/>
                    <a:pt x="0" y="454372"/>
                  </a:cubicBezTo>
                  <a:cubicBezTo>
                    <a:pt x="0" y="203429"/>
                    <a:pt x="203429" y="0"/>
                    <a:pt x="454372" y="0"/>
                  </a:cubicBezTo>
                  <a:close/>
                </a:path>
              </a:pathLst>
            </a:custGeom>
            <a:solidFill>
              <a:srgbClr val="60A8A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3200">
                <a:latin charset="0" panose="020b0604020202020204" pitchFamily="34" typeface="Arial"/>
                <a:ea charset="-122" panose="020b0400000000000000" pitchFamily="34" typeface="思源黑体 CN Normal"/>
                <a:sym charset="0" panose="020b0604020202020204" pitchFamily="34" typeface="Arial"/>
              </a:endParaRPr>
            </a:p>
          </p:txBody>
        </p:sp>
        <p:sp>
          <p:nvSpPr>
            <p:cNvPr id="56" name="TextBox 21">
              <a:extLst>
                <a:ext uri="{FF2B5EF4-FFF2-40B4-BE49-F238E27FC236}">
                  <a16:creationId xmlns:a16="http://schemas.microsoft.com/office/drawing/2014/main" id="{5366B12E-2835-442F-A654-1FFF2B150700}"/>
                </a:ext>
              </a:extLst>
            </p:cNvPr>
            <p:cNvSpPr txBox="1"/>
            <p:nvPr/>
          </p:nvSpPr>
          <p:spPr>
            <a:xfrm>
              <a:off x="679388" y="1823743"/>
              <a:ext cx="1099473" cy="637537"/>
            </a:xfrm>
            <a:prstGeom prst="rect">
              <a:avLst/>
            </a:prstGeom>
            <a:noFill/>
          </p:spPr>
          <p:txBody>
            <a:bodyPr rtlCol="0" wrap="square">
              <a:spAutoFit/>
            </a:bodyPr>
            <a:lstStyle/>
            <a:p>
              <a:pPr algn="ctr"/>
              <a:r>
                <a:rPr altLang="en-US" b="1" lang="zh-CN" sz="2000">
                  <a:solidFill>
                    <a:schemeClr val="bg1"/>
                  </a:solidFill>
                  <a:latin charset="0" panose="020b0604020202020204" pitchFamily="34" typeface="Arial"/>
                  <a:ea charset="-122" panose="020b0400000000000000" pitchFamily="34" typeface="思源黑体 CN Normal"/>
                  <a:sym charset="0" panose="020b0604020202020204" pitchFamily="34" typeface="Arial"/>
                </a:rPr>
                <a:t>输入</a:t>
              </a:r>
            </a:p>
            <a:p>
              <a:pPr algn="ctr"/>
              <a:r>
                <a:rPr altLang="en-US" b="1" lang="zh-CN" sz="2000">
                  <a:solidFill>
                    <a:schemeClr val="bg1"/>
                  </a:solidFill>
                  <a:latin charset="0" panose="020b0604020202020204" pitchFamily="34" typeface="Arial"/>
                  <a:ea charset="-122" panose="020b0400000000000000" pitchFamily="34" typeface="思源黑体 CN Normal"/>
                  <a:sym charset="0" panose="020b0604020202020204" pitchFamily="34" typeface="Arial"/>
                </a:rPr>
                <a:t>文本</a:t>
              </a:r>
            </a:p>
          </p:txBody>
        </p:sp>
      </p:grpSp>
      <p:grpSp>
        <p:nvGrpSpPr>
          <p:cNvPr id="57" name="组合 56">
            <a:extLst>
              <a:ext uri="{FF2B5EF4-FFF2-40B4-BE49-F238E27FC236}">
                <a16:creationId xmlns:a16="http://schemas.microsoft.com/office/drawing/2014/main" id="{84711956-4708-47CC-B264-3E9ABA7C271E}"/>
              </a:ext>
            </a:extLst>
          </p:cNvPr>
          <p:cNvGrpSpPr/>
          <p:nvPr/>
        </p:nvGrpSpPr>
        <p:grpSpPr>
          <a:xfrm>
            <a:off x="3962298" y="1843266"/>
            <a:ext cx="1759781" cy="1906734"/>
            <a:chOff x="2631579" y="1159208"/>
            <a:chExt cx="1600373" cy="1734015"/>
          </a:xfrm>
        </p:grpSpPr>
        <p:sp>
          <p:nvSpPr>
            <p:cNvPr id="58" name="椭圆 8">
              <a:extLst>
                <a:ext uri="{FF2B5EF4-FFF2-40B4-BE49-F238E27FC236}">
                  <a16:creationId xmlns:a16="http://schemas.microsoft.com/office/drawing/2014/main" id="{88B7F920-1EC9-4F84-AAB4-CB3A4A5C9ED1}"/>
                </a:ext>
              </a:extLst>
            </p:cNvPr>
            <p:cNvSpPr/>
            <p:nvPr/>
          </p:nvSpPr>
          <p:spPr>
            <a:xfrm>
              <a:off x="2665602" y="1159208"/>
              <a:ext cx="1525588" cy="1734015"/>
            </a:xfrm>
            <a:custGeom>
              <a:rect b="b" l="l" r="r" t="t"/>
              <a:pathLst>
                <a:path h="1032895" w="908743">
                  <a:moveTo>
                    <a:pt x="405432" y="908744"/>
                  </a:moveTo>
                  <a:lnTo>
                    <a:pt x="454372" y="908744"/>
                  </a:lnTo>
                  <a:lnTo>
                    <a:pt x="503312" y="908744"/>
                  </a:lnTo>
                  <a:lnTo>
                    <a:pt x="454372" y="1032896"/>
                  </a:lnTo>
                  <a:close/>
                  <a:moveTo>
                    <a:pt x="454372" y="0"/>
                  </a:moveTo>
                  <a:cubicBezTo>
                    <a:pt x="705315" y="0"/>
                    <a:pt x="908744" y="203429"/>
                    <a:pt x="908744" y="454372"/>
                  </a:cubicBezTo>
                  <a:cubicBezTo>
                    <a:pt x="908744" y="705315"/>
                    <a:pt x="705315" y="908744"/>
                    <a:pt x="454372" y="908744"/>
                  </a:cubicBezTo>
                  <a:cubicBezTo>
                    <a:pt x="203429" y="908744"/>
                    <a:pt x="0" y="705315"/>
                    <a:pt x="0" y="454372"/>
                  </a:cubicBezTo>
                  <a:cubicBezTo>
                    <a:pt x="0" y="203429"/>
                    <a:pt x="203429" y="0"/>
                    <a:pt x="454372" y="0"/>
                  </a:cubicBezTo>
                  <a:close/>
                </a:path>
              </a:pathLst>
            </a:custGeom>
            <a:solidFill>
              <a:srgbClr val="FF626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2000">
                <a:latin charset="0" panose="020b0604020202020204" pitchFamily="34" typeface="Arial"/>
                <a:ea charset="-122" panose="020b0400000000000000" pitchFamily="34" typeface="思源黑体 CN Normal"/>
                <a:sym charset="0" panose="020b0604020202020204" pitchFamily="34" typeface="Arial"/>
              </a:endParaRPr>
            </a:p>
          </p:txBody>
        </p:sp>
        <p:sp>
          <p:nvSpPr>
            <p:cNvPr id="59" name="TextBox 22">
              <a:extLst>
                <a:ext uri="{FF2B5EF4-FFF2-40B4-BE49-F238E27FC236}">
                  <a16:creationId xmlns:a16="http://schemas.microsoft.com/office/drawing/2014/main" id="{020313B3-B22B-4D27-881E-C279C4089BD8}"/>
                </a:ext>
              </a:extLst>
            </p:cNvPr>
            <p:cNvSpPr txBox="1"/>
            <p:nvPr/>
          </p:nvSpPr>
          <p:spPr>
            <a:xfrm>
              <a:off x="2631579" y="1510509"/>
              <a:ext cx="1600373" cy="859289"/>
            </a:xfrm>
            <a:prstGeom prst="rect">
              <a:avLst/>
            </a:prstGeom>
            <a:noFill/>
          </p:spPr>
          <p:txBody>
            <a:bodyPr rtlCol="0" wrap="square">
              <a:spAutoFit/>
            </a:bodyPr>
            <a:lstStyle/>
            <a:p>
              <a:pPr algn="ctr"/>
              <a:r>
                <a:rPr altLang="en-US" b="1" lang="zh-CN" sz="2800">
                  <a:solidFill>
                    <a:schemeClr val="bg1"/>
                  </a:solidFill>
                  <a:latin charset="0" panose="020b0604020202020204" pitchFamily="34" typeface="Arial"/>
                  <a:ea charset="-122" panose="020b0400000000000000" pitchFamily="34" typeface="思源黑体 CN Normal"/>
                  <a:sym charset="0" panose="020b0604020202020204" pitchFamily="34" typeface="Arial"/>
                </a:rPr>
                <a:t>输入</a:t>
              </a:r>
            </a:p>
            <a:p>
              <a:pPr algn="ctr"/>
              <a:r>
                <a:rPr altLang="en-US" b="1" lang="zh-CN" sz="2800">
                  <a:solidFill>
                    <a:schemeClr val="bg1"/>
                  </a:solidFill>
                  <a:latin charset="0" panose="020b0604020202020204" pitchFamily="34" typeface="Arial"/>
                  <a:ea charset="-122" panose="020b0400000000000000" pitchFamily="34" typeface="思源黑体 CN Normal"/>
                  <a:sym charset="0" panose="020b0604020202020204" pitchFamily="34" typeface="Arial"/>
                </a:rPr>
                <a:t>文本</a:t>
              </a:r>
            </a:p>
          </p:txBody>
        </p:sp>
      </p:grpSp>
      <p:grpSp>
        <p:nvGrpSpPr>
          <p:cNvPr id="60" name="组合 59">
            <a:extLst>
              <a:ext uri="{FF2B5EF4-FFF2-40B4-BE49-F238E27FC236}">
                <a16:creationId xmlns:a16="http://schemas.microsoft.com/office/drawing/2014/main" id="{DFE1BB33-1760-41A9-8F15-3ED653B73F91}"/>
              </a:ext>
            </a:extLst>
          </p:cNvPr>
          <p:cNvGrpSpPr/>
          <p:nvPr/>
        </p:nvGrpSpPr>
        <p:grpSpPr>
          <a:xfrm>
            <a:off x="9033363" y="2291064"/>
            <a:ext cx="1283577" cy="1458939"/>
            <a:chOff x="7243286" y="1566443"/>
            <a:chExt cx="1167305" cy="1326783"/>
          </a:xfrm>
        </p:grpSpPr>
        <p:sp>
          <p:nvSpPr>
            <p:cNvPr id="61" name="椭圆 8">
              <a:extLst>
                <a:ext uri="{FF2B5EF4-FFF2-40B4-BE49-F238E27FC236}">
                  <a16:creationId xmlns:a16="http://schemas.microsoft.com/office/drawing/2014/main" id="{4433C281-E16F-49A2-B344-38151CF2C7AB}"/>
                </a:ext>
              </a:extLst>
            </p:cNvPr>
            <p:cNvSpPr/>
            <p:nvPr/>
          </p:nvSpPr>
          <p:spPr>
            <a:xfrm>
              <a:off x="7243286" y="1566443"/>
              <a:ext cx="1167305" cy="1326783"/>
            </a:xfrm>
            <a:custGeom>
              <a:rect b="b" l="l" r="r" t="t"/>
              <a:pathLst>
                <a:path h="1032895" w="908743">
                  <a:moveTo>
                    <a:pt x="405432" y="908744"/>
                  </a:moveTo>
                  <a:lnTo>
                    <a:pt x="454372" y="908744"/>
                  </a:lnTo>
                  <a:lnTo>
                    <a:pt x="503312" y="908744"/>
                  </a:lnTo>
                  <a:lnTo>
                    <a:pt x="454372" y="1032896"/>
                  </a:lnTo>
                  <a:close/>
                  <a:moveTo>
                    <a:pt x="454372" y="0"/>
                  </a:moveTo>
                  <a:cubicBezTo>
                    <a:pt x="705315" y="0"/>
                    <a:pt x="908744" y="203429"/>
                    <a:pt x="908744" y="454372"/>
                  </a:cubicBezTo>
                  <a:cubicBezTo>
                    <a:pt x="908744" y="705315"/>
                    <a:pt x="705315" y="908744"/>
                    <a:pt x="454372" y="908744"/>
                  </a:cubicBezTo>
                  <a:cubicBezTo>
                    <a:pt x="203429" y="908744"/>
                    <a:pt x="0" y="705315"/>
                    <a:pt x="0" y="454372"/>
                  </a:cubicBezTo>
                  <a:cubicBezTo>
                    <a:pt x="0" y="203429"/>
                    <a:pt x="203429" y="0"/>
                    <a:pt x="454372" y="0"/>
                  </a:cubicBezTo>
                  <a:close/>
                </a:path>
              </a:pathLst>
            </a:custGeom>
            <a:solidFill>
              <a:srgbClr val="FFC73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3200">
                <a:latin charset="0" panose="020b0604020202020204" pitchFamily="34" typeface="Arial"/>
                <a:ea charset="-122" panose="020b0400000000000000" pitchFamily="34" typeface="思源黑体 CN Normal"/>
                <a:sym charset="0" panose="020b0604020202020204" pitchFamily="34" typeface="Arial"/>
              </a:endParaRPr>
            </a:p>
          </p:txBody>
        </p:sp>
        <p:sp>
          <p:nvSpPr>
            <p:cNvPr id="62" name="TextBox 23">
              <a:extLst>
                <a:ext uri="{FF2B5EF4-FFF2-40B4-BE49-F238E27FC236}">
                  <a16:creationId xmlns:a16="http://schemas.microsoft.com/office/drawing/2014/main" id="{7D4B904A-05BE-4DF5-A919-97E1F3ABD919}"/>
                </a:ext>
              </a:extLst>
            </p:cNvPr>
            <p:cNvSpPr txBox="1"/>
            <p:nvPr/>
          </p:nvSpPr>
          <p:spPr>
            <a:xfrm>
              <a:off x="7277198" y="1823743"/>
              <a:ext cx="1099473" cy="637537"/>
            </a:xfrm>
            <a:prstGeom prst="rect">
              <a:avLst/>
            </a:prstGeom>
            <a:noFill/>
          </p:spPr>
          <p:txBody>
            <a:bodyPr rtlCol="0" wrap="square">
              <a:spAutoFit/>
            </a:bodyPr>
            <a:lstStyle/>
            <a:p>
              <a:pPr algn="ctr"/>
              <a:r>
                <a:rPr altLang="en-US" b="1" lang="zh-CN" sz="2000">
                  <a:solidFill>
                    <a:schemeClr val="bg1"/>
                  </a:solidFill>
                  <a:latin charset="0" panose="020b0604020202020204" pitchFamily="34" typeface="Arial"/>
                  <a:ea charset="-122" panose="020b0400000000000000" pitchFamily="34" typeface="思源黑体 CN Normal"/>
                  <a:sym charset="0" panose="020b0604020202020204" pitchFamily="34" typeface="Arial"/>
                </a:rPr>
                <a:t>输入</a:t>
              </a:r>
            </a:p>
            <a:p>
              <a:pPr algn="ctr"/>
              <a:r>
                <a:rPr altLang="en-US" b="1" lang="zh-CN" sz="2000">
                  <a:solidFill>
                    <a:schemeClr val="bg1"/>
                  </a:solidFill>
                  <a:latin charset="0" panose="020b0604020202020204" pitchFamily="34" typeface="Arial"/>
                  <a:ea charset="-122" panose="020b0400000000000000" pitchFamily="34" typeface="思源黑体 CN Normal"/>
                  <a:sym charset="0" panose="020b0604020202020204" pitchFamily="34" typeface="Arial"/>
                </a:rPr>
                <a:t>文本</a:t>
              </a:r>
            </a:p>
          </p:txBody>
        </p:sp>
      </p:grpSp>
      <p:grpSp>
        <p:nvGrpSpPr>
          <p:cNvPr id="63" name="组合 62">
            <a:extLst>
              <a:ext uri="{FF2B5EF4-FFF2-40B4-BE49-F238E27FC236}">
                <a16:creationId xmlns:a16="http://schemas.microsoft.com/office/drawing/2014/main" id="{7C132F31-E077-41CF-962D-AEB8F1966B9A}"/>
              </a:ext>
            </a:extLst>
          </p:cNvPr>
          <p:cNvGrpSpPr/>
          <p:nvPr/>
        </p:nvGrpSpPr>
        <p:grpSpPr>
          <a:xfrm>
            <a:off x="6615032" y="2291064"/>
            <a:ext cx="1283577" cy="1458939"/>
            <a:chOff x="5044017" y="1566443"/>
            <a:chExt cx="1167305" cy="1326783"/>
          </a:xfrm>
        </p:grpSpPr>
        <p:sp>
          <p:nvSpPr>
            <p:cNvPr id="64" name="椭圆 8">
              <a:extLst>
                <a:ext uri="{FF2B5EF4-FFF2-40B4-BE49-F238E27FC236}">
                  <a16:creationId xmlns:a16="http://schemas.microsoft.com/office/drawing/2014/main" id="{9A214FC4-0C0C-4503-B5B3-78A7480E9CB9}"/>
                </a:ext>
              </a:extLst>
            </p:cNvPr>
            <p:cNvSpPr/>
            <p:nvPr/>
          </p:nvSpPr>
          <p:spPr>
            <a:xfrm>
              <a:off x="5044017" y="1566443"/>
              <a:ext cx="1167305" cy="1326783"/>
            </a:xfrm>
            <a:custGeom>
              <a:rect b="b" l="l" r="r" t="t"/>
              <a:pathLst>
                <a:path h="1032895" w="908743">
                  <a:moveTo>
                    <a:pt x="405432" y="908744"/>
                  </a:moveTo>
                  <a:lnTo>
                    <a:pt x="454372" y="908744"/>
                  </a:lnTo>
                  <a:lnTo>
                    <a:pt x="503312" y="908744"/>
                  </a:lnTo>
                  <a:lnTo>
                    <a:pt x="454372" y="1032896"/>
                  </a:lnTo>
                  <a:close/>
                  <a:moveTo>
                    <a:pt x="454372" y="0"/>
                  </a:moveTo>
                  <a:cubicBezTo>
                    <a:pt x="705315" y="0"/>
                    <a:pt x="908744" y="203429"/>
                    <a:pt x="908744" y="454372"/>
                  </a:cubicBezTo>
                  <a:cubicBezTo>
                    <a:pt x="908744" y="705315"/>
                    <a:pt x="705315" y="908744"/>
                    <a:pt x="454372" y="908744"/>
                  </a:cubicBezTo>
                  <a:cubicBezTo>
                    <a:pt x="203429" y="908744"/>
                    <a:pt x="0" y="705315"/>
                    <a:pt x="0" y="454372"/>
                  </a:cubicBezTo>
                  <a:cubicBezTo>
                    <a:pt x="0" y="203429"/>
                    <a:pt x="203429" y="0"/>
                    <a:pt x="454372" y="0"/>
                  </a:cubicBezTo>
                  <a:close/>
                </a:path>
              </a:pathLst>
            </a:custGeom>
            <a:solidFill>
              <a:srgbClr val="00456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3200">
                <a:latin charset="0" panose="020b0604020202020204" pitchFamily="34" typeface="Arial"/>
                <a:ea charset="-122" panose="020b0400000000000000" pitchFamily="34" typeface="思源黑体 CN Normal"/>
                <a:sym charset="0" panose="020b0604020202020204" pitchFamily="34" typeface="Arial"/>
              </a:endParaRPr>
            </a:p>
          </p:txBody>
        </p:sp>
        <p:sp>
          <p:nvSpPr>
            <p:cNvPr id="65" name="TextBox 24">
              <a:extLst>
                <a:ext uri="{FF2B5EF4-FFF2-40B4-BE49-F238E27FC236}">
                  <a16:creationId xmlns:a16="http://schemas.microsoft.com/office/drawing/2014/main" id="{899555DA-3EB0-46F7-9C0F-A35A69778463}"/>
                </a:ext>
              </a:extLst>
            </p:cNvPr>
            <p:cNvSpPr txBox="1"/>
            <p:nvPr/>
          </p:nvSpPr>
          <p:spPr>
            <a:xfrm>
              <a:off x="5080845" y="1823743"/>
              <a:ext cx="1099473" cy="637537"/>
            </a:xfrm>
            <a:prstGeom prst="rect">
              <a:avLst/>
            </a:prstGeom>
            <a:noFill/>
          </p:spPr>
          <p:txBody>
            <a:bodyPr rtlCol="0" wrap="square">
              <a:spAutoFit/>
            </a:bodyPr>
            <a:lstStyle/>
            <a:p>
              <a:pPr algn="ctr"/>
              <a:r>
                <a:rPr altLang="en-US" b="1" lang="zh-CN" sz="2000">
                  <a:solidFill>
                    <a:schemeClr val="bg1"/>
                  </a:solidFill>
                  <a:latin charset="0" panose="020b0604020202020204" pitchFamily="34" typeface="Arial"/>
                  <a:ea charset="-122" panose="020b0400000000000000" pitchFamily="34" typeface="思源黑体 CN Normal"/>
                  <a:sym charset="0" panose="020b0604020202020204" pitchFamily="34" typeface="Arial"/>
                </a:rPr>
                <a:t>输入</a:t>
              </a:r>
            </a:p>
            <a:p>
              <a:pPr algn="ctr"/>
              <a:r>
                <a:rPr altLang="en-US" b="1" lang="zh-CN" sz="2000">
                  <a:solidFill>
                    <a:schemeClr val="bg1"/>
                  </a:solidFill>
                  <a:latin charset="0" panose="020b0604020202020204" pitchFamily="34" typeface="Arial"/>
                  <a:ea charset="-122" panose="020b0400000000000000" pitchFamily="34" typeface="思源黑体 CN Normal"/>
                  <a:sym charset="0" panose="020b0604020202020204" pitchFamily="34" typeface="Arial"/>
                </a:rPr>
                <a:t>文本</a:t>
              </a:r>
            </a:p>
          </p:txBody>
        </p:sp>
      </p:grpSp>
      <p:grpSp>
        <p:nvGrpSpPr>
          <p:cNvPr id="66" name="Group 9">
            <a:extLst>
              <a:ext uri="{FF2B5EF4-FFF2-40B4-BE49-F238E27FC236}">
                <a16:creationId xmlns:a16="http://schemas.microsoft.com/office/drawing/2014/main" id="{A1051606-5C82-4570-B714-4F72CB758736}"/>
              </a:ext>
            </a:extLst>
          </p:cNvPr>
          <p:cNvGrpSpPr/>
          <p:nvPr/>
        </p:nvGrpSpPr>
        <p:grpSpPr>
          <a:xfrm>
            <a:off x="1382398" y="4116730"/>
            <a:ext cx="2079094" cy="1188869"/>
            <a:chOff x="948999" y="2265458"/>
            <a:chExt cx="1980352" cy="1441571"/>
          </a:xfrm>
        </p:grpSpPr>
        <p:sp>
          <p:nvSpPr>
            <p:cNvPr id="67" name="TextBox 56">
              <a:extLst>
                <a:ext uri="{FF2B5EF4-FFF2-40B4-BE49-F238E27FC236}">
                  <a16:creationId xmlns:a16="http://schemas.microsoft.com/office/drawing/2014/main" id="{7992487F-0CD8-4813-A88C-5CA354E3C678}"/>
                </a:ext>
              </a:extLst>
            </p:cNvPr>
            <p:cNvSpPr txBox="1"/>
            <p:nvPr/>
          </p:nvSpPr>
          <p:spPr>
            <a:xfrm>
              <a:off x="1416593" y="2265458"/>
              <a:ext cx="1045167" cy="776133"/>
            </a:xfrm>
            <a:prstGeom prst="rect">
              <a:avLst/>
            </a:prstGeom>
            <a:noFill/>
          </p:spPr>
          <p:txBody>
            <a:bodyPr rtlCol="0" wrap="none">
              <a:spAutoFit/>
            </a:bodyPr>
            <a:lstStyle/>
            <a:p>
              <a:pPr algn="ctr" defTabSz="1219110"/>
              <a:r>
                <a:rPr altLang="en-US" b="1" lang="zh-CN">
                  <a:solidFill>
                    <a:schemeClr val="tx1">
                      <a:lumMod val="85000"/>
                      <a:lumOff val="15000"/>
                    </a:schemeClr>
                  </a:solidFill>
                  <a:latin panose="020f0502020204030204" typeface="等线"/>
                </a:rPr>
                <a:t>标题文本</a:t>
              </a:r>
            </a:p>
            <a:p>
              <a:pPr algn="ctr" defTabSz="1219110"/>
              <a:r>
                <a:rPr altLang="en-US" b="1" lang="zh-CN">
                  <a:solidFill>
                    <a:schemeClr val="tx1">
                      <a:lumMod val="85000"/>
                      <a:lumOff val="15000"/>
                    </a:schemeClr>
                  </a:solidFill>
                  <a:latin panose="020f0502020204030204" typeface="等线"/>
                </a:rPr>
                <a:t>……</a:t>
              </a:r>
            </a:p>
          </p:txBody>
        </p:sp>
        <p:sp>
          <p:nvSpPr>
            <p:cNvPr id="68" name="Rectangle 58">
              <a:extLst>
                <a:ext uri="{FF2B5EF4-FFF2-40B4-BE49-F238E27FC236}">
                  <a16:creationId xmlns:a16="http://schemas.microsoft.com/office/drawing/2014/main" id="{ABF9C233-49D6-43E3-9839-3A76262F0A10}"/>
                </a:ext>
              </a:extLst>
            </p:cNvPr>
            <p:cNvSpPr/>
            <p:nvPr/>
          </p:nvSpPr>
          <p:spPr>
            <a:xfrm>
              <a:off x="948999" y="2811847"/>
              <a:ext cx="1980352" cy="1108762"/>
            </a:xfrm>
            <a:prstGeom prst="rect">
              <a:avLst/>
            </a:prstGeom>
          </p:spPr>
          <p:txBody>
            <a:bodyPr wrap="square">
              <a:spAutoFit/>
            </a:bodyPr>
            <a:lstStyle/>
            <a:p>
              <a:pPr algn="ctr">
                <a:lnSpc>
                  <a:spcPct val="150000"/>
                </a:lnSpc>
              </a:pPr>
              <a:r>
                <a:rPr altLang="en-US" lang="zh-CN" sz="1200">
                  <a:solidFill>
                    <a:schemeClr val="tx1">
                      <a:lumMod val="75000"/>
                      <a:lumOff val="25000"/>
                    </a:schemeClr>
                  </a:solidFill>
                  <a:latin typeface="+mn-ea"/>
                </a:rPr>
                <a:t>这里可以添加主要内容这里可以添加主要内容这里可以添加主要内容</a:t>
              </a:r>
            </a:p>
          </p:txBody>
        </p:sp>
      </p:grpSp>
      <p:grpSp>
        <p:nvGrpSpPr>
          <p:cNvPr id="69" name="Group 9">
            <a:extLst>
              <a:ext uri="{FF2B5EF4-FFF2-40B4-BE49-F238E27FC236}">
                <a16:creationId xmlns:a16="http://schemas.microsoft.com/office/drawing/2014/main" id="{3C9D7FF3-949E-4D46-BBD4-590C5AE140BE}"/>
              </a:ext>
            </a:extLst>
          </p:cNvPr>
          <p:cNvGrpSpPr/>
          <p:nvPr/>
        </p:nvGrpSpPr>
        <p:grpSpPr>
          <a:xfrm>
            <a:off x="3679768" y="4116723"/>
            <a:ext cx="2198264" cy="1405597"/>
            <a:chOff x="892242" y="2265458"/>
            <a:chExt cx="2093864" cy="1704365"/>
          </a:xfrm>
        </p:grpSpPr>
        <p:sp>
          <p:nvSpPr>
            <p:cNvPr id="70" name="TextBox 56">
              <a:extLst>
                <a:ext uri="{FF2B5EF4-FFF2-40B4-BE49-F238E27FC236}">
                  <a16:creationId xmlns:a16="http://schemas.microsoft.com/office/drawing/2014/main" id="{F0F54F89-0094-4F9B-A024-81CA7254A40E}"/>
                </a:ext>
              </a:extLst>
            </p:cNvPr>
            <p:cNvSpPr txBox="1"/>
            <p:nvPr/>
          </p:nvSpPr>
          <p:spPr>
            <a:xfrm>
              <a:off x="1368205" y="2265458"/>
              <a:ext cx="1141943" cy="850050"/>
            </a:xfrm>
            <a:prstGeom prst="rect">
              <a:avLst/>
            </a:prstGeom>
            <a:noFill/>
          </p:spPr>
          <p:txBody>
            <a:bodyPr rtlCol="0" wrap="none">
              <a:spAutoFit/>
            </a:bodyPr>
            <a:lstStyle/>
            <a:p>
              <a:pPr algn="ctr" defTabSz="1219110"/>
              <a:r>
                <a:rPr altLang="en-US" b="1" lang="zh-CN" sz="2000">
                  <a:solidFill>
                    <a:schemeClr val="tx1">
                      <a:lumMod val="85000"/>
                      <a:lumOff val="15000"/>
                    </a:schemeClr>
                  </a:solidFill>
                  <a:latin panose="020f0502020204030204" typeface="等线"/>
                </a:rPr>
                <a:t>标题文本</a:t>
              </a:r>
            </a:p>
            <a:p>
              <a:pPr algn="ctr" defTabSz="1219110"/>
              <a:r>
                <a:rPr altLang="en-US" b="1" lang="zh-CN" sz="2000">
                  <a:solidFill>
                    <a:schemeClr val="tx1">
                      <a:lumMod val="85000"/>
                      <a:lumOff val="15000"/>
                    </a:schemeClr>
                  </a:solidFill>
                  <a:latin panose="020f0502020204030204" typeface="等线"/>
                </a:rPr>
                <a:t>……</a:t>
              </a:r>
            </a:p>
          </p:txBody>
        </p:sp>
        <p:sp>
          <p:nvSpPr>
            <p:cNvPr id="71" name="Rectangle 58">
              <a:extLst>
                <a:ext uri="{FF2B5EF4-FFF2-40B4-BE49-F238E27FC236}">
                  <a16:creationId xmlns:a16="http://schemas.microsoft.com/office/drawing/2014/main" id="{EE79160A-39F6-48D3-869D-101D4D761451}"/>
                </a:ext>
              </a:extLst>
            </p:cNvPr>
            <p:cNvSpPr/>
            <p:nvPr/>
          </p:nvSpPr>
          <p:spPr>
            <a:xfrm>
              <a:off x="892242" y="2884366"/>
              <a:ext cx="2093864" cy="1108761"/>
            </a:xfrm>
            <a:prstGeom prst="rect">
              <a:avLst/>
            </a:prstGeom>
          </p:spPr>
          <p:txBody>
            <a:bodyPr wrap="square">
              <a:spAutoFit/>
            </a:bodyPr>
            <a:lstStyle/>
            <a:p>
              <a:pPr algn="ctr">
                <a:lnSpc>
                  <a:spcPct val="150000"/>
                </a:lnSpc>
              </a:pPr>
              <a:r>
                <a:rPr altLang="en-US" lang="zh-CN" sz="1200">
                  <a:solidFill>
                    <a:schemeClr val="tx1">
                      <a:lumMod val="75000"/>
                      <a:lumOff val="25000"/>
                    </a:schemeClr>
                  </a:solidFill>
                  <a:latin typeface="+mn-ea"/>
                </a:rPr>
                <a:t>这里可以添加主要内容这里可以添加主要内容这里可以添加主要内容</a:t>
              </a:r>
            </a:p>
          </p:txBody>
        </p:sp>
      </p:grpSp>
      <p:grpSp>
        <p:nvGrpSpPr>
          <p:cNvPr id="72" name="Group 9">
            <a:extLst>
              <a:ext uri="{FF2B5EF4-FFF2-40B4-BE49-F238E27FC236}">
                <a16:creationId xmlns:a16="http://schemas.microsoft.com/office/drawing/2014/main" id="{C823C45C-4769-4827-A458-E869E1AE9D1A}"/>
              </a:ext>
            </a:extLst>
          </p:cNvPr>
          <p:cNvGrpSpPr/>
          <p:nvPr/>
        </p:nvGrpSpPr>
        <p:grpSpPr>
          <a:xfrm>
            <a:off x="6227325" y="4116730"/>
            <a:ext cx="2079094" cy="1188869"/>
            <a:chOff x="948999" y="2265458"/>
            <a:chExt cx="1980352" cy="1441571"/>
          </a:xfrm>
        </p:grpSpPr>
        <p:sp>
          <p:nvSpPr>
            <p:cNvPr id="73" name="TextBox 56">
              <a:extLst>
                <a:ext uri="{FF2B5EF4-FFF2-40B4-BE49-F238E27FC236}">
                  <a16:creationId xmlns:a16="http://schemas.microsoft.com/office/drawing/2014/main" id="{C87B8E18-14BE-4372-B878-6FB27360C734}"/>
                </a:ext>
              </a:extLst>
            </p:cNvPr>
            <p:cNvSpPr txBox="1"/>
            <p:nvPr/>
          </p:nvSpPr>
          <p:spPr>
            <a:xfrm>
              <a:off x="1416594" y="2265458"/>
              <a:ext cx="1045167" cy="776133"/>
            </a:xfrm>
            <a:prstGeom prst="rect">
              <a:avLst/>
            </a:prstGeom>
            <a:noFill/>
          </p:spPr>
          <p:txBody>
            <a:bodyPr rtlCol="0" wrap="none">
              <a:spAutoFit/>
            </a:bodyPr>
            <a:lstStyle/>
            <a:p>
              <a:pPr algn="ctr" defTabSz="1219110"/>
              <a:r>
                <a:rPr altLang="en-US" b="1" lang="zh-CN">
                  <a:solidFill>
                    <a:schemeClr val="tx1">
                      <a:lumMod val="85000"/>
                      <a:lumOff val="15000"/>
                    </a:schemeClr>
                  </a:solidFill>
                  <a:latin panose="020f0502020204030204" typeface="等线"/>
                </a:rPr>
                <a:t>标题文本</a:t>
              </a:r>
            </a:p>
            <a:p>
              <a:pPr algn="ctr" defTabSz="1219110"/>
              <a:r>
                <a:rPr altLang="en-US" b="1" lang="zh-CN">
                  <a:solidFill>
                    <a:schemeClr val="tx1">
                      <a:lumMod val="85000"/>
                      <a:lumOff val="15000"/>
                    </a:schemeClr>
                  </a:solidFill>
                  <a:latin panose="020f0502020204030204" typeface="等线"/>
                </a:rPr>
                <a:t>……</a:t>
              </a:r>
            </a:p>
          </p:txBody>
        </p:sp>
        <p:sp>
          <p:nvSpPr>
            <p:cNvPr id="74" name="Rectangle 58">
              <a:extLst>
                <a:ext uri="{FF2B5EF4-FFF2-40B4-BE49-F238E27FC236}">
                  <a16:creationId xmlns:a16="http://schemas.microsoft.com/office/drawing/2014/main" id="{E340B64A-7F20-42BB-A0FB-79E5E23FEAC4}"/>
                </a:ext>
              </a:extLst>
            </p:cNvPr>
            <p:cNvSpPr/>
            <p:nvPr/>
          </p:nvSpPr>
          <p:spPr>
            <a:xfrm>
              <a:off x="949000" y="2811847"/>
              <a:ext cx="1980352" cy="1108762"/>
            </a:xfrm>
            <a:prstGeom prst="rect">
              <a:avLst/>
            </a:prstGeom>
          </p:spPr>
          <p:txBody>
            <a:bodyPr wrap="square">
              <a:spAutoFit/>
            </a:bodyPr>
            <a:lstStyle/>
            <a:p>
              <a:pPr algn="ctr">
                <a:lnSpc>
                  <a:spcPct val="150000"/>
                </a:lnSpc>
              </a:pPr>
              <a:r>
                <a:rPr altLang="en-US" lang="zh-CN" sz="1200">
                  <a:solidFill>
                    <a:schemeClr val="tx1">
                      <a:lumMod val="75000"/>
                      <a:lumOff val="25000"/>
                    </a:schemeClr>
                  </a:solidFill>
                  <a:latin typeface="+mn-ea"/>
                </a:rPr>
                <a:t>这里可以添加主要内容这里可以添加主要内容这里可以添加主要内容</a:t>
              </a:r>
            </a:p>
          </p:txBody>
        </p:sp>
      </p:grpSp>
      <p:grpSp>
        <p:nvGrpSpPr>
          <p:cNvPr id="75" name="Group 9">
            <a:extLst>
              <a:ext uri="{FF2B5EF4-FFF2-40B4-BE49-F238E27FC236}">
                <a16:creationId xmlns:a16="http://schemas.microsoft.com/office/drawing/2014/main" id="{95C253BB-DFE7-4F03-A618-28C85760F504}"/>
              </a:ext>
            </a:extLst>
          </p:cNvPr>
          <p:cNvGrpSpPr/>
          <p:nvPr/>
        </p:nvGrpSpPr>
        <p:grpSpPr>
          <a:xfrm>
            <a:off x="8655712" y="4116730"/>
            <a:ext cx="2079094" cy="1188869"/>
            <a:chOff x="948999" y="2265458"/>
            <a:chExt cx="1980352" cy="1441571"/>
          </a:xfrm>
        </p:grpSpPr>
        <p:sp>
          <p:nvSpPr>
            <p:cNvPr id="76" name="TextBox 56">
              <a:extLst>
                <a:ext uri="{FF2B5EF4-FFF2-40B4-BE49-F238E27FC236}">
                  <a16:creationId xmlns:a16="http://schemas.microsoft.com/office/drawing/2014/main" id="{2C319507-FF82-4350-8C47-611181360D64}"/>
                </a:ext>
              </a:extLst>
            </p:cNvPr>
            <p:cNvSpPr txBox="1"/>
            <p:nvPr/>
          </p:nvSpPr>
          <p:spPr>
            <a:xfrm>
              <a:off x="1416593" y="2265458"/>
              <a:ext cx="1045167" cy="776133"/>
            </a:xfrm>
            <a:prstGeom prst="rect">
              <a:avLst/>
            </a:prstGeom>
            <a:noFill/>
          </p:spPr>
          <p:txBody>
            <a:bodyPr rtlCol="0" wrap="none">
              <a:spAutoFit/>
            </a:bodyPr>
            <a:lstStyle/>
            <a:p>
              <a:pPr algn="ctr" defTabSz="1219110"/>
              <a:r>
                <a:rPr altLang="en-US" b="1" lang="zh-CN">
                  <a:solidFill>
                    <a:schemeClr val="tx1">
                      <a:lumMod val="85000"/>
                      <a:lumOff val="15000"/>
                    </a:schemeClr>
                  </a:solidFill>
                  <a:latin panose="020f0502020204030204" typeface="等线"/>
                </a:rPr>
                <a:t>标题文本</a:t>
              </a:r>
            </a:p>
            <a:p>
              <a:pPr algn="ctr" defTabSz="1219110"/>
              <a:r>
                <a:rPr altLang="en-US" b="1" lang="zh-CN">
                  <a:solidFill>
                    <a:schemeClr val="tx1">
                      <a:lumMod val="85000"/>
                      <a:lumOff val="15000"/>
                    </a:schemeClr>
                  </a:solidFill>
                  <a:latin panose="020f0502020204030204" typeface="等线"/>
                </a:rPr>
                <a:t>……</a:t>
              </a:r>
            </a:p>
          </p:txBody>
        </p:sp>
        <p:sp>
          <p:nvSpPr>
            <p:cNvPr id="77" name="Rectangle 58">
              <a:extLst>
                <a:ext uri="{FF2B5EF4-FFF2-40B4-BE49-F238E27FC236}">
                  <a16:creationId xmlns:a16="http://schemas.microsoft.com/office/drawing/2014/main" id="{1E458E25-B498-4054-992B-01586B216053}"/>
                </a:ext>
              </a:extLst>
            </p:cNvPr>
            <p:cNvSpPr/>
            <p:nvPr/>
          </p:nvSpPr>
          <p:spPr>
            <a:xfrm>
              <a:off x="948999" y="2811847"/>
              <a:ext cx="1980352" cy="1108762"/>
            </a:xfrm>
            <a:prstGeom prst="rect">
              <a:avLst/>
            </a:prstGeom>
          </p:spPr>
          <p:txBody>
            <a:bodyPr wrap="square">
              <a:spAutoFit/>
            </a:bodyPr>
            <a:lstStyle/>
            <a:p>
              <a:pPr algn="ctr">
                <a:lnSpc>
                  <a:spcPct val="150000"/>
                </a:lnSpc>
              </a:pPr>
              <a:r>
                <a:rPr altLang="en-US" lang="zh-CN" sz="1200">
                  <a:solidFill>
                    <a:schemeClr val="tx1">
                      <a:lumMod val="75000"/>
                      <a:lumOff val="25000"/>
                    </a:schemeClr>
                  </a:solidFill>
                  <a:latin typeface="+mn-ea"/>
                </a:rPr>
                <a:t>这里可以添加主要内容这里可以添加主要内容这里可以添加主要内容</a:t>
              </a:r>
            </a:p>
          </p:txBody>
        </p:sp>
      </p:grpSp>
    </p:spTree>
    <p:extLst>
      <p:ext uri="{BB962C8B-B14F-4D97-AF65-F5344CB8AC3E}">
        <p14:creationId val="3279680159"/>
      </p:ext>
    </p:extLst>
  </p:cSld>
  <p:clrMapOvr>
    <a:masterClrMapping/>
  </p:clrMapOvr>
  <mc:AlternateContent>
    <mc:Choice Requires="p14">
      <p:transition p14:dur="1500" spd="slow">
        <p:random/>
      </p:transition>
    </mc:Choice>
    <mc:Fallback>
      <p:transition spd="slow">
        <p:random/>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decel="100000" fill="hold" grpId="0" id="5" nodeType="withEffect" presetClass="entr" presetID="50" presetSubtype="0">
                                  <p:stCondLst>
                                    <p:cond delay="0"/>
                                  </p:stCondLst>
                                  <p:childTnLst>
                                    <p:set>
                                      <p:cBhvr>
                                        <p:cTn dur="1" fill="hold" id="6">
                                          <p:stCondLst>
                                            <p:cond delay="0"/>
                                          </p:stCondLst>
                                        </p:cTn>
                                        <p:tgtEl>
                                          <p:spTgt spid="10"/>
                                        </p:tgtEl>
                                        <p:attrNameLst>
                                          <p:attrName>style.visibility</p:attrName>
                                        </p:attrNameLst>
                                      </p:cBhvr>
                                      <p:to>
                                        <p:strVal val="visible"/>
                                      </p:to>
                                    </p:set>
                                    <p:anim calcmode="lin" valueType="num">
                                      <p:cBhvr>
                                        <p:cTn dur="1000" fill="hold" id="7"/>
                                        <p:tgtEl>
                                          <p:spTgt spid="10"/>
                                        </p:tgtEl>
                                        <p:attrNameLst>
                                          <p:attrName>ppt_w</p:attrName>
                                        </p:attrNameLst>
                                      </p:cBhvr>
                                      <p:tavLst>
                                        <p:tav tm="0">
                                          <p:val>
                                            <p:strVal val="#ppt_w+.3"/>
                                          </p:val>
                                        </p:tav>
                                        <p:tav tm="100000">
                                          <p:val>
                                            <p:strVal val="#ppt_w"/>
                                          </p:val>
                                        </p:tav>
                                      </p:tavLst>
                                    </p:anim>
                                    <p:anim calcmode="lin" valueType="num">
                                      <p:cBhvr>
                                        <p:cTn dur="1000" fill="hold" id="8"/>
                                        <p:tgtEl>
                                          <p:spTgt spid="10"/>
                                        </p:tgtEl>
                                        <p:attrNameLst>
                                          <p:attrName>ppt_h</p:attrName>
                                        </p:attrNameLst>
                                      </p:cBhvr>
                                      <p:tavLst>
                                        <p:tav tm="0">
                                          <p:val>
                                            <p:strVal val="#ppt_h"/>
                                          </p:val>
                                        </p:tav>
                                        <p:tav tm="100000">
                                          <p:val>
                                            <p:strVal val="#ppt_h"/>
                                          </p:val>
                                        </p:tav>
                                      </p:tavLst>
                                    </p:anim>
                                    <p:animEffect filter="fade" transition="in">
                                      <p:cBhvr>
                                        <p:cTn dur="1000" id="9"/>
                                        <p:tgtEl>
                                          <p:spTgt spid="10"/>
                                        </p:tgtEl>
                                      </p:cBhvr>
                                    </p:animEffect>
                                  </p:childTnLst>
                                </p:cTn>
                              </p:par>
                              <p:par>
                                <p:cTn fill="hold" id="10" nodeType="withEffect" presetClass="entr" presetID="53" presetSubtype="0">
                                  <p:stCondLst>
                                    <p:cond delay="250"/>
                                  </p:stCondLst>
                                  <p:childTnLst>
                                    <p:set>
                                      <p:cBhvr>
                                        <p:cTn dur="1" fill="hold" id="11">
                                          <p:stCondLst>
                                            <p:cond delay="0"/>
                                          </p:stCondLst>
                                        </p:cTn>
                                        <p:tgtEl>
                                          <p:spTgt spid="15"/>
                                        </p:tgtEl>
                                        <p:attrNameLst>
                                          <p:attrName>style.visibility</p:attrName>
                                        </p:attrNameLst>
                                      </p:cBhvr>
                                      <p:to>
                                        <p:strVal val="visible"/>
                                      </p:to>
                                    </p:set>
                                    <p:anim calcmode="lin" valueType="num">
                                      <p:cBhvr>
                                        <p:cTn dur="500" fill="hold" id="12"/>
                                        <p:tgtEl>
                                          <p:spTgt spid="15"/>
                                        </p:tgtEl>
                                        <p:attrNameLst>
                                          <p:attrName>ppt_w</p:attrName>
                                        </p:attrNameLst>
                                      </p:cBhvr>
                                      <p:tavLst>
                                        <p:tav tm="0">
                                          <p:val>
                                            <p:fltVal val="0"/>
                                          </p:val>
                                        </p:tav>
                                        <p:tav tm="100000">
                                          <p:val>
                                            <p:strVal val="#ppt_w"/>
                                          </p:val>
                                        </p:tav>
                                      </p:tavLst>
                                    </p:anim>
                                    <p:anim calcmode="lin" valueType="num">
                                      <p:cBhvr>
                                        <p:cTn dur="500" fill="hold" id="13"/>
                                        <p:tgtEl>
                                          <p:spTgt spid="15"/>
                                        </p:tgtEl>
                                        <p:attrNameLst>
                                          <p:attrName>ppt_h</p:attrName>
                                        </p:attrNameLst>
                                      </p:cBhvr>
                                      <p:tavLst>
                                        <p:tav tm="0">
                                          <p:val>
                                            <p:fltVal val="0"/>
                                          </p:val>
                                        </p:tav>
                                        <p:tav tm="100000">
                                          <p:val>
                                            <p:strVal val="#ppt_h"/>
                                          </p:val>
                                        </p:tav>
                                      </p:tavLst>
                                    </p:anim>
                                    <p:animEffect filter="fade" transition="in">
                                      <p:cBhvr>
                                        <p:cTn dur="500" id="14"/>
                                        <p:tgtEl>
                                          <p:spTgt spid="15"/>
                                        </p:tgtEl>
                                      </p:cBhvr>
                                    </p:animEffect>
                                  </p:childTnLst>
                                </p:cTn>
                              </p:par>
                              <p:par>
                                <p:cTn fill="hold" id="15" nodeType="withEffect" presetClass="entr" presetID="53" presetSubtype="0">
                                  <p:stCondLst>
                                    <p:cond delay="250"/>
                                  </p:stCondLst>
                                  <p:childTnLst>
                                    <p:set>
                                      <p:cBhvr>
                                        <p:cTn dur="1" fill="hold" id="16">
                                          <p:stCondLst>
                                            <p:cond delay="0"/>
                                          </p:stCondLst>
                                        </p:cTn>
                                        <p:tgtEl>
                                          <p:spTgt spid="16"/>
                                        </p:tgtEl>
                                        <p:attrNameLst>
                                          <p:attrName>style.visibility</p:attrName>
                                        </p:attrNameLst>
                                      </p:cBhvr>
                                      <p:to>
                                        <p:strVal val="visible"/>
                                      </p:to>
                                    </p:set>
                                    <p:anim calcmode="lin" valueType="num">
                                      <p:cBhvr>
                                        <p:cTn dur="500" fill="hold" id="17"/>
                                        <p:tgtEl>
                                          <p:spTgt spid="16"/>
                                        </p:tgtEl>
                                        <p:attrNameLst>
                                          <p:attrName>ppt_w</p:attrName>
                                        </p:attrNameLst>
                                      </p:cBhvr>
                                      <p:tavLst>
                                        <p:tav tm="0">
                                          <p:val>
                                            <p:fltVal val="0"/>
                                          </p:val>
                                        </p:tav>
                                        <p:tav tm="100000">
                                          <p:val>
                                            <p:strVal val="#ppt_w"/>
                                          </p:val>
                                        </p:tav>
                                      </p:tavLst>
                                    </p:anim>
                                    <p:anim calcmode="lin" valueType="num">
                                      <p:cBhvr>
                                        <p:cTn dur="500" fill="hold" id="18"/>
                                        <p:tgtEl>
                                          <p:spTgt spid="16"/>
                                        </p:tgtEl>
                                        <p:attrNameLst>
                                          <p:attrName>ppt_h</p:attrName>
                                        </p:attrNameLst>
                                      </p:cBhvr>
                                      <p:tavLst>
                                        <p:tav tm="0">
                                          <p:val>
                                            <p:fltVal val="0"/>
                                          </p:val>
                                        </p:tav>
                                        <p:tav tm="100000">
                                          <p:val>
                                            <p:strVal val="#ppt_h"/>
                                          </p:val>
                                        </p:tav>
                                      </p:tavLst>
                                    </p:anim>
                                    <p:animEffect filter="fade" transition="in">
                                      <p:cBhvr>
                                        <p:cTn dur="500" id="19"/>
                                        <p:tgtEl>
                                          <p:spTgt spid="16"/>
                                        </p:tgtEl>
                                      </p:cBhvr>
                                    </p:animEffect>
                                  </p:childTnLst>
                                </p:cTn>
                              </p:par>
                              <p:par>
                                <p:cTn fill="hold" id="20" nodeType="withEffect" presetClass="entr" presetID="22" presetSubtype="8">
                                  <p:stCondLst>
                                    <p:cond delay="750"/>
                                  </p:stCondLst>
                                  <p:childTnLst>
                                    <p:set>
                                      <p:cBhvr>
                                        <p:cTn dur="1" fill="hold" id="21">
                                          <p:stCondLst>
                                            <p:cond delay="0"/>
                                          </p:stCondLst>
                                        </p:cTn>
                                        <p:tgtEl>
                                          <p:spTgt spid="13"/>
                                        </p:tgtEl>
                                        <p:attrNameLst>
                                          <p:attrName>style.visibility</p:attrName>
                                        </p:attrNameLst>
                                      </p:cBhvr>
                                      <p:to>
                                        <p:strVal val="visible"/>
                                      </p:to>
                                    </p:set>
                                    <p:animEffect filter="wipe(left)" transition="in">
                                      <p:cBhvr>
                                        <p:cTn dur="250" id="22"/>
                                        <p:tgtEl>
                                          <p:spTgt spid="13"/>
                                        </p:tgtEl>
                                      </p:cBhvr>
                                    </p:animEffect>
                                  </p:childTnLst>
                                </p:cTn>
                              </p:par>
                              <p:par>
                                <p:cTn fill="hold" id="23" nodeType="withEffect" presetClass="entr" presetID="22" presetSubtype="2">
                                  <p:stCondLst>
                                    <p:cond delay="750"/>
                                  </p:stCondLst>
                                  <p:childTnLst>
                                    <p:set>
                                      <p:cBhvr>
                                        <p:cTn dur="1" fill="hold" id="24">
                                          <p:stCondLst>
                                            <p:cond delay="0"/>
                                          </p:stCondLst>
                                        </p:cTn>
                                        <p:tgtEl>
                                          <p:spTgt spid="18"/>
                                        </p:tgtEl>
                                        <p:attrNameLst>
                                          <p:attrName>style.visibility</p:attrName>
                                        </p:attrNameLst>
                                      </p:cBhvr>
                                      <p:to>
                                        <p:strVal val="visible"/>
                                      </p:to>
                                    </p:set>
                                    <p:animEffect filter="wipe(right)" transition="in">
                                      <p:cBhvr>
                                        <p:cTn dur="250" id="25"/>
                                        <p:tgtEl>
                                          <p:spTgt spid="18"/>
                                        </p:tgtEl>
                                      </p:cBhvr>
                                    </p:animEffect>
                                  </p:childTnLst>
                                </p:cTn>
                              </p:par>
                            </p:childTnLst>
                          </p:cTn>
                        </p:par>
                        <p:par>
                          <p:cTn fill="hold" id="26" nodeType="afterGroup">
                            <p:stCondLst>
                              <p:cond delay="1000"/>
                            </p:stCondLst>
                            <p:childTnLst>
                              <p:par>
                                <p:cTn fill="hold" id="27" nodeType="afterEffect" presetClass="entr" presetID="22" presetSubtype="8">
                                  <p:stCondLst>
                                    <p:cond delay="0"/>
                                  </p:stCondLst>
                                  <p:childTnLst>
                                    <p:set>
                                      <p:cBhvr>
                                        <p:cTn dur="1" fill="hold" id="28">
                                          <p:stCondLst>
                                            <p:cond delay="0"/>
                                          </p:stCondLst>
                                        </p:cTn>
                                        <p:tgtEl>
                                          <p:spTgt spid="49"/>
                                        </p:tgtEl>
                                        <p:attrNameLst>
                                          <p:attrName>style.visibility</p:attrName>
                                        </p:attrNameLst>
                                      </p:cBhvr>
                                      <p:to>
                                        <p:strVal val="visible"/>
                                      </p:to>
                                    </p:set>
                                    <p:animEffect filter="wipe(left)" transition="in">
                                      <p:cBhvr>
                                        <p:cTn dur="500" id="29"/>
                                        <p:tgtEl>
                                          <p:spTgt spid="49"/>
                                        </p:tgtEl>
                                      </p:cBhvr>
                                    </p:animEffect>
                                  </p:childTnLst>
                                </p:cTn>
                              </p:par>
                            </p:childTnLst>
                          </p:cTn>
                        </p:par>
                        <p:par>
                          <p:cTn fill="hold" id="30" nodeType="afterGroup">
                            <p:stCondLst>
                              <p:cond delay="1500"/>
                            </p:stCondLst>
                            <p:childTnLst>
                              <p:par>
                                <p:cTn fill="hold" grpId="0" id="31" nodeType="afterEffect" presetClass="entr" presetID="53" presetSubtype="0">
                                  <p:stCondLst>
                                    <p:cond delay="0"/>
                                  </p:stCondLst>
                                  <p:childTnLst>
                                    <p:set>
                                      <p:cBhvr>
                                        <p:cTn dur="1" fill="hold" id="32">
                                          <p:stCondLst>
                                            <p:cond delay="0"/>
                                          </p:stCondLst>
                                        </p:cTn>
                                        <p:tgtEl>
                                          <p:spTgt spid="50"/>
                                        </p:tgtEl>
                                        <p:attrNameLst>
                                          <p:attrName>style.visibility</p:attrName>
                                        </p:attrNameLst>
                                      </p:cBhvr>
                                      <p:to>
                                        <p:strVal val="visible"/>
                                      </p:to>
                                    </p:set>
                                    <p:anim calcmode="lin" valueType="num">
                                      <p:cBhvr>
                                        <p:cTn dur="500" fill="hold" id="33"/>
                                        <p:tgtEl>
                                          <p:spTgt spid="50"/>
                                        </p:tgtEl>
                                        <p:attrNameLst>
                                          <p:attrName>ppt_w</p:attrName>
                                        </p:attrNameLst>
                                      </p:cBhvr>
                                      <p:tavLst>
                                        <p:tav tm="0">
                                          <p:val>
                                            <p:fltVal val="0"/>
                                          </p:val>
                                        </p:tav>
                                        <p:tav tm="100000">
                                          <p:val>
                                            <p:strVal val="#ppt_w"/>
                                          </p:val>
                                        </p:tav>
                                      </p:tavLst>
                                    </p:anim>
                                    <p:anim calcmode="lin" valueType="num">
                                      <p:cBhvr>
                                        <p:cTn dur="500" fill="hold" id="34"/>
                                        <p:tgtEl>
                                          <p:spTgt spid="50"/>
                                        </p:tgtEl>
                                        <p:attrNameLst>
                                          <p:attrName>ppt_h</p:attrName>
                                        </p:attrNameLst>
                                      </p:cBhvr>
                                      <p:tavLst>
                                        <p:tav tm="0">
                                          <p:val>
                                            <p:fltVal val="0"/>
                                          </p:val>
                                        </p:tav>
                                        <p:tav tm="100000">
                                          <p:val>
                                            <p:strVal val="#ppt_h"/>
                                          </p:val>
                                        </p:tav>
                                      </p:tavLst>
                                    </p:anim>
                                    <p:animEffect filter="fade" transition="in">
                                      <p:cBhvr>
                                        <p:cTn dur="500" id="35"/>
                                        <p:tgtEl>
                                          <p:spTgt spid="50"/>
                                        </p:tgtEl>
                                      </p:cBhvr>
                                    </p:animEffect>
                                  </p:childTnLst>
                                </p:cTn>
                              </p:par>
                            </p:childTnLst>
                          </p:cTn>
                        </p:par>
                        <p:par>
                          <p:cTn fill="hold" id="36" nodeType="afterGroup">
                            <p:stCondLst>
                              <p:cond delay="2000"/>
                            </p:stCondLst>
                            <p:childTnLst>
                              <p:par>
                                <p:cTn fill="hold" id="37" nodeType="afterEffect" presetClass="entr" presetID="22" presetSubtype="4">
                                  <p:stCondLst>
                                    <p:cond delay="0"/>
                                  </p:stCondLst>
                                  <p:childTnLst>
                                    <p:set>
                                      <p:cBhvr>
                                        <p:cTn dur="1" fill="hold" id="38">
                                          <p:stCondLst>
                                            <p:cond delay="0"/>
                                          </p:stCondLst>
                                        </p:cTn>
                                        <p:tgtEl>
                                          <p:spTgt spid="54"/>
                                        </p:tgtEl>
                                        <p:attrNameLst>
                                          <p:attrName>style.visibility</p:attrName>
                                        </p:attrNameLst>
                                      </p:cBhvr>
                                      <p:to>
                                        <p:strVal val="visible"/>
                                      </p:to>
                                    </p:set>
                                    <p:animEffect filter="wipe(down)" transition="in">
                                      <p:cBhvr>
                                        <p:cTn dur="500" id="39"/>
                                        <p:tgtEl>
                                          <p:spTgt spid="54"/>
                                        </p:tgtEl>
                                      </p:cBhvr>
                                    </p:animEffect>
                                  </p:childTnLst>
                                </p:cTn>
                              </p:par>
                            </p:childTnLst>
                          </p:cTn>
                        </p:par>
                        <p:par>
                          <p:cTn fill="hold" id="40" nodeType="afterGroup">
                            <p:stCondLst>
                              <p:cond delay="2500"/>
                            </p:stCondLst>
                            <p:childTnLst>
                              <p:par>
                                <p:cTn fill="hold" id="41" nodeType="afterEffect" presetClass="entr" presetID="42" presetSubtype="0">
                                  <p:stCondLst>
                                    <p:cond delay="0"/>
                                  </p:stCondLst>
                                  <p:childTnLst>
                                    <p:set>
                                      <p:cBhvr>
                                        <p:cTn dur="1" fill="hold" id="42">
                                          <p:stCondLst>
                                            <p:cond delay="0"/>
                                          </p:stCondLst>
                                        </p:cTn>
                                        <p:tgtEl>
                                          <p:spTgt spid="66"/>
                                        </p:tgtEl>
                                        <p:attrNameLst>
                                          <p:attrName>style.visibility</p:attrName>
                                        </p:attrNameLst>
                                      </p:cBhvr>
                                      <p:to>
                                        <p:strVal val="visible"/>
                                      </p:to>
                                    </p:set>
                                    <p:animEffect filter="fade" transition="in">
                                      <p:cBhvr>
                                        <p:cTn dur="1000" id="43"/>
                                        <p:tgtEl>
                                          <p:spTgt spid="66"/>
                                        </p:tgtEl>
                                      </p:cBhvr>
                                    </p:animEffect>
                                    <p:anim calcmode="lin" valueType="num">
                                      <p:cBhvr>
                                        <p:cTn dur="1000" fill="hold" id="44"/>
                                        <p:tgtEl>
                                          <p:spTgt spid="66"/>
                                        </p:tgtEl>
                                        <p:attrNameLst>
                                          <p:attrName>ppt_x</p:attrName>
                                        </p:attrNameLst>
                                      </p:cBhvr>
                                      <p:tavLst>
                                        <p:tav tm="0">
                                          <p:val>
                                            <p:strVal val="#ppt_x"/>
                                          </p:val>
                                        </p:tav>
                                        <p:tav tm="100000">
                                          <p:val>
                                            <p:strVal val="#ppt_x"/>
                                          </p:val>
                                        </p:tav>
                                      </p:tavLst>
                                    </p:anim>
                                    <p:anim calcmode="lin" valueType="num">
                                      <p:cBhvr>
                                        <p:cTn dur="1000" fill="hold" id="45"/>
                                        <p:tgtEl>
                                          <p:spTgt spid="66"/>
                                        </p:tgtEl>
                                        <p:attrNameLst>
                                          <p:attrName>ppt_y</p:attrName>
                                        </p:attrNameLst>
                                      </p:cBhvr>
                                      <p:tavLst>
                                        <p:tav tm="0">
                                          <p:val>
                                            <p:strVal val="#ppt_y+.1"/>
                                          </p:val>
                                        </p:tav>
                                        <p:tav tm="100000">
                                          <p:val>
                                            <p:strVal val="#ppt_y"/>
                                          </p:val>
                                        </p:tav>
                                      </p:tavLst>
                                    </p:anim>
                                  </p:childTnLst>
                                </p:cTn>
                              </p:par>
                            </p:childTnLst>
                          </p:cTn>
                        </p:par>
                        <p:par>
                          <p:cTn fill="hold" id="46" nodeType="afterGroup">
                            <p:stCondLst>
                              <p:cond delay="3500"/>
                            </p:stCondLst>
                            <p:childTnLst>
                              <p:par>
                                <p:cTn fill="hold" grpId="0" id="47" nodeType="afterEffect" presetClass="entr" presetID="53" presetSubtype="0">
                                  <p:stCondLst>
                                    <p:cond delay="0"/>
                                  </p:stCondLst>
                                  <p:childTnLst>
                                    <p:set>
                                      <p:cBhvr>
                                        <p:cTn dur="1" fill="hold" id="48">
                                          <p:stCondLst>
                                            <p:cond delay="0"/>
                                          </p:stCondLst>
                                        </p:cTn>
                                        <p:tgtEl>
                                          <p:spTgt spid="51"/>
                                        </p:tgtEl>
                                        <p:attrNameLst>
                                          <p:attrName>style.visibility</p:attrName>
                                        </p:attrNameLst>
                                      </p:cBhvr>
                                      <p:to>
                                        <p:strVal val="visible"/>
                                      </p:to>
                                    </p:set>
                                    <p:anim calcmode="lin" valueType="num">
                                      <p:cBhvr>
                                        <p:cTn dur="500" fill="hold" id="49"/>
                                        <p:tgtEl>
                                          <p:spTgt spid="51"/>
                                        </p:tgtEl>
                                        <p:attrNameLst>
                                          <p:attrName>ppt_w</p:attrName>
                                        </p:attrNameLst>
                                      </p:cBhvr>
                                      <p:tavLst>
                                        <p:tav tm="0">
                                          <p:val>
                                            <p:fltVal val="0"/>
                                          </p:val>
                                        </p:tav>
                                        <p:tav tm="100000">
                                          <p:val>
                                            <p:strVal val="#ppt_w"/>
                                          </p:val>
                                        </p:tav>
                                      </p:tavLst>
                                    </p:anim>
                                    <p:anim calcmode="lin" valueType="num">
                                      <p:cBhvr>
                                        <p:cTn dur="500" fill="hold" id="50"/>
                                        <p:tgtEl>
                                          <p:spTgt spid="51"/>
                                        </p:tgtEl>
                                        <p:attrNameLst>
                                          <p:attrName>ppt_h</p:attrName>
                                        </p:attrNameLst>
                                      </p:cBhvr>
                                      <p:tavLst>
                                        <p:tav tm="0">
                                          <p:val>
                                            <p:fltVal val="0"/>
                                          </p:val>
                                        </p:tav>
                                        <p:tav tm="100000">
                                          <p:val>
                                            <p:strVal val="#ppt_h"/>
                                          </p:val>
                                        </p:tav>
                                      </p:tavLst>
                                    </p:anim>
                                    <p:animEffect filter="fade" transition="in">
                                      <p:cBhvr>
                                        <p:cTn dur="500" id="51"/>
                                        <p:tgtEl>
                                          <p:spTgt spid="51"/>
                                        </p:tgtEl>
                                      </p:cBhvr>
                                    </p:animEffect>
                                  </p:childTnLst>
                                </p:cTn>
                              </p:par>
                            </p:childTnLst>
                          </p:cTn>
                        </p:par>
                        <p:par>
                          <p:cTn fill="hold" id="52" nodeType="afterGroup">
                            <p:stCondLst>
                              <p:cond delay="4000"/>
                            </p:stCondLst>
                            <p:childTnLst>
                              <p:par>
                                <p:cTn fill="hold" id="53" nodeType="afterEffect" presetClass="entr" presetID="22" presetSubtype="4">
                                  <p:stCondLst>
                                    <p:cond delay="0"/>
                                  </p:stCondLst>
                                  <p:childTnLst>
                                    <p:set>
                                      <p:cBhvr>
                                        <p:cTn dur="1" fill="hold" id="54">
                                          <p:stCondLst>
                                            <p:cond delay="0"/>
                                          </p:stCondLst>
                                        </p:cTn>
                                        <p:tgtEl>
                                          <p:spTgt spid="57"/>
                                        </p:tgtEl>
                                        <p:attrNameLst>
                                          <p:attrName>style.visibility</p:attrName>
                                        </p:attrNameLst>
                                      </p:cBhvr>
                                      <p:to>
                                        <p:strVal val="visible"/>
                                      </p:to>
                                    </p:set>
                                    <p:animEffect filter="wipe(down)" transition="in">
                                      <p:cBhvr>
                                        <p:cTn dur="500" id="55"/>
                                        <p:tgtEl>
                                          <p:spTgt spid="57"/>
                                        </p:tgtEl>
                                      </p:cBhvr>
                                    </p:animEffect>
                                  </p:childTnLst>
                                </p:cTn>
                              </p:par>
                            </p:childTnLst>
                          </p:cTn>
                        </p:par>
                        <p:par>
                          <p:cTn fill="hold" id="56" nodeType="afterGroup">
                            <p:stCondLst>
                              <p:cond delay="4500"/>
                            </p:stCondLst>
                            <p:childTnLst>
                              <p:par>
                                <p:cTn fill="hold" id="57" nodeType="afterEffect" presetClass="entr" presetID="42" presetSubtype="0">
                                  <p:stCondLst>
                                    <p:cond delay="0"/>
                                  </p:stCondLst>
                                  <p:childTnLst>
                                    <p:set>
                                      <p:cBhvr>
                                        <p:cTn dur="1" fill="hold" id="58">
                                          <p:stCondLst>
                                            <p:cond delay="0"/>
                                          </p:stCondLst>
                                        </p:cTn>
                                        <p:tgtEl>
                                          <p:spTgt spid="69"/>
                                        </p:tgtEl>
                                        <p:attrNameLst>
                                          <p:attrName>style.visibility</p:attrName>
                                        </p:attrNameLst>
                                      </p:cBhvr>
                                      <p:to>
                                        <p:strVal val="visible"/>
                                      </p:to>
                                    </p:set>
                                    <p:animEffect filter="fade" transition="in">
                                      <p:cBhvr>
                                        <p:cTn dur="1000" id="59"/>
                                        <p:tgtEl>
                                          <p:spTgt spid="69"/>
                                        </p:tgtEl>
                                      </p:cBhvr>
                                    </p:animEffect>
                                    <p:anim calcmode="lin" valueType="num">
                                      <p:cBhvr>
                                        <p:cTn dur="1000" fill="hold" id="60"/>
                                        <p:tgtEl>
                                          <p:spTgt spid="69"/>
                                        </p:tgtEl>
                                        <p:attrNameLst>
                                          <p:attrName>ppt_x</p:attrName>
                                        </p:attrNameLst>
                                      </p:cBhvr>
                                      <p:tavLst>
                                        <p:tav tm="0">
                                          <p:val>
                                            <p:strVal val="#ppt_x"/>
                                          </p:val>
                                        </p:tav>
                                        <p:tav tm="100000">
                                          <p:val>
                                            <p:strVal val="#ppt_x"/>
                                          </p:val>
                                        </p:tav>
                                      </p:tavLst>
                                    </p:anim>
                                    <p:anim calcmode="lin" valueType="num">
                                      <p:cBhvr>
                                        <p:cTn dur="1000" fill="hold" id="61"/>
                                        <p:tgtEl>
                                          <p:spTgt spid="69"/>
                                        </p:tgtEl>
                                        <p:attrNameLst>
                                          <p:attrName>ppt_y</p:attrName>
                                        </p:attrNameLst>
                                      </p:cBhvr>
                                      <p:tavLst>
                                        <p:tav tm="0">
                                          <p:val>
                                            <p:strVal val="#ppt_y+.1"/>
                                          </p:val>
                                        </p:tav>
                                        <p:tav tm="100000">
                                          <p:val>
                                            <p:strVal val="#ppt_y"/>
                                          </p:val>
                                        </p:tav>
                                      </p:tavLst>
                                    </p:anim>
                                  </p:childTnLst>
                                </p:cTn>
                              </p:par>
                            </p:childTnLst>
                          </p:cTn>
                        </p:par>
                        <p:par>
                          <p:cTn fill="hold" id="62" nodeType="afterGroup">
                            <p:stCondLst>
                              <p:cond delay="5500"/>
                            </p:stCondLst>
                            <p:childTnLst>
                              <p:par>
                                <p:cTn fill="hold" grpId="0" id="63" nodeType="afterEffect" presetClass="entr" presetID="53" presetSubtype="0">
                                  <p:stCondLst>
                                    <p:cond delay="0"/>
                                  </p:stCondLst>
                                  <p:childTnLst>
                                    <p:set>
                                      <p:cBhvr>
                                        <p:cTn dur="1" fill="hold" id="64">
                                          <p:stCondLst>
                                            <p:cond delay="0"/>
                                          </p:stCondLst>
                                        </p:cTn>
                                        <p:tgtEl>
                                          <p:spTgt spid="52"/>
                                        </p:tgtEl>
                                        <p:attrNameLst>
                                          <p:attrName>style.visibility</p:attrName>
                                        </p:attrNameLst>
                                      </p:cBhvr>
                                      <p:to>
                                        <p:strVal val="visible"/>
                                      </p:to>
                                    </p:set>
                                    <p:anim calcmode="lin" valueType="num">
                                      <p:cBhvr>
                                        <p:cTn dur="500" fill="hold" id="65"/>
                                        <p:tgtEl>
                                          <p:spTgt spid="52"/>
                                        </p:tgtEl>
                                        <p:attrNameLst>
                                          <p:attrName>ppt_w</p:attrName>
                                        </p:attrNameLst>
                                      </p:cBhvr>
                                      <p:tavLst>
                                        <p:tav tm="0">
                                          <p:val>
                                            <p:fltVal val="0"/>
                                          </p:val>
                                        </p:tav>
                                        <p:tav tm="100000">
                                          <p:val>
                                            <p:strVal val="#ppt_w"/>
                                          </p:val>
                                        </p:tav>
                                      </p:tavLst>
                                    </p:anim>
                                    <p:anim calcmode="lin" valueType="num">
                                      <p:cBhvr>
                                        <p:cTn dur="500" fill="hold" id="66"/>
                                        <p:tgtEl>
                                          <p:spTgt spid="52"/>
                                        </p:tgtEl>
                                        <p:attrNameLst>
                                          <p:attrName>ppt_h</p:attrName>
                                        </p:attrNameLst>
                                      </p:cBhvr>
                                      <p:tavLst>
                                        <p:tav tm="0">
                                          <p:val>
                                            <p:fltVal val="0"/>
                                          </p:val>
                                        </p:tav>
                                        <p:tav tm="100000">
                                          <p:val>
                                            <p:strVal val="#ppt_h"/>
                                          </p:val>
                                        </p:tav>
                                      </p:tavLst>
                                    </p:anim>
                                    <p:animEffect filter="fade" transition="in">
                                      <p:cBhvr>
                                        <p:cTn dur="500" id="67"/>
                                        <p:tgtEl>
                                          <p:spTgt spid="52"/>
                                        </p:tgtEl>
                                      </p:cBhvr>
                                    </p:animEffect>
                                  </p:childTnLst>
                                </p:cTn>
                              </p:par>
                            </p:childTnLst>
                          </p:cTn>
                        </p:par>
                        <p:par>
                          <p:cTn fill="hold" id="68" nodeType="afterGroup">
                            <p:stCondLst>
                              <p:cond delay="6000"/>
                            </p:stCondLst>
                            <p:childTnLst>
                              <p:par>
                                <p:cTn fill="hold" id="69" nodeType="afterEffect" presetClass="entr" presetID="22" presetSubtype="4">
                                  <p:stCondLst>
                                    <p:cond delay="0"/>
                                  </p:stCondLst>
                                  <p:childTnLst>
                                    <p:set>
                                      <p:cBhvr>
                                        <p:cTn dur="1" fill="hold" id="70">
                                          <p:stCondLst>
                                            <p:cond delay="0"/>
                                          </p:stCondLst>
                                        </p:cTn>
                                        <p:tgtEl>
                                          <p:spTgt spid="63"/>
                                        </p:tgtEl>
                                        <p:attrNameLst>
                                          <p:attrName>style.visibility</p:attrName>
                                        </p:attrNameLst>
                                      </p:cBhvr>
                                      <p:to>
                                        <p:strVal val="visible"/>
                                      </p:to>
                                    </p:set>
                                    <p:animEffect filter="wipe(down)" transition="in">
                                      <p:cBhvr>
                                        <p:cTn dur="500" id="71"/>
                                        <p:tgtEl>
                                          <p:spTgt spid="63"/>
                                        </p:tgtEl>
                                      </p:cBhvr>
                                    </p:animEffect>
                                  </p:childTnLst>
                                </p:cTn>
                              </p:par>
                            </p:childTnLst>
                          </p:cTn>
                        </p:par>
                        <p:par>
                          <p:cTn fill="hold" id="72" nodeType="afterGroup">
                            <p:stCondLst>
                              <p:cond delay="6500"/>
                            </p:stCondLst>
                            <p:childTnLst>
                              <p:par>
                                <p:cTn fill="hold" id="73" nodeType="afterEffect" presetClass="entr" presetID="42" presetSubtype="0">
                                  <p:stCondLst>
                                    <p:cond delay="0"/>
                                  </p:stCondLst>
                                  <p:childTnLst>
                                    <p:set>
                                      <p:cBhvr>
                                        <p:cTn dur="1" fill="hold" id="74">
                                          <p:stCondLst>
                                            <p:cond delay="0"/>
                                          </p:stCondLst>
                                        </p:cTn>
                                        <p:tgtEl>
                                          <p:spTgt spid="72"/>
                                        </p:tgtEl>
                                        <p:attrNameLst>
                                          <p:attrName>style.visibility</p:attrName>
                                        </p:attrNameLst>
                                      </p:cBhvr>
                                      <p:to>
                                        <p:strVal val="visible"/>
                                      </p:to>
                                    </p:set>
                                    <p:animEffect filter="fade" transition="in">
                                      <p:cBhvr>
                                        <p:cTn dur="1000" id="75"/>
                                        <p:tgtEl>
                                          <p:spTgt spid="72"/>
                                        </p:tgtEl>
                                      </p:cBhvr>
                                    </p:animEffect>
                                    <p:anim calcmode="lin" valueType="num">
                                      <p:cBhvr>
                                        <p:cTn dur="1000" fill="hold" id="76"/>
                                        <p:tgtEl>
                                          <p:spTgt spid="72"/>
                                        </p:tgtEl>
                                        <p:attrNameLst>
                                          <p:attrName>ppt_x</p:attrName>
                                        </p:attrNameLst>
                                      </p:cBhvr>
                                      <p:tavLst>
                                        <p:tav tm="0">
                                          <p:val>
                                            <p:strVal val="#ppt_x"/>
                                          </p:val>
                                        </p:tav>
                                        <p:tav tm="100000">
                                          <p:val>
                                            <p:strVal val="#ppt_x"/>
                                          </p:val>
                                        </p:tav>
                                      </p:tavLst>
                                    </p:anim>
                                    <p:anim calcmode="lin" valueType="num">
                                      <p:cBhvr>
                                        <p:cTn dur="1000" fill="hold" id="77"/>
                                        <p:tgtEl>
                                          <p:spTgt spid="72"/>
                                        </p:tgtEl>
                                        <p:attrNameLst>
                                          <p:attrName>ppt_y</p:attrName>
                                        </p:attrNameLst>
                                      </p:cBhvr>
                                      <p:tavLst>
                                        <p:tav tm="0">
                                          <p:val>
                                            <p:strVal val="#ppt_y+.1"/>
                                          </p:val>
                                        </p:tav>
                                        <p:tav tm="100000">
                                          <p:val>
                                            <p:strVal val="#ppt_y"/>
                                          </p:val>
                                        </p:tav>
                                      </p:tavLst>
                                    </p:anim>
                                  </p:childTnLst>
                                </p:cTn>
                              </p:par>
                            </p:childTnLst>
                          </p:cTn>
                        </p:par>
                        <p:par>
                          <p:cTn fill="hold" id="78" nodeType="afterGroup">
                            <p:stCondLst>
                              <p:cond delay="7500"/>
                            </p:stCondLst>
                            <p:childTnLst>
                              <p:par>
                                <p:cTn fill="hold" grpId="0" id="79" nodeType="afterEffect" presetClass="entr" presetID="53" presetSubtype="0">
                                  <p:stCondLst>
                                    <p:cond delay="0"/>
                                  </p:stCondLst>
                                  <p:childTnLst>
                                    <p:set>
                                      <p:cBhvr>
                                        <p:cTn dur="1" fill="hold" id="80">
                                          <p:stCondLst>
                                            <p:cond delay="0"/>
                                          </p:stCondLst>
                                        </p:cTn>
                                        <p:tgtEl>
                                          <p:spTgt spid="53"/>
                                        </p:tgtEl>
                                        <p:attrNameLst>
                                          <p:attrName>style.visibility</p:attrName>
                                        </p:attrNameLst>
                                      </p:cBhvr>
                                      <p:to>
                                        <p:strVal val="visible"/>
                                      </p:to>
                                    </p:set>
                                    <p:anim calcmode="lin" valueType="num">
                                      <p:cBhvr>
                                        <p:cTn dur="500" fill="hold" id="81"/>
                                        <p:tgtEl>
                                          <p:spTgt spid="53"/>
                                        </p:tgtEl>
                                        <p:attrNameLst>
                                          <p:attrName>ppt_w</p:attrName>
                                        </p:attrNameLst>
                                      </p:cBhvr>
                                      <p:tavLst>
                                        <p:tav tm="0">
                                          <p:val>
                                            <p:fltVal val="0"/>
                                          </p:val>
                                        </p:tav>
                                        <p:tav tm="100000">
                                          <p:val>
                                            <p:strVal val="#ppt_w"/>
                                          </p:val>
                                        </p:tav>
                                      </p:tavLst>
                                    </p:anim>
                                    <p:anim calcmode="lin" valueType="num">
                                      <p:cBhvr>
                                        <p:cTn dur="500" fill="hold" id="82"/>
                                        <p:tgtEl>
                                          <p:spTgt spid="53"/>
                                        </p:tgtEl>
                                        <p:attrNameLst>
                                          <p:attrName>ppt_h</p:attrName>
                                        </p:attrNameLst>
                                      </p:cBhvr>
                                      <p:tavLst>
                                        <p:tav tm="0">
                                          <p:val>
                                            <p:fltVal val="0"/>
                                          </p:val>
                                        </p:tav>
                                        <p:tav tm="100000">
                                          <p:val>
                                            <p:strVal val="#ppt_h"/>
                                          </p:val>
                                        </p:tav>
                                      </p:tavLst>
                                    </p:anim>
                                    <p:animEffect filter="fade" transition="in">
                                      <p:cBhvr>
                                        <p:cTn dur="500" id="83"/>
                                        <p:tgtEl>
                                          <p:spTgt spid="53"/>
                                        </p:tgtEl>
                                      </p:cBhvr>
                                    </p:animEffect>
                                  </p:childTnLst>
                                </p:cTn>
                              </p:par>
                            </p:childTnLst>
                          </p:cTn>
                        </p:par>
                        <p:par>
                          <p:cTn fill="hold" id="84" nodeType="afterGroup">
                            <p:stCondLst>
                              <p:cond delay="8000"/>
                            </p:stCondLst>
                            <p:childTnLst>
                              <p:par>
                                <p:cTn fill="hold" id="85" nodeType="afterEffect" presetClass="entr" presetID="22" presetSubtype="4">
                                  <p:stCondLst>
                                    <p:cond delay="0"/>
                                  </p:stCondLst>
                                  <p:childTnLst>
                                    <p:set>
                                      <p:cBhvr>
                                        <p:cTn dur="1" fill="hold" id="86">
                                          <p:stCondLst>
                                            <p:cond delay="0"/>
                                          </p:stCondLst>
                                        </p:cTn>
                                        <p:tgtEl>
                                          <p:spTgt spid="60"/>
                                        </p:tgtEl>
                                        <p:attrNameLst>
                                          <p:attrName>style.visibility</p:attrName>
                                        </p:attrNameLst>
                                      </p:cBhvr>
                                      <p:to>
                                        <p:strVal val="visible"/>
                                      </p:to>
                                    </p:set>
                                    <p:animEffect filter="wipe(down)" transition="in">
                                      <p:cBhvr>
                                        <p:cTn dur="500" id="87"/>
                                        <p:tgtEl>
                                          <p:spTgt spid="60"/>
                                        </p:tgtEl>
                                      </p:cBhvr>
                                    </p:animEffect>
                                  </p:childTnLst>
                                </p:cTn>
                              </p:par>
                            </p:childTnLst>
                          </p:cTn>
                        </p:par>
                        <p:par>
                          <p:cTn fill="hold" id="88" nodeType="afterGroup">
                            <p:stCondLst>
                              <p:cond delay="8500"/>
                            </p:stCondLst>
                            <p:childTnLst>
                              <p:par>
                                <p:cTn fill="hold" id="89" nodeType="afterEffect" presetClass="entr" presetID="42" presetSubtype="0">
                                  <p:stCondLst>
                                    <p:cond delay="0"/>
                                  </p:stCondLst>
                                  <p:childTnLst>
                                    <p:set>
                                      <p:cBhvr>
                                        <p:cTn dur="1" fill="hold" id="90">
                                          <p:stCondLst>
                                            <p:cond delay="0"/>
                                          </p:stCondLst>
                                        </p:cTn>
                                        <p:tgtEl>
                                          <p:spTgt spid="75"/>
                                        </p:tgtEl>
                                        <p:attrNameLst>
                                          <p:attrName>style.visibility</p:attrName>
                                        </p:attrNameLst>
                                      </p:cBhvr>
                                      <p:to>
                                        <p:strVal val="visible"/>
                                      </p:to>
                                    </p:set>
                                    <p:animEffect filter="fade" transition="in">
                                      <p:cBhvr>
                                        <p:cTn dur="1000" id="91"/>
                                        <p:tgtEl>
                                          <p:spTgt spid="75"/>
                                        </p:tgtEl>
                                      </p:cBhvr>
                                    </p:animEffect>
                                    <p:anim calcmode="lin" valueType="num">
                                      <p:cBhvr>
                                        <p:cTn dur="1000" fill="hold" id="92"/>
                                        <p:tgtEl>
                                          <p:spTgt spid="75"/>
                                        </p:tgtEl>
                                        <p:attrNameLst>
                                          <p:attrName>ppt_x</p:attrName>
                                        </p:attrNameLst>
                                      </p:cBhvr>
                                      <p:tavLst>
                                        <p:tav tm="0">
                                          <p:val>
                                            <p:strVal val="#ppt_x"/>
                                          </p:val>
                                        </p:tav>
                                        <p:tav tm="100000">
                                          <p:val>
                                            <p:strVal val="#ppt_x"/>
                                          </p:val>
                                        </p:tav>
                                      </p:tavLst>
                                    </p:anim>
                                    <p:anim calcmode="lin" valueType="num">
                                      <p:cBhvr>
                                        <p:cTn dur="1000" fill="hold" id="93"/>
                                        <p:tgtEl>
                                          <p:spTgt spid="75"/>
                                        </p:tgtEl>
                                        <p:attrNameLst>
                                          <p:attrName>ppt_y</p:attrName>
                                        </p:attrNameLst>
                                      </p:cBhvr>
                                      <p:tavLst>
                                        <p:tav tm="0">
                                          <p:val>
                                            <p:strVal val="#ppt_y+.1"/>
                                          </p:val>
                                        </p:tav>
                                        <p:tav tm="100000">
                                          <p:val>
                                            <p:strVal val="#ppt_y"/>
                                          </p:val>
                                        </p:tav>
                                      </p:tavLst>
                                    </p:anim>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10"/>
      <p:bldP grpId="0" spid="50"/>
      <p:bldP grpId="0" spid="51"/>
      <p:bldP grpId="0" spid="52"/>
      <p:bldP grpId="0" spid="53"/>
    </p:bldLst>
  </p:timing>
</p:sld>
</file>

<file path=ppt/slides/slide16.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7" name="椭圆 6">
            <a:extLst>
              <a:ext uri="{FF2B5EF4-FFF2-40B4-BE49-F238E27FC236}">
                <a16:creationId xmlns:a16="http://schemas.microsoft.com/office/drawing/2014/main" id="{97F35CCF-B1AD-40AD-9D77-E1886CA3C847}"/>
              </a:ext>
            </a:extLst>
          </p:cNvPr>
          <p:cNvSpPr/>
          <p:nvPr/>
        </p:nvSpPr>
        <p:spPr>
          <a:xfrm>
            <a:off x="11325281" y="5957455"/>
            <a:ext cx="1193212" cy="1193212"/>
          </a:xfrm>
          <a:prstGeom prst="ellipse">
            <a:avLst/>
          </a:prstGeom>
          <a:solidFill>
            <a:srgbClr val="A0CBD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10" name="文本框 9">
            <a:extLst>
              <a:ext uri="{FF2B5EF4-FFF2-40B4-BE49-F238E27FC236}">
                <a16:creationId xmlns:a16="http://schemas.microsoft.com/office/drawing/2014/main" id="{3EF1E9ED-80AB-4909-8BA5-A43F4FCE2334}"/>
              </a:ext>
            </a:extLst>
          </p:cNvPr>
          <p:cNvSpPr txBox="1"/>
          <p:nvPr/>
        </p:nvSpPr>
        <p:spPr>
          <a:xfrm>
            <a:off x="4133850" y="390618"/>
            <a:ext cx="3924300" cy="640080"/>
          </a:xfrm>
          <a:prstGeom prst="rect">
            <a:avLst/>
          </a:prstGeom>
          <a:noFill/>
        </p:spPr>
        <p:txBody>
          <a:bodyPr rtlCol="0" wrap="square">
            <a:spAutoFit/>
          </a:bodyPr>
          <a:lstStyle/>
          <a:p>
            <a:pPr algn="ctr"/>
            <a:r>
              <a:rPr altLang="en-US" lang="zh-CN" sz="3600">
                <a:solidFill>
                  <a:schemeClr val="tx1">
                    <a:lumMod val="85000"/>
                    <a:lumOff val="15000"/>
                  </a:schemeClr>
                </a:solidFill>
                <a:latin charset="-122" panose="02000500000000000000" pitchFamily="2" typeface="方正雅士黑 简"/>
                <a:ea charset="-122" panose="02000500000000000000" pitchFamily="2" typeface="方正雅士黑 简"/>
              </a:rPr>
              <a:t>工作经验总结</a:t>
            </a:r>
          </a:p>
        </p:txBody>
      </p:sp>
      <p:cxnSp>
        <p:nvCxnSpPr>
          <p:cNvPr id="13" name="直接连接符 12">
            <a:extLst>
              <a:ext uri="{FF2B5EF4-FFF2-40B4-BE49-F238E27FC236}">
                <a16:creationId xmlns:a16="http://schemas.microsoft.com/office/drawing/2014/main" id="{63C006F1-C17E-4B5D-A667-14B1AFD009FE}"/>
              </a:ext>
            </a:extLst>
          </p:cNvPr>
          <p:cNvCxnSpPr/>
          <p:nvPr/>
        </p:nvCxnSpPr>
        <p:spPr>
          <a:xfrm>
            <a:off x="7791452" y="683005"/>
            <a:ext cx="571498" cy="0"/>
          </a:xfrm>
          <a:prstGeom prst="line">
            <a:avLst/>
          </a:prstGeom>
          <a:ln cap="rnd" w="19050">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pic>
        <p:nvPicPr>
          <p:cNvPr id="15" name="图形 14">
            <a:extLst>
              <a:ext uri="{FF2B5EF4-FFF2-40B4-BE49-F238E27FC236}">
                <a16:creationId xmlns:a16="http://schemas.microsoft.com/office/drawing/2014/main" id="{D0B6809A-9193-440B-AB59-9B5857A764E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314825" y="597280"/>
            <a:ext cx="171450" cy="171450"/>
          </a:xfrm>
          <a:prstGeom prst="rect">
            <a:avLst/>
          </a:prstGeom>
        </p:spPr>
      </p:pic>
      <p:pic>
        <p:nvPicPr>
          <p:cNvPr id="16" name="图形 15">
            <a:extLst>
              <a:ext uri="{FF2B5EF4-FFF2-40B4-BE49-F238E27FC236}">
                <a16:creationId xmlns:a16="http://schemas.microsoft.com/office/drawing/2014/main" id="{1508760C-4270-4AAF-AD1C-A51CD87667C3}"/>
              </a:ext>
            </a:extLst>
          </p:cNvPr>
          <p:cNvPicPr>
            <a:picLocks noChangeAspect="1"/>
          </p:cNvPicPr>
          <p:nvPr/>
        </p:nvPicPr>
        <p:blipFill>
          <a:blip r:embed="rId3">
            <a:extLst>
              <a:ext uri="{96DAC541-7B7A-43D3-8B79-37D633B846F1}">
                <asvg:svgBlip xmlns:asvg="http://schemas.microsoft.com/office/drawing/2016/SVG/main" r:embed="rId5"/>
              </a:ext>
            </a:extLst>
          </a:blip>
          <a:stretch>
            <a:fillRect/>
          </a:stretch>
        </p:blipFill>
        <p:spPr>
          <a:xfrm>
            <a:off x="7705727" y="597280"/>
            <a:ext cx="171450" cy="171450"/>
          </a:xfrm>
          <a:prstGeom prst="rect">
            <a:avLst/>
          </a:prstGeom>
        </p:spPr>
      </p:pic>
      <p:cxnSp>
        <p:nvCxnSpPr>
          <p:cNvPr id="18" name="直接连接符 17">
            <a:extLst>
              <a:ext uri="{FF2B5EF4-FFF2-40B4-BE49-F238E27FC236}">
                <a16:creationId xmlns:a16="http://schemas.microsoft.com/office/drawing/2014/main" id="{D59B9B17-AB83-41D0-BA0B-C09A6571714C}"/>
              </a:ext>
            </a:extLst>
          </p:cNvPr>
          <p:cNvCxnSpPr/>
          <p:nvPr/>
        </p:nvCxnSpPr>
        <p:spPr>
          <a:xfrm>
            <a:off x="3829052" y="683005"/>
            <a:ext cx="571498" cy="0"/>
          </a:xfrm>
          <a:prstGeom prst="line">
            <a:avLst/>
          </a:prstGeom>
          <a:ln cap="rnd" w="19050">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pic>
        <p:nvPicPr>
          <p:cNvPr id="11" name="图形 10">
            <a:extLst>
              <a:ext uri="{FF2B5EF4-FFF2-40B4-BE49-F238E27FC236}">
                <a16:creationId xmlns:a16="http://schemas.microsoft.com/office/drawing/2014/main" id="{E1E887FF-8850-4D33-8F22-CAEB6902B244}"/>
              </a:ext>
            </a:extLst>
          </p:cNvPr>
          <p:cNvPicPr>
            <a:picLocks noChangeAspect="1"/>
          </p:cNvPicPr>
          <p:nvPr/>
        </p:nvPicPr>
        <p:blipFill>
          <a:blip r:embed="rId6">
            <a:extLst>
              <a:ext uri="{96DAC541-7B7A-43D3-8B79-37D633B846F1}">
                <asvg:svgBlip xmlns:asvg="http://schemas.microsoft.com/office/drawing/2016/SVG/main" r:embed="rId7"/>
              </a:ext>
            </a:extLst>
          </a:blip>
          <a:srcRect b="5670" l="19172" r="22017" t="1040"/>
          <a:stretch>
            <a:fillRect/>
          </a:stretch>
        </p:blipFill>
        <p:spPr>
          <a:xfrm>
            <a:off x="11287125" y="5671165"/>
            <a:ext cx="742156" cy="976539"/>
          </a:xfrm>
          <a:custGeom>
            <a:rect b="b" l="l" r="r" t="t"/>
            <a:pathLst>
              <a:path h="1297335" w="1036327">
                <a:moveTo>
                  <a:pt x="507467" y="0"/>
                </a:moveTo>
                <a:cubicBezTo>
                  <a:pt x="671202" y="0"/>
                  <a:pt x="789583" y="30522"/>
                  <a:pt x="862608" y="91567"/>
                </a:cubicBezTo>
                <a:cubicBezTo>
                  <a:pt x="935633" y="152611"/>
                  <a:pt x="972145" y="229345"/>
                  <a:pt x="972145" y="321767"/>
                </a:cubicBezTo>
                <a:cubicBezTo>
                  <a:pt x="972145" y="375965"/>
                  <a:pt x="957312" y="425029"/>
                  <a:pt x="927646" y="468958"/>
                </a:cubicBezTo>
                <a:cubicBezTo>
                  <a:pt x="897979" y="512887"/>
                  <a:pt x="853194" y="551396"/>
                  <a:pt x="793291" y="584486"/>
                </a:cubicBezTo>
                <a:cubicBezTo>
                  <a:pt x="841784" y="596466"/>
                  <a:pt x="878867" y="610444"/>
                  <a:pt x="904540" y="626418"/>
                </a:cubicBezTo>
                <a:cubicBezTo>
                  <a:pt x="946187" y="652091"/>
                  <a:pt x="978564" y="685894"/>
                  <a:pt x="1001669" y="727826"/>
                </a:cubicBezTo>
                <a:cubicBezTo>
                  <a:pt x="1024775" y="769758"/>
                  <a:pt x="1036328" y="819820"/>
                  <a:pt x="1036328" y="878012"/>
                </a:cubicBezTo>
                <a:cubicBezTo>
                  <a:pt x="1036328" y="951037"/>
                  <a:pt x="1017215" y="1021067"/>
                  <a:pt x="978991" y="1088102"/>
                </a:cubicBezTo>
                <a:cubicBezTo>
                  <a:pt x="940767" y="1155136"/>
                  <a:pt x="885713" y="1206767"/>
                  <a:pt x="813829" y="1242994"/>
                </a:cubicBezTo>
                <a:cubicBezTo>
                  <a:pt x="741945" y="1279222"/>
                  <a:pt x="647526" y="1297335"/>
                  <a:pt x="530572" y="1297335"/>
                </a:cubicBezTo>
                <a:cubicBezTo>
                  <a:pt x="416471" y="1297335"/>
                  <a:pt x="326473" y="1283928"/>
                  <a:pt x="260580" y="1257114"/>
                </a:cubicBezTo>
                <a:cubicBezTo>
                  <a:pt x="194686" y="1230301"/>
                  <a:pt x="140488" y="1191078"/>
                  <a:pt x="97985" y="1139447"/>
                </a:cubicBezTo>
                <a:cubicBezTo>
                  <a:pt x="55482" y="1087816"/>
                  <a:pt x="22820" y="1022921"/>
                  <a:pt x="0" y="944761"/>
                </a:cubicBezTo>
                <a:lnTo>
                  <a:pt x="348295" y="898550"/>
                </a:lnTo>
                <a:cubicBezTo>
                  <a:pt x="361987" y="968723"/>
                  <a:pt x="383239" y="1017359"/>
                  <a:pt x="412049" y="1044458"/>
                </a:cubicBezTo>
                <a:cubicBezTo>
                  <a:pt x="440860" y="1071557"/>
                  <a:pt x="477515" y="1085106"/>
                  <a:pt x="522015" y="1085106"/>
                </a:cubicBezTo>
                <a:cubicBezTo>
                  <a:pt x="568796" y="1085106"/>
                  <a:pt x="607734" y="1067991"/>
                  <a:pt x="638826" y="1033761"/>
                </a:cubicBezTo>
                <a:cubicBezTo>
                  <a:pt x="669919" y="999530"/>
                  <a:pt x="685465" y="953890"/>
                  <a:pt x="685465" y="896839"/>
                </a:cubicBezTo>
                <a:cubicBezTo>
                  <a:pt x="685465" y="838647"/>
                  <a:pt x="670489" y="793577"/>
                  <a:pt x="640538" y="761628"/>
                </a:cubicBezTo>
                <a:cubicBezTo>
                  <a:pt x="610586" y="729680"/>
                  <a:pt x="569937" y="713706"/>
                  <a:pt x="518592" y="713706"/>
                </a:cubicBezTo>
                <a:cubicBezTo>
                  <a:pt x="491207" y="713706"/>
                  <a:pt x="453554" y="720552"/>
                  <a:pt x="405631" y="734244"/>
                </a:cubicBezTo>
                <a:lnTo>
                  <a:pt x="423602" y="485217"/>
                </a:lnTo>
                <a:cubicBezTo>
                  <a:pt x="442999" y="488070"/>
                  <a:pt x="458118" y="489496"/>
                  <a:pt x="468957" y="489496"/>
                </a:cubicBezTo>
                <a:cubicBezTo>
                  <a:pt x="514598" y="489496"/>
                  <a:pt x="552679" y="474948"/>
                  <a:pt x="583202" y="445852"/>
                </a:cubicBezTo>
                <a:cubicBezTo>
                  <a:pt x="613724" y="416756"/>
                  <a:pt x="628985" y="382241"/>
                  <a:pt x="628985" y="342305"/>
                </a:cubicBezTo>
                <a:cubicBezTo>
                  <a:pt x="628985" y="304081"/>
                  <a:pt x="617575" y="273559"/>
                  <a:pt x="594754" y="250739"/>
                </a:cubicBezTo>
                <a:cubicBezTo>
                  <a:pt x="571934" y="227918"/>
                  <a:pt x="540556" y="216508"/>
                  <a:pt x="500621" y="216508"/>
                </a:cubicBezTo>
                <a:cubicBezTo>
                  <a:pt x="459544" y="216508"/>
                  <a:pt x="426169" y="228917"/>
                  <a:pt x="400497" y="253734"/>
                </a:cubicBezTo>
                <a:cubicBezTo>
                  <a:pt x="374824" y="278551"/>
                  <a:pt x="357423" y="322052"/>
                  <a:pt x="348295" y="384237"/>
                </a:cubicBezTo>
                <a:lnTo>
                  <a:pt x="18827" y="325190"/>
                </a:lnTo>
                <a:cubicBezTo>
                  <a:pt x="46211" y="220216"/>
                  <a:pt x="98841" y="139775"/>
                  <a:pt x="176715" y="83865"/>
                </a:cubicBezTo>
                <a:cubicBezTo>
                  <a:pt x="254589" y="27955"/>
                  <a:pt x="364840" y="0"/>
                  <a:pt x="507467" y="0"/>
                </a:cubicBezTo>
                <a:close/>
              </a:path>
            </a:pathLst>
          </a:custGeom>
        </p:spPr>
      </p:pic>
      <p:sp>
        <p:nvSpPr>
          <p:cNvPr id="12" name="î$ļîḋé">
            <a:extLst>
              <a:ext uri="{FF2B5EF4-FFF2-40B4-BE49-F238E27FC236}">
                <a16:creationId xmlns:a16="http://schemas.microsoft.com/office/drawing/2014/main" id="{E3F7D148-1ECF-4611-8B89-72943EC2F9FC}"/>
              </a:ext>
            </a:extLst>
          </p:cNvPr>
          <p:cNvSpPr/>
          <p:nvPr/>
        </p:nvSpPr>
        <p:spPr bwMode="auto">
          <a:xfrm>
            <a:off x="1186928" y="4220730"/>
            <a:ext cx="1738313" cy="1736725"/>
          </a:xfrm>
          <a:prstGeom prst="ellipse">
            <a:avLst/>
          </a:prstGeom>
          <a:solidFill>
            <a:srgbClr val="F2F2F2"/>
          </a:solidFill>
          <a:ln>
            <a:noFill/>
          </a:ln>
          <a:extLst>
            <a:ext uri="{91240B29-F687-4F45-9708-019B960494DF}">
              <a14:hiddenLine w="9525">
                <a:solidFill>
                  <a:srgbClr val="000000"/>
                </a:solidFill>
                <a:round/>
                <a:headEnd/>
                <a:tailEnd/>
              </a14:hiddenLine>
            </a:ext>
          </a:extLst>
        </p:spPr>
        <p:txBody>
          <a:bodyPr anchor="ctr"/>
          <a:lstStyle/>
          <a:p>
            <a:pPr algn="ctr"/>
            <a:endParaRPr/>
          </a:p>
        </p:txBody>
      </p:sp>
      <p:sp>
        <p:nvSpPr>
          <p:cNvPr id="14" name="í$ḻïďé">
            <a:extLst>
              <a:ext uri="{FF2B5EF4-FFF2-40B4-BE49-F238E27FC236}">
                <a16:creationId xmlns:a16="http://schemas.microsoft.com/office/drawing/2014/main" id="{8BBDD922-86E2-4BC4-9D2A-CF595D94F367}"/>
              </a:ext>
            </a:extLst>
          </p:cNvPr>
          <p:cNvSpPr/>
          <p:nvPr/>
        </p:nvSpPr>
        <p:spPr bwMode="auto">
          <a:xfrm>
            <a:off x="1271066" y="1802968"/>
            <a:ext cx="3675063" cy="3671888"/>
          </a:xfrm>
          <a:custGeom>
            <a:gdLst>
              <a:gd fmla="*/ 1174 w 2348" name="T0"/>
              <a:gd fmla="*/ 2348 h 2349" name="T1"/>
              <a:gd fmla="*/ 0 w 2348" name="T2"/>
              <a:gd fmla="*/ 1174 h 2349" name="T3"/>
              <a:gd fmla="*/ 1174 w 2348" name="T4"/>
              <a:gd fmla="*/ 0 h 2349" name="T5"/>
              <a:gd fmla="*/ 2348 w 2348" name="T6"/>
              <a:gd fmla="*/ 1174 h 2349" name="T7"/>
              <a:gd fmla="*/ 2004 w 2348" name="T8"/>
              <a:gd fmla="*/ 2004 h 2349" name="T9"/>
              <a:gd fmla="*/ 1174 w 2348" name="T10"/>
              <a:gd fmla="*/ 2348 h 2349" name="T11"/>
              <a:gd fmla="*/ 1174 w 2348" name="T12"/>
              <a:gd fmla="*/ 9 h 2349" name="T13"/>
              <a:gd fmla="*/ 9 w 2348" name="T14"/>
              <a:gd fmla="*/ 1174 h 2349" name="T15"/>
              <a:gd fmla="*/ 1174 w 2348" name="T16"/>
              <a:gd fmla="*/ 2339 h 2349" name="T17"/>
              <a:gd fmla="*/ 2339 w 2348" name="T18"/>
              <a:gd fmla="*/ 1174 h 2349" name="T19"/>
              <a:gd fmla="*/ 1174 w 2348" name="T20"/>
              <a:gd fmla="*/ 9 h 2349" name="T2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b="b" l="0" r="r" t="0"/>
            <a:pathLst>
              <a:path h="2349" w="2348">
                <a:moveTo>
                  <a:pt x="1174" y="2348"/>
                </a:moveTo>
                <a:cubicBezTo>
                  <a:pt x="525" y="2348"/>
                  <a:pt x="0" y="1823"/>
                  <a:pt x="0" y="1174"/>
                </a:cubicBezTo>
                <a:cubicBezTo>
                  <a:pt x="0" y="526"/>
                  <a:pt x="525" y="0"/>
                  <a:pt x="1174" y="0"/>
                </a:cubicBezTo>
                <a:cubicBezTo>
                  <a:pt x="1822" y="0"/>
                  <a:pt x="2348" y="526"/>
                  <a:pt x="2348" y="1174"/>
                </a:cubicBezTo>
                <a:cubicBezTo>
                  <a:pt x="2348" y="1486"/>
                  <a:pt x="2224" y="1784"/>
                  <a:pt x="2004" y="2004"/>
                </a:cubicBezTo>
                <a:cubicBezTo>
                  <a:pt x="1784" y="2225"/>
                  <a:pt x="1485" y="2349"/>
                  <a:pt x="1174" y="2348"/>
                </a:cubicBezTo>
                <a:close/>
                <a:moveTo>
                  <a:pt x="1174" y="9"/>
                </a:moveTo>
                <a:cubicBezTo>
                  <a:pt x="531" y="9"/>
                  <a:pt x="9" y="532"/>
                  <a:pt x="9" y="1174"/>
                </a:cubicBezTo>
                <a:cubicBezTo>
                  <a:pt x="9" y="1817"/>
                  <a:pt x="531" y="2339"/>
                  <a:pt x="1174" y="2339"/>
                </a:cubicBezTo>
                <a:cubicBezTo>
                  <a:pt x="1816" y="2339"/>
                  <a:pt x="2339" y="1817"/>
                  <a:pt x="2339" y="1174"/>
                </a:cubicBezTo>
                <a:cubicBezTo>
                  <a:pt x="2339" y="532"/>
                  <a:pt x="1816" y="9"/>
                  <a:pt x="1174" y="9"/>
                </a:cubicBezTo>
                <a:close/>
              </a:path>
            </a:pathLst>
          </a:custGeom>
          <a:solidFill>
            <a:schemeClr val="bg1">
              <a:lumMod val="50000"/>
            </a:schemeClr>
          </a:solidFill>
          <a:ln>
            <a:noFill/>
          </a:ln>
        </p:spPr>
        <p:txBody>
          <a:bodyPr anchor="ctr"/>
          <a:lstStyle/>
          <a:p>
            <a:pPr algn="ctr"/>
            <a:endParaRPr/>
          </a:p>
        </p:txBody>
      </p:sp>
      <p:grpSp>
        <p:nvGrpSpPr>
          <p:cNvPr id="6" name="组合 5">
            <a:extLst>
              <a:ext uri="{FF2B5EF4-FFF2-40B4-BE49-F238E27FC236}">
                <a16:creationId xmlns:a16="http://schemas.microsoft.com/office/drawing/2014/main" id="{46C50400-D9F6-48AC-BA3B-06B35F9AEFE5}"/>
              </a:ext>
            </a:extLst>
          </p:cNvPr>
          <p:cNvGrpSpPr/>
          <p:nvPr/>
        </p:nvGrpSpPr>
        <p:grpSpPr>
          <a:xfrm>
            <a:off x="2150541" y="2553855"/>
            <a:ext cx="1916113" cy="2170113"/>
            <a:chOff x="2150541" y="2553855"/>
            <a:chExt cx="1916113" cy="2170113"/>
          </a:xfrm>
        </p:grpSpPr>
        <p:sp>
          <p:nvSpPr>
            <p:cNvPr id="19" name="ïśḷidê">
              <a:extLst>
                <a:ext uri="{FF2B5EF4-FFF2-40B4-BE49-F238E27FC236}">
                  <a16:creationId xmlns:a16="http://schemas.microsoft.com/office/drawing/2014/main" id="{1292B48C-9EF7-4433-9ADD-046DB018FFC3}"/>
                </a:ext>
              </a:extLst>
            </p:cNvPr>
            <p:cNvSpPr/>
            <p:nvPr/>
          </p:nvSpPr>
          <p:spPr bwMode="auto">
            <a:xfrm>
              <a:off x="2150541" y="2553855"/>
              <a:ext cx="1916113" cy="2170113"/>
            </a:xfrm>
            <a:custGeom>
              <a:gdLst>
                <a:gd fmla="*/ 1207 w 1207" name="T0"/>
                <a:gd fmla="*/ 1050 h 1367" name="T1"/>
                <a:gd fmla="*/ 1206 w 1207" name="T2"/>
                <a:gd fmla="*/ 1050 h 1367" name="T3"/>
                <a:gd fmla="*/ 636 w 1207" name="T4"/>
                <a:gd fmla="*/ 1367 h 1367" name="T5"/>
                <a:gd fmla="*/ 11 w 1207" name="T6"/>
                <a:gd fmla="*/ 1054 h 1367" name="T7"/>
                <a:gd fmla="*/ 0 w 1207" name="T8"/>
                <a:gd fmla="*/ 1050 h 1367" name="T9"/>
                <a:gd fmla="*/ 33 w 1207" name="T10"/>
                <a:gd fmla="*/ 402 h 1367" name="T11"/>
                <a:gd fmla="*/ 597 w 1207" name="T12"/>
                <a:gd fmla="*/ 0 h 1367" name="T13"/>
                <a:gd fmla="*/ 604 w 1207" name="T14"/>
                <a:gd fmla="*/ 4 h 1367" name="T15"/>
                <a:gd fmla="*/ 1187 w 1207" name="T16"/>
                <a:gd fmla="*/ 369 h 1367" name="T17"/>
                <a:gd fmla="*/ 1207 w 1207" name="T18"/>
                <a:gd fmla="*/ 1050 h 1367" name="T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b="b" l="0" r="r" t="0"/>
              <a:pathLst>
                <a:path h="1367" w="1207">
                  <a:moveTo>
                    <a:pt x="1207" y="1050"/>
                  </a:moveTo>
                  <a:lnTo>
                    <a:pt x="1206" y="1050"/>
                  </a:lnTo>
                  <a:lnTo>
                    <a:pt x="636" y="1367"/>
                  </a:lnTo>
                  <a:lnTo>
                    <a:pt x="11" y="1054"/>
                  </a:lnTo>
                  <a:lnTo>
                    <a:pt x="0" y="1050"/>
                  </a:lnTo>
                  <a:lnTo>
                    <a:pt x="33" y="402"/>
                  </a:lnTo>
                  <a:lnTo>
                    <a:pt x="597" y="0"/>
                  </a:lnTo>
                  <a:lnTo>
                    <a:pt x="604" y="4"/>
                  </a:lnTo>
                  <a:lnTo>
                    <a:pt x="1187" y="369"/>
                  </a:lnTo>
                  <a:lnTo>
                    <a:pt x="1207" y="1050"/>
                  </a:lnTo>
                </a:path>
              </a:pathLst>
            </a:custGeom>
            <a:noFill/>
            <a:ln>
              <a:noFill/>
            </a:ln>
            <a:extLst>
              <a:ext uri="{909E8E84-426E-40DD-AFC4-6F175D3DCCD1}">
                <a14:hiddenFill>
                  <a:solidFill>
                    <a:srgbClr val="FFFFFF"/>
                  </a:solidFill>
                </a14:hiddenFill>
              </a:ext>
              <a:ext uri="{91240B29-F687-4F45-9708-019B960494DF}">
                <a14:hiddenLine w="9525">
                  <a:solidFill>
                    <a:srgbClr val="000000"/>
                  </a:solidFill>
                  <a:round/>
                  <a:headEnd/>
                  <a:tailEnd/>
                </a14:hiddenLine>
              </a:ext>
            </a:extLst>
          </p:spPr>
          <p:txBody>
            <a:bodyPr anchor="ctr"/>
            <a:lstStyle/>
            <a:p>
              <a:pPr algn="ctr"/>
              <a:endParaRPr/>
            </a:p>
          </p:txBody>
        </p:sp>
        <p:sp>
          <p:nvSpPr>
            <p:cNvPr id="21" name="ísḻidê">
              <a:extLst>
                <a:ext uri="{FF2B5EF4-FFF2-40B4-BE49-F238E27FC236}">
                  <a16:creationId xmlns:a16="http://schemas.microsoft.com/office/drawing/2014/main" id="{C48E8A58-C8C1-4DEF-A274-25D0969C7743}"/>
                </a:ext>
              </a:extLst>
            </p:cNvPr>
            <p:cNvSpPr/>
            <p:nvPr/>
          </p:nvSpPr>
          <p:spPr bwMode="auto">
            <a:xfrm>
              <a:off x="2168003" y="3612718"/>
              <a:ext cx="1897063" cy="1111250"/>
            </a:xfrm>
            <a:custGeom>
              <a:gdLst>
                <a:gd fmla="*/ 553 w 1195" name="T0"/>
                <a:gd fmla="*/ 0 h 700" name="T1"/>
                <a:gd fmla="*/ 0 w 1195" name="T2"/>
                <a:gd fmla="*/ 387 h 700" name="T3"/>
                <a:gd fmla="*/ 625 w 1195" name="T4"/>
                <a:gd fmla="*/ 700 h 700" name="T5"/>
                <a:gd fmla="*/ 1195 w 1195" name="T6"/>
                <a:gd fmla="*/ 383 h 700" name="T7"/>
                <a:gd fmla="*/ 553 w 1195" name="T8"/>
                <a:gd fmla="*/ 0 h 700" name="T9"/>
              </a:gdLst>
              <a:cxnLst>
                <a:cxn ang="0">
                  <a:pos x="T0" y="T1"/>
                </a:cxn>
                <a:cxn ang="0">
                  <a:pos x="T2" y="T3"/>
                </a:cxn>
                <a:cxn ang="0">
                  <a:pos x="T4" y="T5"/>
                </a:cxn>
                <a:cxn ang="0">
                  <a:pos x="T6" y="T7"/>
                </a:cxn>
                <a:cxn ang="0">
                  <a:pos x="T8" y="T9"/>
                </a:cxn>
              </a:cxnLst>
              <a:rect b="b" l="0" r="r" t="0"/>
              <a:pathLst>
                <a:path h="700" w="1195">
                  <a:moveTo>
                    <a:pt x="553" y="0"/>
                  </a:moveTo>
                  <a:lnTo>
                    <a:pt x="0" y="387"/>
                  </a:lnTo>
                  <a:lnTo>
                    <a:pt x="625" y="700"/>
                  </a:lnTo>
                  <a:lnTo>
                    <a:pt x="1195" y="383"/>
                  </a:lnTo>
                  <a:lnTo>
                    <a:pt x="553" y="0"/>
                  </a:lnTo>
                </a:path>
              </a:pathLst>
            </a:custGeom>
            <a:noFill/>
            <a:ln>
              <a:noFill/>
            </a:ln>
            <a:extLst>
              <a:ext uri="{909E8E84-426E-40DD-AFC4-6F175D3DCCD1}">
                <a14:hiddenFill>
                  <a:solidFill>
                    <a:srgbClr val="FFFFFF"/>
                  </a:solidFill>
                </a14:hiddenFill>
              </a:ext>
              <a:ext uri="{91240B29-F687-4F45-9708-019B960494DF}">
                <a14:hiddenLine w="9525">
                  <a:solidFill>
                    <a:srgbClr val="000000"/>
                  </a:solidFill>
                  <a:round/>
                  <a:headEnd/>
                  <a:tailEnd/>
                </a14:hiddenLine>
              </a:ext>
            </a:extLst>
          </p:spPr>
          <p:txBody>
            <a:bodyPr anchor="ctr"/>
            <a:lstStyle/>
            <a:p>
              <a:pPr algn="ctr"/>
              <a:endParaRPr/>
            </a:p>
          </p:txBody>
        </p:sp>
        <p:grpSp>
          <p:nvGrpSpPr>
            <p:cNvPr id="5" name="组合 4">
              <a:extLst>
                <a:ext uri="{FF2B5EF4-FFF2-40B4-BE49-F238E27FC236}">
                  <a16:creationId xmlns:a16="http://schemas.microsoft.com/office/drawing/2014/main" id="{BB5EFE81-CD1C-40E1-B74D-5A647AD5BBB4}"/>
                </a:ext>
              </a:extLst>
            </p:cNvPr>
            <p:cNvGrpSpPr/>
            <p:nvPr/>
          </p:nvGrpSpPr>
          <p:grpSpPr>
            <a:xfrm>
              <a:off x="2150541" y="2553855"/>
              <a:ext cx="1916113" cy="2170113"/>
              <a:chOff x="2150541" y="2553855"/>
              <a:chExt cx="1916113" cy="2170113"/>
            </a:xfrm>
          </p:grpSpPr>
          <p:sp>
            <p:nvSpPr>
              <p:cNvPr id="17" name="ïSḷïdê">
                <a:extLst>
                  <a:ext uri="{FF2B5EF4-FFF2-40B4-BE49-F238E27FC236}">
                    <a16:creationId xmlns:a16="http://schemas.microsoft.com/office/drawing/2014/main" id="{1835D353-1642-44A0-9A5A-10918AEC8DAD}"/>
                  </a:ext>
                </a:extLst>
              </p:cNvPr>
              <p:cNvSpPr/>
              <p:nvPr/>
            </p:nvSpPr>
            <p:spPr bwMode="auto">
              <a:xfrm>
                <a:off x="2150541" y="2553855"/>
                <a:ext cx="1916113" cy="2170113"/>
              </a:xfrm>
              <a:custGeom>
                <a:gdLst>
                  <a:gd fmla="*/ 1207 w 1207" name="T0"/>
                  <a:gd fmla="*/ 1050 h 1367" name="T1"/>
                  <a:gd fmla="*/ 1206 w 1207" name="T2"/>
                  <a:gd fmla="*/ 1050 h 1367" name="T3"/>
                  <a:gd fmla="*/ 636 w 1207" name="T4"/>
                  <a:gd fmla="*/ 1367 h 1367" name="T5"/>
                  <a:gd fmla="*/ 11 w 1207" name="T6"/>
                  <a:gd fmla="*/ 1054 h 1367" name="T7"/>
                  <a:gd fmla="*/ 0 w 1207" name="T8"/>
                  <a:gd fmla="*/ 1050 h 1367" name="T9"/>
                  <a:gd fmla="*/ 33 w 1207" name="T10"/>
                  <a:gd fmla="*/ 402 h 1367" name="T11"/>
                  <a:gd fmla="*/ 597 w 1207" name="T12"/>
                  <a:gd fmla="*/ 0 h 1367" name="T13"/>
                  <a:gd fmla="*/ 604 w 1207" name="T14"/>
                  <a:gd fmla="*/ 4 h 1367" name="T15"/>
                  <a:gd fmla="*/ 1187 w 1207" name="T16"/>
                  <a:gd fmla="*/ 369 h 1367" name="T17"/>
                  <a:gd fmla="*/ 1207 w 1207" name="T18"/>
                  <a:gd fmla="*/ 1050 h 1367" name="T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b="b" l="0" r="r" t="0"/>
                <a:pathLst>
                  <a:path h="1367" w="1207">
                    <a:moveTo>
                      <a:pt x="1207" y="1050"/>
                    </a:moveTo>
                    <a:lnTo>
                      <a:pt x="1206" y="1050"/>
                    </a:lnTo>
                    <a:lnTo>
                      <a:pt x="636" y="1367"/>
                    </a:lnTo>
                    <a:lnTo>
                      <a:pt x="11" y="1054"/>
                    </a:lnTo>
                    <a:lnTo>
                      <a:pt x="0" y="1050"/>
                    </a:lnTo>
                    <a:lnTo>
                      <a:pt x="33" y="402"/>
                    </a:lnTo>
                    <a:lnTo>
                      <a:pt x="597" y="0"/>
                    </a:lnTo>
                    <a:lnTo>
                      <a:pt x="604" y="4"/>
                    </a:lnTo>
                    <a:lnTo>
                      <a:pt x="1187" y="369"/>
                    </a:lnTo>
                    <a:lnTo>
                      <a:pt x="1207" y="1050"/>
                    </a:lnTo>
                    <a:close/>
                  </a:path>
                </a:pathLst>
              </a:custGeom>
              <a:solidFill>
                <a:schemeClr val="tx1">
                  <a:lumMod val="50000"/>
                  <a:lumOff val="50000"/>
                </a:schemeClr>
              </a:solidFill>
              <a:ln>
                <a:noFill/>
              </a:ln>
            </p:spPr>
            <p:txBody>
              <a:bodyPr anchor="ctr"/>
              <a:lstStyle/>
              <a:p>
                <a:pPr algn="ctr"/>
                <a:endParaRPr/>
              </a:p>
            </p:txBody>
          </p:sp>
          <p:sp>
            <p:nvSpPr>
              <p:cNvPr id="20" name="i$líḋè">
                <a:extLst>
                  <a:ext uri="{FF2B5EF4-FFF2-40B4-BE49-F238E27FC236}">
                    <a16:creationId xmlns:a16="http://schemas.microsoft.com/office/drawing/2014/main" id="{04EE77FC-015C-4984-A842-16FB0EDE9E17}"/>
                  </a:ext>
                </a:extLst>
              </p:cNvPr>
              <p:cNvSpPr/>
              <p:nvPr/>
            </p:nvSpPr>
            <p:spPr bwMode="auto">
              <a:xfrm>
                <a:off x="2168003" y="3612718"/>
                <a:ext cx="1897063" cy="1111250"/>
              </a:xfrm>
              <a:custGeom>
                <a:gdLst>
                  <a:gd fmla="*/ 553 w 1195" name="T0"/>
                  <a:gd fmla="*/ 0 h 700" name="T1"/>
                  <a:gd fmla="*/ 0 w 1195" name="T2"/>
                  <a:gd fmla="*/ 387 h 700" name="T3"/>
                  <a:gd fmla="*/ 625 w 1195" name="T4"/>
                  <a:gd fmla="*/ 700 h 700" name="T5"/>
                  <a:gd fmla="*/ 1195 w 1195" name="T6"/>
                  <a:gd fmla="*/ 383 h 700" name="T7"/>
                  <a:gd fmla="*/ 553 w 1195" name="T8"/>
                  <a:gd fmla="*/ 0 h 700" name="T9"/>
                </a:gdLst>
                <a:cxnLst>
                  <a:cxn ang="0">
                    <a:pos x="T0" y="T1"/>
                  </a:cxn>
                  <a:cxn ang="0">
                    <a:pos x="T2" y="T3"/>
                  </a:cxn>
                  <a:cxn ang="0">
                    <a:pos x="T4" y="T5"/>
                  </a:cxn>
                  <a:cxn ang="0">
                    <a:pos x="T6" y="T7"/>
                  </a:cxn>
                  <a:cxn ang="0">
                    <a:pos x="T8" y="T9"/>
                  </a:cxn>
                </a:cxnLst>
                <a:rect b="b" l="0" r="r" t="0"/>
                <a:pathLst>
                  <a:path h="700" w="1195">
                    <a:moveTo>
                      <a:pt x="553" y="0"/>
                    </a:moveTo>
                    <a:lnTo>
                      <a:pt x="0" y="387"/>
                    </a:lnTo>
                    <a:lnTo>
                      <a:pt x="625" y="700"/>
                    </a:lnTo>
                    <a:lnTo>
                      <a:pt x="1195" y="383"/>
                    </a:lnTo>
                    <a:lnTo>
                      <a:pt x="553" y="0"/>
                    </a:lnTo>
                    <a:close/>
                  </a:path>
                </a:pathLst>
              </a:custGeom>
              <a:solidFill>
                <a:schemeClr val="tx1">
                  <a:lumMod val="65000"/>
                  <a:lumOff val="35000"/>
                </a:schemeClr>
              </a:solidFill>
              <a:ln>
                <a:noFill/>
              </a:ln>
            </p:spPr>
            <p:txBody>
              <a:bodyPr anchor="ctr"/>
              <a:lstStyle/>
              <a:p>
                <a:pPr algn="ctr"/>
                <a:endParaRPr/>
              </a:p>
            </p:txBody>
          </p:sp>
          <p:sp>
            <p:nvSpPr>
              <p:cNvPr id="22" name="îŝḷiḋé">
                <a:extLst>
                  <a:ext uri="{FF2B5EF4-FFF2-40B4-BE49-F238E27FC236}">
                    <a16:creationId xmlns:a16="http://schemas.microsoft.com/office/drawing/2014/main" id="{5AF18FFB-9D4C-473C-9A23-DE518801AC71}"/>
                  </a:ext>
                </a:extLst>
              </p:cNvPr>
              <p:cNvSpPr/>
              <p:nvPr/>
            </p:nvSpPr>
            <p:spPr bwMode="auto">
              <a:xfrm>
                <a:off x="3045891" y="2560205"/>
                <a:ext cx="1020763" cy="1660525"/>
              </a:xfrm>
              <a:custGeom>
                <a:gdLst>
                  <a:gd fmla="*/ 40 w 643" name="T0"/>
                  <a:gd fmla="*/ 0 h 1046" name="T1"/>
                  <a:gd fmla="*/ 0 w 643" name="T2"/>
                  <a:gd fmla="*/ 663 h 1046" name="T3"/>
                  <a:gd fmla="*/ 643 w 643" name="T4"/>
                  <a:gd fmla="*/ 1046 h 1046" name="T5"/>
                  <a:gd fmla="*/ 623 w 643" name="T6"/>
                  <a:gd fmla="*/ 365 h 1046" name="T7"/>
                  <a:gd fmla="*/ 40 w 643" name="T8"/>
                  <a:gd fmla="*/ 0 h 1046" name="T9"/>
                </a:gdLst>
                <a:cxnLst>
                  <a:cxn ang="0">
                    <a:pos x="T0" y="T1"/>
                  </a:cxn>
                  <a:cxn ang="0">
                    <a:pos x="T2" y="T3"/>
                  </a:cxn>
                  <a:cxn ang="0">
                    <a:pos x="T4" y="T5"/>
                  </a:cxn>
                  <a:cxn ang="0">
                    <a:pos x="T6" y="T7"/>
                  </a:cxn>
                  <a:cxn ang="0">
                    <a:pos x="T8" y="T9"/>
                  </a:cxn>
                </a:cxnLst>
                <a:rect b="b" l="0" r="r" t="0"/>
                <a:pathLst>
                  <a:path h="1046" w="643">
                    <a:moveTo>
                      <a:pt x="40" y="0"/>
                    </a:moveTo>
                    <a:lnTo>
                      <a:pt x="0" y="663"/>
                    </a:lnTo>
                    <a:lnTo>
                      <a:pt x="643" y="1046"/>
                    </a:lnTo>
                    <a:lnTo>
                      <a:pt x="623" y="365"/>
                    </a:lnTo>
                    <a:lnTo>
                      <a:pt x="40" y="0"/>
                    </a:lnTo>
                    <a:close/>
                  </a:path>
                </a:pathLst>
              </a:custGeom>
              <a:solidFill>
                <a:schemeClr val="bg1">
                  <a:lumMod val="85000"/>
                </a:schemeClr>
              </a:solidFill>
              <a:ln>
                <a:noFill/>
              </a:ln>
            </p:spPr>
            <p:txBody>
              <a:bodyPr anchor="ctr"/>
              <a:lstStyle/>
              <a:p>
                <a:pPr algn="ctr"/>
                <a:endParaRPr/>
              </a:p>
            </p:txBody>
          </p:sp>
        </p:grpSp>
        <p:sp>
          <p:nvSpPr>
            <p:cNvPr id="23" name="iṩľíḑè">
              <a:extLst>
                <a:ext uri="{FF2B5EF4-FFF2-40B4-BE49-F238E27FC236}">
                  <a16:creationId xmlns:a16="http://schemas.microsoft.com/office/drawing/2014/main" id="{203E237B-9A9B-4917-840D-28ABB29FBAE0}"/>
                </a:ext>
              </a:extLst>
            </p:cNvPr>
            <p:cNvSpPr/>
            <p:nvPr/>
          </p:nvSpPr>
          <p:spPr bwMode="auto">
            <a:xfrm>
              <a:off x="3045891" y="2560205"/>
              <a:ext cx="1020763" cy="1660525"/>
            </a:xfrm>
            <a:custGeom>
              <a:gdLst>
                <a:gd fmla="*/ 40 w 643" name="T0"/>
                <a:gd fmla="*/ 0 h 1046" name="T1"/>
                <a:gd fmla="*/ 0 w 643" name="T2"/>
                <a:gd fmla="*/ 663 h 1046" name="T3"/>
                <a:gd fmla="*/ 643 w 643" name="T4"/>
                <a:gd fmla="*/ 1046 h 1046" name="T5"/>
                <a:gd fmla="*/ 623 w 643" name="T6"/>
                <a:gd fmla="*/ 365 h 1046" name="T7"/>
                <a:gd fmla="*/ 40 w 643" name="T8"/>
                <a:gd fmla="*/ 0 h 1046" name="T9"/>
              </a:gdLst>
              <a:cxnLst>
                <a:cxn ang="0">
                  <a:pos x="T0" y="T1"/>
                </a:cxn>
                <a:cxn ang="0">
                  <a:pos x="T2" y="T3"/>
                </a:cxn>
                <a:cxn ang="0">
                  <a:pos x="T4" y="T5"/>
                </a:cxn>
                <a:cxn ang="0">
                  <a:pos x="T6" y="T7"/>
                </a:cxn>
                <a:cxn ang="0">
                  <a:pos x="T8" y="T9"/>
                </a:cxn>
              </a:cxnLst>
              <a:rect b="b" l="0" r="r" t="0"/>
              <a:pathLst>
                <a:path h="1046" w="643">
                  <a:moveTo>
                    <a:pt x="40" y="0"/>
                  </a:moveTo>
                  <a:lnTo>
                    <a:pt x="0" y="663"/>
                  </a:lnTo>
                  <a:lnTo>
                    <a:pt x="643" y="1046"/>
                  </a:lnTo>
                  <a:lnTo>
                    <a:pt x="623" y="365"/>
                  </a:lnTo>
                  <a:lnTo>
                    <a:pt x="40" y="0"/>
                  </a:lnTo>
                </a:path>
              </a:pathLst>
            </a:custGeom>
            <a:noFill/>
            <a:ln>
              <a:noFill/>
            </a:ln>
            <a:extLst>
              <a:ext uri="{909E8E84-426E-40DD-AFC4-6F175D3DCCD1}">
                <a14:hiddenFill>
                  <a:solidFill>
                    <a:srgbClr val="FFFFFF"/>
                  </a:solidFill>
                </a14:hiddenFill>
              </a:ext>
              <a:ext uri="{91240B29-F687-4F45-9708-019B960494DF}">
                <a14:hiddenLine w="9525">
                  <a:solidFill>
                    <a:srgbClr val="000000"/>
                  </a:solidFill>
                  <a:round/>
                  <a:headEnd/>
                  <a:tailEnd/>
                </a14:hiddenLine>
              </a:ext>
            </a:extLst>
          </p:spPr>
          <p:txBody>
            <a:bodyPr anchor="ctr"/>
            <a:lstStyle/>
            <a:p>
              <a:pPr algn="ctr"/>
              <a:endParaRPr/>
            </a:p>
          </p:txBody>
        </p:sp>
        <p:sp>
          <p:nvSpPr>
            <p:cNvPr id="24" name="íşḻiḍè">
              <a:extLst>
                <a:ext uri="{FF2B5EF4-FFF2-40B4-BE49-F238E27FC236}">
                  <a16:creationId xmlns:a16="http://schemas.microsoft.com/office/drawing/2014/main" id="{E34B2AD1-6952-47EE-9046-1D224F39E0B1}"/>
                </a:ext>
              </a:extLst>
            </p:cNvPr>
            <p:cNvSpPr/>
            <p:nvPr/>
          </p:nvSpPr>
          <p:spPr bwMode="auto">
            <a:xfrm>
              <a:off x="2183878" y="2863418"/>
              <a:ext cx="1862138" cy="644525"/>
            </a:xfrm>
            <a:custGeom>
              <a:gdLst>
                <a:gd fmla="*/ 4 w 1173" name="T0"/>
                <a:gd fmla="*/ 406 h 406" name="T1"/>
                <a:gd fmla="*/ 0 w 1173" name="T2"/>
                <a:gd fmla="*/ 402 h 406" name="T3"/>
                <a:gd fmla="*/ 571 w 1173" name="T4"/>
                <a:gd fmla="*/ 0 h 406" name="T5"/>
                <a:gd fmla="*/ 1173 w 1173" name="T6"/>
                <a:gd fmla="*/ 377 h 406" name="T7"/>
                <a:gd fmla="*/ 1170 w 1173" name="T8"/>
                <a:gd fmla="*/ 382 h 406" name="T9"/>
                <a:gd fmla="*/ 571 w 1173" name="T10"/>
                <a:gd fmla="*/ 7 h 406" name="T11"/>
                <a:gd fmla="*/ 4 w 1173" name="T12"/>
                <a:gd fmla="*/ 406 h 406" name="T13"/>
              </a:gdLst>
              <a:cxnLst>
                <a:cxn ang="0">
                  <a:pos x="T0" y="T1"/>
                </a:cxn>
                <a:cxn ang="0">
                  <a:pos x="T2" y="T3"/>
                </a:cxn>
                <a:cxn ang="0">
                  <a:pos x="T4" y="T5"/>
                </a:cxn>
                <a:cxn ang="0">
                  <a:pos x="T6" y="T7"/>
                </a:cxn>
                <a:cxn ang="0">
                  <a:pos x="T8" y="T9"/>
                </a:cxn>
                <a:cxn ang="0">
                  <a:pos x="T10" y="T11"/>
                </a:cxn>
                <a:cxn ang="0">
                  <a:pos x="T12" y="T13"/>
                </a:cxn>
              </a:cxnLst>
              <a:rect b="b" l="0" r="r" t="0"/>
              <a:pathLst>
                <a:path h="406" w="1173">
                  <a:moveTo>
                    <a:pt x="4" y="406"/>
                  </a:moveTo>
                  <a:lnTo>
                    <a:pt x="0" y="402"/>
                  </a:lnTo>
                  <a:lnTo>
                    <a:pt x="571" y="0"/>
                  </a:lnTo>
                  <a:lnTo>
                    <a:pt x="1173" y="377"/>
                  </a:lnTo>
                  <a:lnTo>
                    <a:pt x="1170" y="382"/>
                  </a:lnTo>
                  <a:lnTo>
                    <a:pt x="571" y="7"/>
                  </a:lnTo>
                  <a:lnTo>
                    <a:pt x="4" y="406"/>
                  </a:lnTo>
                  <a:close/>
                </a:path>
              </a:pathLst>
            </a:custGeom>
            <a:solidFill>
              <a:srgbClr val="F2F2F2"/>
            </a:solidFill>
            <a:ln>
              <a:noFill/>
            </a:ln>
            <a:extLst>
              <a:ext uri="{91240B29-F687-4F45-9708-019B960494DF}">
                <a14:hiddenLine w="9525">
                  <a:solidFill>
                    <a:srgbClr val="000000"/>
                  </a:solidFill>
                  <a:round/>
                  <a:headEnd/>
                  <a:tailEnd/>
                </a14:hiddenLine>
              </a:ext>
            </a:extLst>
          </p:spPr>
          <p:txBody>
            <a:bodyPr anchor="ctr"/>
            <a:lstStyle/>
            <a:p>
              <a:pPr algn="ctr"/>
              <a:endParaRPr/>
            </a:p>
          </p:txBody>
        </p:sp>
        <p:sp>
          <p:nvSpPr>
            <p:cNvPr id="25" name="ïṣ1îḑê">
              <a:extLst>
                <a:ext uri="{FF2B5EF4-FFF2-40B4-BE49-F238E27FC236}">
                  <a16:creationId xmlns:a16="http://schemas.microsoft.com/office/drawing/2014/main" id="{D08962E3-B350-4FE8-85DD-A0EF9E4E3D09}"/>
                </a:ext>
              </a:extLst>
            </p:cNvPr>
            <p:cNvSpPr/>
            <p:nvPr/>
          </p:nvSpPr>
          <p:spPr bwMode="auto">
            <a:xfrm>
              <a:off x="2166416" y="3239655"/>
              <a:ext cx="1881188" cy="617538"/>
            </a:xfrm>
            <a:custGeom>
              <a:gdLst>
                <a:gd fmla="*/ 3 w 1185" name="T0"/>
                <a:gd fmla="*/ 389 h 389" name="T1"/>
                <a:gd fmla="*/ 0 w 1185" name="T2"/>
                <a:gd fmla="*/ 385 h 389" name="T3"/>
                <a:gd fmla="*/ 568 w 1185" name="T4"/>
                <a:gd fmla="*/ 0 h 389" name="T5"/>
                <a:gd fmla="*/ 570 w 1185" name="T6"/>
                <a:gd fmla="*/ 1 h 389" name="T7"/>
                <a:gd fmla="*/ 1185 w 1185" name="T8"/>
                <a:gd fmla="*/ 350 h 389" name="T9"/>
                <a:gd fmla="*/ 1182 w 1185" name="T10"/>
                <a:gd fmla="*/ 354 h 389" name="T11"/>
                <a:gd fmla="*/ 568 w 1185" name="T12"/>
                <a:gd fmla="*/ 7 h 389" name="T13"/>
                <a:gd fmla="*/ 3 w 1185" name="T14"/>
                <a:gd fmla="*/ 389 h 389" name="T15"/>
              </a:gdLst>
              <a:cxnLst>
                <a:cxn ang="0">
                  <a:pos x="T0" y="T1"/>
                </a:cxn>
                <a:cxn ang="0">
                  <a:pos x="T2" y="T3"/>
                </a:cxn>
                <a:cxn ang="0">
                  <a:pos x="T4" y="T5"/>
                </a:cxn>
                <a:cxn ang="0">
                  <a:pos x="T6" y="T7"/>
                </a:cxn>
                <a:cxn ang="0">
                  <a:pos x="T8" y="T9"/>
                </a:cxn>
                <a:cxn ang="0">
                  <a:pos x="T10" y="T11"/>
                </a:cxn>
                <a:cxn ang="0">
                  <a:pos x="T12" y="T13"/>
                </a:cxn>
                <a:cxn ang="0">
                  <a:pos x="T14" y="T15"/>
                </a:cxn>
              </a:cxnLst>
              <a:rect b="b" l="0" r="r" t="0"/>
              <a:pathLst>
                <a:path h="389" w="1185">
                  <a:moveTo>
                    <a:pt x="3" y="389"/>
                  </a:moveTo>
                  <a:lnTo>
                    <a:pt x="0" y="385"/>
                  </a:lnTo>
                  <a:lnTo>
                    <a:pt x="568" y="0"/>
                  </a:lnTo>
                  <a:lnTo>
                    <a:pt x="570" y="1"/>
                  </a:lnTo>
                  <a:lnTo>
                    <a:pt x="1185" y="350"/>
                  </a:lnTo>
                  <a:lnTo>
                    <a:pt x="1182" y="354"/>
                  </a:lnTo>
                  <a:lnTo>
                    <a:pt x="568" y="7"/>
                  </a:lnTo>
                  <a:lnTo>
                    <a:pt x="3" y="389"/>
                  </a:lnTo>
                  <a:close/>
                </a:path>
              </a:pathLst>
            </a:custGeom>
            <a:solidFill>
              <a:srgbClr val="F2F2F2"/>
            </a:solidFill>
            <a:ln>
              <a:noFill/>
            </a:ln>
            <a:extLst>
              <a:ext uri="{91240B29-F687-4F45-9708-019B960494DF}">
                <a14:hiddenLine w="9525">
                  <a:solidFill>
                    <a:srgbClr val="000000"/>
                  </a:solidFill>
                  <a:round/>
                  <a:headEnd/>
                  <a:tailEnd/>
                </a14:hiddenLine>
              </a:ext>
            </a:extLst>
          </p:spPr>
          <p:txBody>
            <a:bodyPr anchor="ctr"/>
            <a:lstStyle/>
            <a:p>
              <a:pPr algn="ctr"/>
              <a:endParaRPr/>
            </a:p>
          </p:txBody>
        </p:sp>
        <p:sp>
          <p:nvSpPr>
            <p:cNvPr id="26" name="í$ḻîḋê">
              <a:extLst>
                <a:ext uri="{FF2B5EF4-FFF2-40B4-BE49-F238E27FC236}">
                  <a16:creationId xmlns:a16="http://schemas.microsoft.com/office/drawing/2014/main" id="{DF61CD71-7D74-46B7-8EDB-C71EFE8EFEEA}"/>
                </a:ext>
              </a:extLst>
            </p:cNvPr>
            <p:cNvSpPr/>
            <p:nvPr/>
          </p:nvSpPr>
          <p:spPr bwMode="auto">
            <a:xfrm>
              <a:off x="2510903" y="2757055"/>
              <a:ext cx="917575" cy="1647825"/>
            </a:xfrm>
            <a:custGeom>
              <a:gdLst>
                <a:gd fmla="*/ 3 w 578" name="T0"/>
                <a:gd fmla="*/ 1038 h 1038" name="T1"/>
                <a:gd fmla="*/ 0 w 578" name="T2"/>
                <a:gd fmla="*/ 1033 h 1038" name="T3"/>
                <a:gd fmla="*/ 572 w 578" name="T4"/>
                <a:gd fmla="*/ 679 h 1038" name="T5"/>
                <a:gd fmla="*/ 572 w 578" name="T6"/>
                <a:gd fmla="*/ 0 h 1038" name="T7"/>
                <a:gd fmla="*/ 578 w 578" name="T8"/>
                <a:gd fmla="*/ 0 h 1038" name="T9"/>
                <a:gd fmla="*/ 578 w 578" name="T10"/>
                <a:gd fmla="*/ 682 h 1038" name="T11"/>
                <a:gd fmla="*/ 3 w 578" name="T12"/>
                <a:gd fmla="*/ 1038 h 1038" name="T13"/>
              </a:gdLst>
              <a:cxnLst>
                <a:cxn ang="0">
                  <a:pos x="T0" y="T1"/>
                </a:cxn>
                <a:cxn ang="0">
                  <a:pos x="T2" y="T3"/>
                </a:cxn>
                <a:cxn ang="0">
                  <a:pos x="T4" y="T5"/>
                </a:cxn>
                <a:cxn ang="0">
                  <a:pos x="T6" y="T7"/>
                </a:cxn>
                <a:cxn ang="0">
                  <a:pos x="T8" y="T9"/>
                </a:cxn>
                <a:cxn ang="0">
                  <a:pos x="T10" y="T11"/>
                </a:cxn>
                <a:cxn ang="0">
                  <a:pos x="T12" y="T13"/>
                </a:cxn>
              </a:cxnLst>
              <a:rect b="b" l="0" r="r" t="0"/>
              <a:pathLst>
                <a:path h="1038" w="578">
                  <a:moveTo>
                    <a:pt x="3" y="1038"/>
                  </a:moveTo>
                  <a:lnTo>
                    <a:pt x="0" y="1033"/>
                  </a:lnTo>
                  <a:lnTo>
                    <a:pt x="572" y="679"/>
                  </a:lnTo>
                  <a:lnTo>
                    <a:pt x="572" y="0"/>
                  </a:lnTo>
                  <a:lnTo>
                    <a:pt x="578" y="0"/>
                  </a:lnTo>
                  <a:lnTo>
                    <a:pt x="578" y="682"/>
                  </a:lnTo>
                  <a:lnTo>
                    <a:pt x="3" y="1038"/>
                  </a:lnTo>
                  <a:close/>
                </a:path>
              </a:pathLst>
            </a:custGeom>
            <a:solidFill>
              <a:srgbClr val="F2F2F2"/>
            </a:solidFill>
            <a:ln>
              <a:noFill/>
            </a:ln>
            <a:extLst>
              <a:ext uri="{91240B29-F687-4F45-9708-019B960494DF}">
                <a14:hiddenLine w="9525">
                  <a:solidFill>
                    <a:srgbClr val="000000"/>
                  </a:solidFill>
                  <a:round/>
                  <a:headEnd/>
                  <a:tailEnd/>
                </a14:hiddenLine>
              </a:ext>
            </a:extLst>
          </p:spPr>
          <p:txBody>
            <a:bodyPr anchor="ctr"/>
            <a:lstStyle/>
            <a:p>
              <a:pPr algn="ctr"/>
              <a:endParaRPr/>
            </a:p>
          </p:txBody>
        </p:sp>
        <p:sp>
          <p:nvSpPr>
            <p:cNvPr id="27" name="îṧḻîḍè">
              <a:extLst>
                <a:ext uri="{FF2B5EF4-FFF2-40B4-BE49-F238E27FC236}">
                  <a16:creationId xmlns:a16="http://schemas.microsoft.com/office/drawing/2014/main" id="{BEBB7523-CF93-483E-88D7-8F96C90941BC}"/>
                </a:ext>
              </a:extLst>
            </p:cNvPr>
            <p:cNvSpPr/>
            <p:nvPr/>
          </p:nvSpPr>
          <p:spPr bwMode="auto">
            <a:xfrm>
              <a:off x="2868091" y="2958668"/>
              <a:ext cx="882650" cy="1624013"/>
            </a:xfrm>
            <a:custGeom>
              <a:gdLst>
                <a:gd fmla="*/ 3 w 556" name="T0"/>
                <a:gd fmla="*/ 1023 h 1023" name="T1"/>
                <a:gd fmla="*/ 0 w 556" name="T2"/>
                <a:gd fmla="*/ 1018 h 1023" name="T3"/>
                <a:gd fmla="*/ 551 w 556" name="T4"/>
                <a:gd fmla="*/ 673 h 1023" name="T5"/>
                <a:gd fmla="*/ 551 w 556" name="T6"/>
                <a:gd fmla="*/ 0 h 1023" name="T7"/>
                <a:gd fmla="*/ 556 w 556" name="T8"/>
                <a:gd fmla="*/ 0 h 1023" name="T9"/>
                <a:gd fmla="*/ 556 w 556" name="T10"/>
                <a:gd fmla="*/ 676 h 1023" name="T11"/>
                <a:gd fmla="*/ 3 w 556" name="T12"/>
                <a:gd fmla="*/ 1023 h 1023" name="T13"/>
              </a:gdLst>
              <a:cxnLst>
                <a:cxn ang="0">
                  <a:pos x="T0" y="T1"/>
                </a:cxn>
                <a:cxn ang="0">
                  <a:pos x="T2" y="T3"/>
                </a:cxn>
                <a:cxn ang="0">
                  <a:pos x="T4" y="T5"/>
                </a:cxn>
                <a:cxn ang="0">
                  <a:pos x="T6" y="T7"/>
                </a:cxn>
                <a:cxn ang="0">
                  <a:pos x="T8" y="T9"/>
                </a:cxn>
                <a:cxn ang="0">
                  <a:pos x="T10" y="T11"/>
                </a:cxn>
                <a:cxn ang="0">
                  <a:pos x="T12" y="T13"/>
                </a:cxn>
              </a:cxnLst>
              <a:rect b="b" l="0" r="r" t="0"/>
              <a:pathLst>
                <a:path h="1023" w="556">
                  <a:moveTo>
                    <a:pt x="3" y="1023"/>
                  </a:moveTo>
                  <a:lnTo>
                    <a:pt x="0" y="1018"/>
                  </a:lnTo>
                  <a:lnTo>
                    <a:pt x="551" y="673"/>
                  </a:lnTo>
                  <a:lnTo>
                    <a:pt x="551" y="0"/>
                  </a:lnTo>
                  <a:lnTo>
                    <a:pt x="556" y="0"/>
                  </a:lnTo>
                  <a:lnTo>
                    <a:pt x="556" y="676"/>
                  </a:lnTo>
                  <a:lnTo>
                    <a:pt x="3" y="1023"/>
                  </a:lnTo>
                  <a:close/>
                </a:path>
              </a:pathLst>
            </a:custGeom>
            <a:solidFill>
              <a:srgbClr val="F2F2F2"/>
            </a:solidFill>
            <a:ln>
              <a:noFill/>
            </a:ln>
            <a:extLst>
              <a:ext uri="{91240B29-F687-4F45-9708-019B960494DF}">
                <a14:hiddenLine w="9525">
                  <a:solidFill>
                    <a:srgbClr val="000000"/>
                  </a:solidFill>
                  <a:round/>
                  <a:headEnd/>
                  <a:tailEnd/>
                </a14:hiddenLine>
              </a:ext>
            </a:extLst>
          </p:spPr>
          <p:txBody>
            <a:bodyPr anchor="ctr"/>
            <a:lstStyle/>
            <a:p>
              <a:pPr algn="ctr"/>
              <a:endParaRPr/>
            </a:p>
          </p:txBody>
        </p:sp>
        <p:sp>
          <p:nvSpPr>
            <p:cNvPr id="28" name="iṧ1iďé">
              <a:extLst>
                <a:ext uri="{FF2B5EF4-FFF2-40B4-BE49-F238E27FC236}">
                  <a16:creationId xmlns:a16="http://schemas.microsoft.com/office/drawing/2014/main" id="{8FCB8EE4-2D93-4D7B-AE6B-236BA9D3E8D5}"/>
                </a:ext>
              </a:extLst>
            </p:cNvPr>
            <p:cNvSpPr/>
            <p:nvPr/>
          </p:nvSpPr>
          <p:spPr bwMode="auto">
            <a:xfrm>
              <a:off x="2722041" y="2780868"/>
              <a:ext cx="1020763" cy="1624013"/>
            </a:xfrm>
            <a:custGeom>
              <a:gdLst>
                <a:gd fmla="*/ 640 w 643" name="T0"/>
                <a:gd fmla="*/ 1023 h 1023" name="T1"/>
                <a:gd fmla="*/ 0 w 643" name="T2"/>
                <a:gd fmla="*/ 667 h 1023" name="T3"/>
                <a:gd fmla="*/ 0 w 643" name="T4"/>
                <a:gd fmla="*/ 665 h 1023" name="T5"/>
                <a:gd fmla="*/ 34 w 643" name="T6"/>
                <a:gd fmla="*/ 0 h 1023" name="T7"/>
                <a:gd fmla="*/ 40 w 643" name="T8"/>
                <a:gd fmla="*/ 0 h 1023" name="T9"/>
                <a:gd fmla="*/ 5 w 643" name="T10"/>
                <a:gd fmla="*/ 664 h 1023" name="T11"/>
                <a:gd fmla="*/ 643 w 643" name="T12"/>
                <a:gd fmla="*/ 1018 h 1023" name="T13"/>
                <a:gd fmla="*/ 640 w 643" name="T14"/>
                <a:gd fmla="*/ 1023 h 1023" name="T15"/>
              </a:gdLst>
              <a:cxnLst>
                <a:cxn ang="0">
                  <a:pos x="T0" y="T1"/>
                </a:cxn>
                <a:cxn ang="0">
                  <a:pos x="T2" y="T3"/>
                </a:cxn>
                <a:cxn ang="0">
                  <a:pos x="T4" y="T5"/>
                </a:cxn>
                <a:cxn ang="0">
                  <a:pos x="T6" y="T7"/>
                </a:cxn>
                <a:cxn ang="0">
                  <a:pos x="T8" y="T9"/>
                </a:cxn>
                <a:cxn ang="0">
                  <a:pos x="T10" y="T11"/>
                </a:cxn>
                <a:cxn ang="0">
                  <a:pos x="T12" y="T13"/>
                </a:cxn>
                <a:cxn ang="0">
                  <a:pos x="T14" y="T15"/>
                </a:cxn>
              </a:cxnLst>
              <a:rect b="b" l="0" r="r" t="0"/>
              <a:pathLst>
                <a:path h="1023" w="643">
                  <a:moveTo>
                    <a:pt x="640" y="1023"/>
                  </a:moveTo>
                  <a:lnTo>
                    <a:pt x="0" y="667"/>
                  </a:lnTo>
                  <a:lnTo>
                    <a:pt x="0" y="665"/>
                  </a:lnTo>
                  <a:lnTo>
                    <a:pt x="34" y="0"/>
                  </a:lnTo>
                  <a:lnTo>
                    <a:pt x="40" y="0"/>
                  </a:lnTo>
                  <a:lnTo>
                    <a:pt x="5" y="664"/>
                  </a:lnTo>
                  <a:lnTo>
                    <a:pt x="643" y="1018"/>
                  </a:lnTo>
                  <a:lnTo>
                    <a:pt x="640" y="1023"/>
                  </a:lnTo>
                  <a:close/>
                </a:path>
              </a:pathLst>
            </a:custGeom>
            <a:solidFill>
              <a:srgbClr val="F2F2F2"/>
            </a:solidFill>
            <a:ln>
              <a:noFill/>
            </a:ln>
            <a:extLst>
              <a:ext uri="{91240B29-F687-4F45-9708-019B960494DF}">
                <a14:hiddenLine w="9525">
                  <a:solidFill>
                    <a:srgbClr val="000000"/>
                  </a:solidFill>
                  <a:round/>
                  <a:headEnd/>
                  <a:tailEnd/>
                </a14:hiddenLine>
              </a:ext>
            </a:extLst>
          </p:spPr>
          <p:txBody>
            <a:bodyPr anchor="ctr"/>
            <a:lstStyle/>
            <a:p>
              <a:pPr algn="ctr"/>
              <a:endParaRPr/>
            </a:p>
          </p:txBody>
        </p:sp>
        <p:sp>
          <p:nvSpPr>
            <p:cNvPr id="29" name="îşļïḓè">
              <a:extLst>
                <a:ext uri="{FF2B5EF4-FFF2-40B4-BE49-F238E27FC236}">
                  <a16:creationId xmlns:a16="http://schemas.microsoft.com/office/drawing/2014/main" id="{395AC9AA-B74A-48F2-A164-A5C00FCE1C58}"/>
                </a:ext>
              </a:extLst>
            </p:cNvPr>
            <p:cNvSpPr/>
            <p:nvPr/>
          </p:nvSpPr>
          <p:spPr bwMode="auto">
            <a:xfrm>
              <a:off x="2414066" y="2995180"/>
              <a:ext cx="1009650" cy="1587500"/>
            </a:xfrm>
            <a:custGeom>
              <a:gdLst>
                <a:gd fmla="*/ 633 w 636" name="T0"/>
                <a:gd fmla="*/ 1000 h 1000" name="T1"/>
                <a:gd fmla="*/ 0 w 636" name="T2"/>
                <a:gd fmla="*/ 668 h 1000" name="T3"/>
                <a:gd fmla="*/ 0 w 636" name="T4"/>
                <a:gd fmla="*/ 666 h 1000" name="T5"/>
                <a:gd fmla="*/ 37 w 636" name="T6"/>
                <a:gd fmla="*/ 0 h 1000" name="T7"/>
                <a:gd fmla="*/ 42 w 636" name="T8"/>
                <a:gd fmla="*/ 0 h 1000" name="T9"/>
                <a:gd fmla="*/ 5 w 636" name="T10"/>
                <a:gd fmla="*/ 665 h 1000" name="T11"/>
                <a:gd fmla="*/ 636 w 636" name="T12"/>
                <a:gd fmla="*/ 995 h 1000" name="T13"/>
                <a:gd fmla="*/ 633 w 636" name="T14"/>
                <a:gd fmla="*/ 1000 h 1000" name="T15"/>
              </a:gdLst>
              <a:cxnLst>
                <a:cxn ang="0">
                  <a:pos x="T0" y="T1"/>
                </a:cxn>
                <a:cxn ang="0">
                  <a:pos x="T2" y="T3"/>
                </a:cxn>
                <a:cxn ang="0">
                  <a:pos x="T4" y="T5"/>
                </a:cxn>
                <a:cxn ang="0">
                  <a:pos x="T6" y="T7"/>
                </a:cxn>
                <a:cxn ang="0">
                  <a:pos x="T8" y="T9"/>
                </a:cxn>
                <a:cxn ang="0">
                  <a:pos x="T10" y="T11"/>
                </a:cxn>
                <a:cxn ang="0">
                  <a:pos x="T12" y="T13"/>
                </a:cxn>
                <a:cxn ang="0">
                  <a:pos x="T14" y="T15"/>
                </a:cxn>
              </a:cxnLst>
              <a:rect b="b" l="0" r="r" t="0"/>
              <a:pathLst>
                <a:path h="1000" w="636">
                  <a:moveTo>
                    <a:pt x="633" y="1000"/>
                  </a:moveTo>
                  <a:lnTo>
                    <a:pt x="0" y="668"/>
                  </a:lnTo>
                  <a:lnTo>
                    <a:pt x="0" y="666"/>
                  </a:lnTo>
                  <a:lnTo>
                    <a:pt x="37" y="0"/>
                  </a:lnTo>
                  <a:lnTo>
                    <a:pt x="42" y="0"/>
                  </a:lnTo>
                  <a:lnTo>
                    <a:pt x="5" y="665"/>
                  </a:lnTo>
                  <a:lnTo>
                    <a:pt x="636" y="995"/>
                  </a:lnTo>
                  <a:lnTo>
                    <a:pt x="633" y="1000"/>
                  </a:lnTo>
                  <a:close/>
                </a:path>
              </a:pathLst>
            </a:custGeom>
            <a:solidFill>
              <a:srgbClr val="F2F2F2"/>
            </a:solidFill>
            <a:ln>
              <a:noFill/>
            </a:ln>
            <a:extLst>
              <a:ext uri="{91240B29-F687-4F45-9708-019B960494DF}">
                <a14:hiddenLine w="9525">
                  <a:solidFill>
                    <a:srgbClr val="000000"/>
                  </a:solidFill>
                  <a:round/>
                  <a:headEnd/>
                  <a:tailEnd/>
                </a14:hiddenLine>
              </a:ext>
            </a:extLst>
          </p:spPr>
          <p:txBody>
            <a:bodyPr anchor="ctr"/>
            <a:lstStyle/>
            <a:p>
              <a:pPr algn="ctr"/>
              <a:endParaRPr/>
            </a:p>
          </p:txBody>
        </p:sp>
      </p:grpSp>
      <p:sp>
        <p:nvSpPr>
          <p:cNvPr id="30" name="íśḷîḍé">
            <a:extLst>
              <a:ext uri="{FF2B5EF4-FFF2-40B4-BE49-F238E27FC236}">
                <a16:creationId xmlns:a16="http://schemas.microsoft.com/office/drawing/2014/main" id="{54995E89-8950-43AC-BCBE-15EF6B0F7ABE}"/>
              </a:ext>
            </a:extLst>
          </p:cNvPr>
          <p:cNvSpPr/>
          <p:nvPr/>
        </p:nvSpPr>
        <p:spPr bwMode="auto">
          <a:xfrm>
            <a:off x="3887266" y="1852180"/>
            <a:ext cx="701675" cy="700088"/>
          </a:xfrm>
          <a:prstGeom prst="ellipse">
            <a:avLst/>
          </a:prstGeom>
          <a:solidFill>
            <a:srgbClr val="60A8AF"/>
          </a:solidFill>
          <a:ln>
            <a:noFill/>
          </a:ln>
        </p:spPr>
        <p:txBody>
          <a:bodyPr anchor="ctr"/>
          <a:lstStyle/>
          <a:p>
            <a:pPr algn="ctr"/>
            <a:r>
              <a:rPr altLang="zh-CN" b="1" lang="en-US" sz="2000">
                <a:solidFill>
                  <a:schemeClr val="bg1"/>
                </a:solidFill>
              </a:rPr>
              <a:t>01</a:t>
            </a:r>
          </a:p>
        </p:txBody>
      </p:sp>
      <p:sp>
        <p:nvSpPr>
          <p:cNvPr id="51" name="íśḷîḍé">
            <a:extLst>
              <a:ext uri="{FF2B5EF4-FFF2-40B4-BE49-F238E27FC236}">
                <a16:creationId xmlns:a16="http://schemas.microsoft.com/office/drawing/2014/main" id="{19301CF0-709D-47AA-A4A0-8F61B9148314}"/>
              </a:ext>
            </a:extLst>
          </p:cNvPr>
          <p:cNvSpPr/>
          <p:nvPr/>
        </p:nvSpPr>
        <p:spPr bwMode="auto">
          <a:xfrm>
            <a:off x="4601642" y="3185680"/>
            <a:ext cx="701675" cy="700088"/>
          </a:xfrm>
          <a:prstGeom prst="ellipse">
            <a:avLst/>
          </a:prstGeom>
          <a:solidFill>
            <a:srgbClr val="FFC73E"/>
          </a:solidFill>
          <a:ln>
            <a:noFill/>
          </a:ln>
        </p:spPr>
        <p:txBody>
          <a:bodyPr anchor="ctr"/>
          <a:lstStyle/>
          <a:p>
            <a:pPr algn="ctr"/>
            <a:r>
              <a:rPr altLang="zh-CN" b="1" lang="en-US" sz="2000">
                <a:solidFill>
                  <a:schemeClr val="bg1"/>
                </a:solidFill>
              </a:rPr>
              <a:t>02</a:t>
            </a:r>
          </a:p>
        </p:txBody>
      </p:sp>
      <p:sp>
        <p:nvSpPr>
          <p:cNvPr id="52" name="íśḷîḍé">
            <a:extLst>
              <a:ext uri="{FF2B5EF4-FFF2-40B4-BE49-F238E27FC236}">
                <a16:creationId xmlns:a16="http://schemas.microsoft.com/office/drawing/2014/main" id="{4E7C7AE2-8718-44F7-A6D6-4C315AF897EA}"/>
              </a:ext>
            </a:extLst>
          </p:cNvPr>
          <p:cNvSpPr/>
          <p:nvPr/>
        </p:nvSpPr>
        <p:spPr bwMode="auto">
          <a:xfrm>
            <a:off x="4146823" y="4668386"/>
            <a:ext cx="701675" cy="700088"/>
          </a:xfrm>
          <a:prstGeom prst="ellipse">
            <a:avLst/>
          </a:prstGeom>
          <a:solidFill>
            <a:srgbClr val="FF626C"/>
          </a:solidFill>
          <a:ln>
            <a:noFill/>
          </a:ln>
        </p:spPr>
        <p:txBody>
          <a:bodyPr anchor="ctr"/>
          <a:lstStyle/>
          <a:p>
            <a:pPr algn="ctr"/>
            <a:r>
              <a:rPr altLang="zh-CN" b="1" lang="en-US" sz="2000">
                <a:solidFill>
                  <a:schemeClr val="bg1"/>
                </a:solidFill>
              </a:rPr>
              <a:t>03</a:t>
            </a:r>
          </a:p>
        </p:txBody>
      </p:sp>
      <p:grpSp>
        <p:nvGrpSpPr>
          <p:cNvPr id="54" name="Group 11">
            <a:extLst>
              <a:ext uri="{FF2B5EF4-FFF2-40B4-BE49-F238E27FC236}">
                <a16:creationId xmlns:a16="http://schemas.microsoft.com/office/drawing/2014/main" id="{0D993BA7-22C7-4B87-A15D-838C791EB10C}"/>
              </a:ext>
            </a:extLst>
          </p:cNvPr>
          <p:cNvGrpSpPr/>
          <p:nvPr/>
        </p:nvGrpSpPr>
        <p:grpSpPr>
          <a:xfrm>
            <a:off x="5223893" y="1738727"/>
            <a:ext cx="4885307" cy="896327"/>
            <a:chOff x="9049046" y="2265458"/>
            <a:chExt cx="4885306" cy="896330"/>
          </a:xfrm>
        </p:grpSpPr>
        <p:sp>
          <p:nvSpPr>
            <p:cNvPr id="55" name="TextBox 54">
              <a:extLst>
                <a:ext uri="{FF2B5EF4-FFF2-40B4-BE49-F238E27FC236}">
                  <a16:creationId xmlns:a16="http://schemas.microsoft.com/office/drawing/2014/main" id="{8E8A3B61-B918-44B9-A0E3-092A5828AE83}"/>
                </a:ext>
              </a:extLst>
            </p:cNvPr>
            <p:cNvSpPr txBox="1"/>
            <p:nvPr/>
          </p:nvSpPr>
          <p:spPr>
            <a:xfrm>
              <a:off x="9049046" y="2265458"/>
              <a:ext cx="1198880" cy="396240"/>
            </a:xfrm>
            <a:prstGeom prst="rect">
              <a:avLst/>
            </a:prstGeom>
            <a:noFill/>
          </p:spPr>
          <p:txBody>
            <a:bodyPr rtlCol="0" wrap="none">
              <a:spAutoFit/>
            </a:bodyPr>
            <a:lstStyle/>
            <a:p>
              <a:pPr defTabSz="1219110"/>
              <a:r>
                <a:rPr altLang="en-US" b="1" lang="zh-CN" sz="2000">
                  <a:solidFill>
                    <a:schemeClr val="tx1">
                      <a:lumMod val="85000"/>
                      <a:lumOff val="15000"/>
                    </a:schemeClr>
                  </a:solidFill>
                  <a:latin panose="020f0502020204030204" typeface="等线"/>
                </a:rPr>
                <a:t>标题文本</a:t>
              </a:r>
            </a:p>
          </p:txBody>
        </p:sp>
        <p:sp>
          <p:nvSpPr>
            <p:cNvPr id="56" name="Rectangle 60">
              <a:extLst>
                <a:ext uri="{FF2B5EF4-FFF2-40B4-BE49-F238E27FC236}">
                  <a16:creationId xmlns:a16="http://schemas.microsoft.com/office/drawing/2014/main" id="{1F573BE0-1E79-4692-8793-52CAA634F440}"/>
                </a:ext>
              </a:extLst>
            </p:cNvPr>
            <p:cNvSpPr/>
            <p:nvPr/>
          </p:nvSpPr>
          <p:spPr>
            <a:xfrm>
              <a:off x="9049046" y="2543603"/>
              <a:ext cx="4885306" cy="640080"/>
            </a:xfrm>
            <a:prstGeom prst="rect">
              <a:avLst/>
            </a:prstGeom>
          </p:spPr>
          <p:txBody>
            <a:bodyPr wrap="square">
              <a:spAutoFit/>
            </a:bodyPr>
            <a:lstStyle/>
            <a:p>
              <a:pPr>
                <a:lnSpc>
                  <a:spcPct val="150000"/>
                </a:lnSpc>
              </a:pPr>
              <a:r>
                <a:rPr altLang="en-US" lang="zh-CN" sz="1200">
                  <a:solidFill>
                    <a:schemeClr val="tx1">
                      <a:lumMod val="75000"/>
                      <a:lumOff val="25000"/>
                    </a:schemeClr>
                  </a:solidFill>
                  <a:latin typeface="+mn-ea"/>
                </a:rPr>
                <a:t>这里可以添加主要内容这里可以添加主要内容这里可以添加主要内容这里可以添加主要内容</a:t>
              </a:r>
            </a:p>
          </p:txBody>
        </p:sp>
      </p:grpSp>
      <p:grpSp>
        <p:nvGrpSpPr>
          <p:cNvPr id="58" name="Group 11">
            <a:extLst>
              <a:ext uri="{FF2B5EF4-FFF2-40B4-BE49-F238E27FC236}">
                <a16:creationId xmlns:a16="http://schemas.microsoft.com/office/drawing/2014/main" id="{09791EF5-C9F7-4BEC-B03C-5132E7F44417}"/>
              </a:ext>
            </a:extLst>
          </p:cNvPr>
          <p:cNvGrpSpPr/>
          <p:nvPr/>
        </p:nvGrpSpPr>
        <p:grpSpPr>
          <a:xfrm>
            <a:off x="6033897" y="3107965"/>
            <a:ext cx="4885307" cy="896327"/>
            <a:chOff x="9049046" y="2265458"/>
            <a:chExt cx="4885306" cy="896330"/>
          </a:xfrm>
        </p:grpSpPr>
        <p:sp>
          <p:nvSpPr>
            <p:cNvPr id="59" name="TextBox 54">
              <a:extLst>
                <a:ext uri="{FF2B5EF4-FFF2-40B4-BE49-F238E27FC236}">
                  <a16:creationId xmlns:a16="http://schemas.microsoft.com/office/drawing/2014/main" id="{9AE580E0-E72A-41F9-A7E4-3EC7BFA36EB7}"/>
                </a:ext>
              </a:extLst>
            </p:cNvPr>
            <p:cNvSpPr txBox="1"/>
            <p:nvPr/>
          </p:nvSpPr>
          <p:spPr>
            <a:xfrm>
              <a:off x="9049046" y="2265458"/>
              <a:ext cx="1198880" cy="396240"/>
            </a:xfrm>
            <a:prstGeom prst="rect">
              <a:avLst/>
            </a:prstGeom>
            <a:noFill/>
          </p:spPr>
          <p:txBody>
            <a:bodyPr rtlCol="0" wrap="none">
              <a:spAutoFit/>
            </a:bodyPr>
            <a:lstStyle/>
            <a:p>
              <a:pPr defTabSz="1219110"/>
              <a:r>
                <a:rPr altLang="en-US" b="1" lang="zh-CN" sz="2000">
                  <a:solidFill>
                    <a:schemeClr val="tx1">
                      <a:lumMod val="85000"/>
                      <a:lumOff val="15000"/>
                    </a:schemeClr>
                  </a:solidFill>
                  <a:latin panose="020f0502020204030204" typeface="等线"/>
                </a:rPr>
                <a:t>标题文本</a:t>
              </a:r>
            </a:p>
          </p:txBody>
        </p:sp>
        <p:sp>
          <p:nvSpPr>
            <p:cNvPr id="60" name="Rectangle 60">
              <a:extLst>
                <a:ext uri="{FF2B5EF4-FFF2-40B4-BE49-F238E27FC236}">
                  <a16:creationId xmlns:a16="http://schemas.microsoft.com/office/drawing/2014/main" id="{D61CAC8F-1233-405B-A08D-AC06B293EDD2}"/>
                </a:ext>
              </a:extLst>
            </p:cNvPr>
            <p:cNvSpPr/>
            <p:nvPr/>
          </p:nvSpPr>
          <p:spPr>
            <a:xfrm>
              <a:off x="9049046" y="2543603"/>
              <a:ext cx="4885306" cy="640080"/>
            </a:xfrm>
            <a:prstGeom prst="rect">
              <a:avLst/>
            </a:prstGeom>
          </p:spPr>
          <p:txBody>
            <a:bodyPr wrap="square">
              <a:spAutoFit/>
            </a:bodyPr>
            <a:lstStyle/>
            <a:p>
              <a:pPr>
                <a:lnSpc>
                  <a:spcPct val="150000"/>
                </a:lnSpc>
              </a:pPr>
              <a:r>
                <a:rPr altLang="en-US" lang="zh-CN" sz="1200">
                  <a:solidFill>
                    <a:schemeClr val="tx1">
                      <a:lumMod val="75000"/>
                      <a:lumOff val="25000"/>
                    </a:schemeClr>
                  </a:solidFill>
                  <a:latin typeface="+mn-ea"/>
                </a:rPr>
                <a:t>这里可以添加主要内容这里可以添加主要内容这里可以添加主要内容这里可以添加主要内容</a:t>
              </a:r>
            </a:p>
          </p:txBody>
        </p:sp>
      </p:grpSp>
      <p:grpSp>
        <p:nvGrpSpPr>
          <p:cNvPr id="61" name="Group 11">
            <a:extLst>
              <a:ext uri="{FF2B5EF4-FFF2-40B4-BE49-F238E27FC236}">
                <a16:creationId xmlns:a16="http://schemas.microsoft.com/office/drawing/2014/main" id="{9D3AD380-F204-49E7-B7B0-4C21836DFB88}"/>
              </a:ext>
            </a:extLst>
          </p:cNvPr>
          <p:cNvGrpSpPr/>
          <p:nvPr/>
        </p:nvGrpSpPr>
        <p:grpSpPr>
          <a:xfrm>
            <a:off x="5223893" y="4622474"/>
            <a:ext cx="4885307" cy="896327"/>
            <a:chOff x="9049046" y="2265458"/>
            <a:chExt cx="4885306" cy="896330"/>
          </a:xfrm>
        </p:grpSpPr>
        <p:sp>
          <p:nvSpPr>
            <p:cNvPr id="62" name="TextBox 54">
              <a:extLst>
                <a:ext uri="{FF2B5EF4-FFF2-40B4-BE49-F238E27FC236}">
                  <a16:creationId xmlns:a16="http://schemas.microsoft.com/office/drawing/2014/main" id="{3B223774-5971-4B7C-BAB8-B612F7F49644}"/>
                </a:ext>
              </a:extLst>
            </p:cNvPr>
            <p:cNvSpPr txBox="1"/>
            <p:nvPr/>
          </p:nvSpPr>
          <p:spPr>
            <a:xfrm>
              <a:off x="9049046" y="2265458"/>
              <a:ext cx="1198880" cy="396240"/>
            </a:xfrm>
            <a:prstGeom prst="rect">
              <a:avLst/>
            </a:prstGeom>
            <a:noFill/>
          </p:spPr>
          <p:txBody>
            <a:bodyPr rtlCol="0" wrap="none">
              <a:spAutoFit/>
            </a:bodyPr>
            <a:lstStyle/>
            <a:p>
              <a:pPr defTabSz="1219110"/>
              <a:r>
                <a:rPr altLang="en-US" b="1" lang="zh-CN" sz="2000">
                  <a:solidFill>
                    <a:schemeClr val="tx1">
                      <a:lumMod val="85000"/>
                      <a:lumOff val="15000"/>
                    </a:schemeClr>
                  </a:solidFill>
                  <a:latin panose="020f0502020204030204" typeface="等线"/>
                </a:rPr>
                <a:t>标题文本</a:t>
              </a:r>
            </a:p>
          </p:txBody>
        </p:sp>
        <p:sp>
          <p:nvSpPr>
            <p:cNvPr id="63" name="Rectangle 60">
              <a:extLst>
                <a:ext uri="{FF2B5EF4-FFF2-40B4-BE49-F238E27FC236}">
                  <a16:creationId xmlns:a16="http://schemas.microsoft.com/office/drawing/2014/main" id="{E494E39D-57B2-4DE6-8A8C-F4DD08BC2B52}"/>
                </a:ext>
              </a:extLst>
            </p:cNvPr>
            <p:cNvSpPr/>
            <p:nvPr/>
          </p:nvSpPr>
          <p:spPr>
            <a:xfrm>
              <a:off x="9049046" y="2543604"/>
              <a:ext cx="4885306" cy="640080"/>
            </a:xfrm>
            <a:prstGeom prst="rect">
              <a:avLst/>
            </a:prstGeom>
          </p:spPr>
          <p:txBody>
            <a:bodyPr wrap="square">
              <a:spAutoFit/>
            </a:bodyPr>
            <a:lstStyle/>
            <a:p>
              <a:pPr>
                <a:lnSpc>
                  <a:spcPct val="150000"/>
                </a:lnSpc>
              </a:pPr>
              <a:r>
                <a:rPr altLang="en-US" lang="zh-CN" sz="1200">
                  <a:solidFill>
                    <a:schemeClr val="tx1">
                      <a:lumMod val="75000"/>
                      <a:lumOff val="25000"/>
                    </a:schemeClr>
                  </a:solidFill>
                  <a:latin typeface="+mn-ea"/>
                </a:rPr>
                <a:t>这里可以添加主要内容这里可以添加主要内容这里可以添加主要内容这里可以添加主要内容</a:t>
              </a:r>
            </a:p>
          </p:txBody>
        </p:sp>
      </p:grpSp>
      <p:cxnSp>
        <p:nvCxnSpPr>
          <p:cNvPr id="3" name="直接连接符 2">
            <a:extLst>
              <a:ext uri="{FF2B5EF4-FFF2-40B4-BE49-F238E27FC236}">
                <a16:creationId xmlns:a16="http://schemas.microsoft.com/office/drawing/2014/main" id="{9514E76E-EF25-47EA-8F5E-C30BB2951B78}"/>
              </a:ext>
            </a:extLst>
          </p:cNvPr>
          <p:cNvCxnSpPr/>
          <p:nvPr/>
        </p:nvCxnSpPr>
        <p:spPr>
          <a:xfrm>
            <a:off x="5702300" y="2863418"/>
            <a:ext cx="4406900" cy="0"/>
          </a:xfrm>
          <a:prstGeom prst="line">
            <a:avLst/>
          </a:prstGeom>
          <a:ln w="1905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68" name="直接连接符 67">
            <a:extLst>
              <a:ext uri="{FF2B5EF4-FFF2-40B4-BE49-F238E27FC236}">
                <a16:creationId xmlns:a16="http://schemas.microsoft.com/office/drawing/2014/main" id="{699EA7B6-CEE6-4D36-A799-2D83AE2E4813}"/>
              </a:ext>
            </a:extLst>
          </p:cNvPr>
          <p:cNvCxnSpPr/>
          <p:nvPr/>
        </p:nvCxnSpPr>
        <p:spPr>
          <a:xfrm>
            <a:off x="5702300" y="4220730"/>
            <a:ext cx="4406900" cy="0"/>
          </a:xfrm>
          <a:prstGeom prst="line">
            <a:avLst/>
          </a:prstGeom>
          <a:ln w="1905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sp>
        <p:nvSpPr>
          <p:cNvPr id="4" name="弧形 3">
            <a:extLst>
              <a:ext uri="{FF2B5EF4-FFF2-40B4-BE49-F238E27FC236}">
                <a16:creationId xmlns:a16="http://schemas.microsoft.com/office/drawing/2014/main" id="{7C6C5170-8C9F-4DBB-A20B-0D8C8A340DB6}"/>
              </a:ext>
            </a:extLst>
          </p:cNvPr>
          <p:cNvSpPr/>
          <p:nvPr/>
        </p:nvSpPr>
        <p:spPr>
          <a:xfrm>
            <a:off x="4281321" y="1789675"/>
            <a:ext cx="432678" cy="469766"/>
          </a:xfrm>
          <a:prstGeom prst="arc">
            <a:avLst>
              <a:gd fmla="val 17767606" name="adj1"/>
              <a:gd fmla="val 20261617" name="adj2"/>
            </a:avLst>
          </a:prstGeom>
          <a:ln cap="rnd" w="38100">
            <a:solidFill>
              <a:srgbClr val="A0CBD0"/>
            </a:solidFill>
            <a:round/>
          </a:ln>
        </p:spPr>
        <p:style>
          <a:lnRef idx="1">
            <a:schemeClr val="accent1"/>
          </a:lnRef>
          <a:fillRef idx="0">
            <a:schemeClr val="accent1"/>
          </a:fillRef>
          <a:effectRef idx="0">
            <a:schemeClr val="accent1"/>
          </a:effectRef>
          <a:fontRef idx="minor">
            <a:schemeClr val="tx1"/>
          </a:fontRef>
        </p:style>
        <p:txBody>
          <a:bodyPr anchor="ctr" rtlCol="0"/>
          <a:lstStyle/>
          <a:p>
            <a:pPr algn="ctr"/>
            <a:endParaRPr altLang="en-US" lang="zh-CN"/>
          </a:p>
        </p:txBody>
      </p:sp>
      <p:sp>
        <p:nvSpPr>
          <p:cNvPr id="71" name="弧形 70">
            <a:extLst>
              <a:ext uri="{FF2B5EF4-FFF2-40B4-BE49-F238E27FC236}">
                <a16:creationId xmlns:a16="http://schemas.microsoft.com/office/drawing/2014/main" id="{0118F863-172B-44B9-B5FC-12A965DBF069}"/>
              </a:ext>
            </a:extLst>
          </p:cNvPr>
          <p:cNvSpPr/>
          <p:nvPr/>
        </p:nvSpPr>
        <p:spPr>
          <a:xfrm>
            <a:off x="4990933" y="3151226"/>
            <a:ext cx="432678" cy="469766"/>
          </a:xfrm>
          <a:prstGeom prst="arc">
            <a:avLst>
              <a:gd fmla="val 17767606" name="adj1"/>
              <a:gd fmla="val 20261617" name="adj2"/>
            </a:avLst>
          </a:prstGeom>
          <a:ln cap="rnd" w="38100">
            <a:solidFill>
              <a:srgbClr val="FFE9B3"/>
            </a:solidFill>
            <a:round/>
          </a:ln>
        </p:spPr>
        <p:style>
          <a:lnRef idx="1">
            <a:schemeClr val="accent1"/>
          </a:lnRef>
          <a:fillRef idx="0">
            <a:schemeClr val="accent1"/>
          </a:fillRef>
          <a:effectRef idx="0">
            <a:schemeClr val="accent1"/>
          </a:effectRef>
          <a:fontRef idx="minor">
            <a:schemeClr val="tx1"/>
          </a:fontRef>
        </p:style>
        <p:txBody>
          <a:bodyPr anchor="ctr" rtlCol="0"/>
          <a:lstStyle/>
          <a:p>
            <a:pPr algn="ctr"/>
            <a:endParaRPr altLang="en-US" lang="zh-CN"/>
          </a:p>
        </p:txBody>
      </p:sp>
      <p:sp>
        <p:nvSpPr>
          <p:cNvPr id="72" name="弧形 71">
            <a:extLst>
              <a:ext uri="{FF2B5EF4-FFF2-40B4-BE49-F238E27FC236}">
                <a16:creationId xmlns:a16="http://schemas.microsoft.com/office/drawing/2014/main" id="{41BFA87C-D41A-4DBA-BC69-3D64A121B400}"/>
              </a:ext>
            </a:extLst>
          </p:cNvPr>
          <p:cNvSpPr/>
          <p:nvPr/>
        </p:nvSpPr>
        <p:spPr>
          <a:xfrm>
            <a:off x="4553536" y="4617279"/>
            <a:ext cx="432678" cy="469766"/>
          </a:xfrm>
          <a:prstGeom prst="arc">
            <a:avLst>
              <a:gd fmla="val 17767606" name="adj1"/>
              <a:gd fmla="val 20261617" name="adj2"/>
            </a:avLst>
          </a:prstGeom>
          <a:ln cap="rnd" w="38100">
            <a:solidFill>
              <a:srgbClr val="FFB9BE"/>
            </a:solidFill>
            <a:round/>
          </a:ln>
        </p:spPr>
        <p:style>
          <a:lnRef idx="1">
            <a:schemeClr val="accent1"/>
          </a:lnRef>
          <a:fillRef idx="0">
            <a:schemeClr val="accent1"/>
          </a:fillRef>
          <a:effectRef idx="0">
            <a:schemeClr val="accent1"/>
          </a:effectRef>
          <a:fontRef idx="minor">
            <a:schemeClr val="tx1"/>
          </a:fontRef>
        </p:style>
        <p:txBody>
          <a:bodyPr anchor="ctr" rtlCol="0"/>
          <a:lstStyle/>
          <a:p>
            <a:pPr algn="ctr"/>
            <a:endParaRPr altLang="en-US" lang="zh-CN"/>
          </a:p>
        </p:txBody>
      </p:sp>
    </p:spTree>
    <p:extLst>
      <p:ext uri="{BB962C8B-B14F-4D97-AF65-F5344CB8AC3E}">
        <p14:creationId val="2961960273"/>
      </p:ext>
    </p:extLst>
  </p:cSld>
  <p:clrMapOvr>
    <a:masterClrMapping/>
  </p:clrMapOvr>
  <mc:AlternateContent>
    <mc:Choice Requires="p14">
      <p:transition p14:dur="1500" spd="slow">
        <p:random/>
      </p:transition>
    </mc:Choice>
    <mc:Fallback>
      <p:transition spd="slow">
        <p:random/>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decel="100000" fill="hold" grpId="0" id="5" nodeType="withEffect" presetClass="entr" presetID="50" presetSubtype="0">
                                  <p:stCondLst>
                                    <p:cond delay="0"/>
                                  </p:stCondLst>
                                  <p:childTnLst>
                                    <p:set>
                                      <p:cBhvr>
                                        <p:cTn dur="1" fill="hold" id="6">
                                          <p:stCondLst>
                                            <p:cond delay="0"/>
                                          </p:stCondLst>
                                        </p:cTn>
                                        <p:tgtEl>
                                          <p:spTgt spid="10"/>
                                        </p:tgtEl>
                                        <p:attrNameLst>
                                          <p:attrName>style.visibility</p:attrName>
                                        </p:attrNameLst>
                                      </p:cBhvr>
                                      <p:to>
                                        <p:strVal val="visible"/>
                                      </p:to>
                                    </p:set>
                                    <p:anim calcmode="lin" valueType="num">
                                      <p:cBhvr>
                                        <p:cTn dur="1000" fill="hold" id="7"/>
                                        <p:tgtEl>
                                          <p:spTgt spid="10"/>
                                        </p:tgtEl>
                                        <p:attrNameLst>
                                          <p:attrName>ppt_w</p:attrName>
                                        </p:attrNameLst>
                                      </p:cBhvr>
                                      <p:tavLst>
                                        <p:tav tm="0">
                                          <p:val>
                                            <p:strVal val="#ppt_w+.3"/>
                                          </p:val>
                                        </p:tav>
                                        <p:tav tm="100000">
                                          <p:val>
                                            <p:strVal val="#ppt_w"/>
                                          </p:val>
                                        </p:tav>
                                      </p:tavLst>
                                    </p:anim>
                                    <p:anim calcmode="lin" valueType="num">
                                      <p:cBhvr>
                                        <p:cTn dur="1000" fill="hold" id="8"/>
                                        <p:tgtEl>
                                          <p:spTgt spid="10"/>
                                        </p:tgtEl>
                                        <p:attrNameLst>
                                          <p:attrName>ppt_h</p:attrName>
                                        </p:attrNameLst>
                                      </p:cBhvr>
                                      <p:tavLst>
                                        <p:tav tm="0">
                                          <p:val>
                                            <p:strVal val="#ppt_h"/>
                                          </p:val>
                                        </p:tav>
                                        <p:tav tm="100000">
                                          <p:val>
                                            <p:strVal val="#ppt_h"/>
                                          </p:val>
                                        </p:tav>
                                      </p:tavLst>
                                    </p:anim>
                                    <p:animEffect filter="fade" transition="in">
                                      <p:cBhvr>
                                        <p:cTn dur="1000" id="9"/>
                                        <p:tgtEl>
                                          <p:spTgt spid="10"/>
                                        </p:tgtEl>
                                      </p:cBhvr>
                                    </p:animEffect>
                                  </p:childTnLst>
                                </p:cTn>
                              </p:par>
                              <p:par>
                                <p:cTn fill="hold" id="10" nodeType="withEffect" presetClass="entr" presetID="53" presetSubtype="0">
                                  <p:stCondLst>
                                    <p:cond delay="250"/>
                                  </p:stCondLst>
                                  <p:childTnLst>
                                    <p:set>
                                      <p:cBhvr>
                                        <p:cTn dur="1" fill="hold" id="11">
                                          <p:stCondLst>
                                            <p:cond delay="0"/>
                                          </p:stCondLst>
                                        </p:cTn>
                                        <p:tgtEl>
                                          <p:spTgt spid="15"/>
                                        </p:tgtEl>
                                        <p:attrNameLst>
                                          <p:attrName>style.visibility</p:attrName>
                                        </p:attrNameLst>
                                      </p:cBhvr>
                                      <p:to>
                                        <p:strVal val="visible"/>
                                      </p:to>
                                    </p:set>
                                    <p:anim calcmode="lin" valueType="num">
                                      <p:cBhvr>
                                        <p:cTn dur="500" fill="hold" id="12"/>
                                        <p:tgtEl>
                                          <p:spTgt spid="15"/>
                                        </p:tgtEl>
                                        <p:attrNameLst>
                                          <p:attrName>ppt_w</p:attrName>
                                        </p:attrNameLst>
                                      </p:cBhvr>
                                      <p:tavLst>
                                        <p:tav tm="0">
                                          <p:val>
                                            <p:fltVal val="0"/>
                                          </p:val>
                                        </p:tav>
                                        <p:tav tm="100000">
                                          <p:val>
                                            <p:strVal val="#ppt_w"/>
                                          </p:val>
                                        </p:tav>
                                      </p:tavLst>
                                    </p:anim>
                                    <p:anim calcmode="lin" valueType="num">
                                      <p:cBhvr>
                                        <p:cTn dur="500" fill="hold" id="13"/>
                                        <p:tgtEl>
                                          <p:spTgt spid="15"/>
                                        </p:tgtEl>
                                        <p:attrNameLst>
                                          <p:attrName>ppt_h</p:attrName>
                                        </p:attrNameLst>
                                      </p:cBhvr>
                                      <p:tavLst>
                                        <p:tav tm="0">
                                          <p:val>
                                            <p:fltVal val="0"/>
                                          </p:val>
                                        </p:tav>
                                        <p:tav tm="100000">
                                          <p:val>
                                            <p:strVal val="#ppt_h"/>
                                          </p:val>
                                        </p:tav>
                                      </p:tavLst>
                                    </p:anim>
                                    <p:animEffect filter="fade" transition="in">
                                      <p:cBhvr>
                                        <p:cTn dur="500" id="14"/>
                                        <p:tgtEl>
                                          <p:spTgt spid="15"/>
                                        </p:tgtEl>
                                      </p:cBhvr>
                                    </p:animEffect>
                                  </p:childTnLst>
                                </p:cTn>
                              </p:par>
                              <p:par>
                                <p:cTn fill="hold" id="15" nodeType="withEffect" presetClass="entr" presetID="53" presetSubtype="0">
                                  <p:stCondLst>
                                    <p:cond delay="250"/>
                                  </p:stCondLst>
                                  <p:childTnLst>
                                    <p:set>
                                      <p:cBhvr>
                                        <p:cTn dur="1" fill="hold" id="16">
                                          <p:stCondLst>
                                            <p:cond delay="0"/>
                                          </p:stCondLst>
                                        </p:cTn>
                                        <p:tgtEl>
                                          <p:spTgt spid="16"/>
                                        </p:tgtEl>
                                        <p:attrNameLst>
                                          <p:attrName>style.visibility</p:attrName>
                                        </p:attrNameLst>
                                      </p:cBhvr>
                                      <p:to>
                                        <p:strVal val="visible"/>
                                      </p:to>
                                    </p:set>
                                    <p:anim calcmode="lin" valueType="num">
                                      <p:cBhvr>
                                        <p:cTn dur="500" fill="hold" id="17"/>
                                        <p:tgtEl>
                                          <p:spTgt spid="16"/>
                                        </p:tgtEl>
                                        <p:attrNameLst>
                                          <p:attrName>ppt_w</p:attrName>
                                        </p:attrNameLst>
                                      </p:cBhvr>
                                      <p:tavLst>
                                        <p:tav tm="0">
                                          <p:val>
                                            <p:fltVal val="0"/>
                                          </p:val>
                                        </p:tav>
                                        <p:tav tm="100000">
                                          <p:val>
                                            <p:strVal val="#ppt_w"/>
                                          </p:val>
                                        </p:tav>
                                      </p:tavLst>
                                    </p:anim>
                                    <p:anim calcmode="lin" valueType="num">
                                      <p:cBhvr>
                                        <p:cTn dur="500" fill="hold" id="18"/>
                                        <p:tgtEl>
                                          <p:spTgt spid="16"/>
                                        </p:tgtEl>
                                        <p:attrNameLst>
                                          <p:attrName>ppt_h</p:attrName>
                                        </p:attrNameLst>
                                      </p:cBhvr>
                                      <p:tavLst>
                                        <p:tav tm="0">
                                          <p:val>
                                            <p:fltVal val="0"/>
                                          </p:val>
                                        </p:tav>
                                        <p:tav tm="100000">
                                          <p:val>
                                            <p:strVal val="#ppt_h"/>
                                          </p:val>
                                        </p:tav>
                                      </p:tavLst>
                                    </p:anim>
                                    <p:animEffect filter="fade" transition="in">
                                      <p:cBhvr>
                                        <p:cTn dur="500" id="19"/>
                                        <p:tgtEl>
                                          <p:spTgt spid="16"/>
                                        </p:tgtEl>
                                      </p:cBhvr>
                                    </p:animEffect>
                                  </p:childTnLst>
                                </p:cTn>
                              </p:par>
                              <p:par>
                                <p:cTn fill="hold" id="20" nodeType="withEffect" presetClass="entr" presetID="22" presetSubtype="8">
                                  <p:stCondLst>
                                    <p:cond delay="750"/>
                                  </p:stCondLst>
                                  <p:childTnLst>
                                    <p:set>
                                      <p:cBhvr>
                                        <p:cTn dur="1" fill="hold" id="21">
                                          <p:stCondLst>
                                            <p:cond delay="0"/>
                                          </p:stCondLst>
                                        </p:cTn>
                                        <p:tgtEl>
                                          <p:spTgt spid="13"/>
                                        </p:tgtEl>
                                        <p:attrNameLst>
                                          <p:attrName>style.visibility</p:attrName>
                                        </p:attrNameLst>
                                      </p:cBhvr>
                                      <p:to>
                                        <p:strVal val="visible"/>
                                      </p:to>
                                    </p:set>
                                    <p:animEffect filter="wipe(left)" transition="in">
                                      <p:cBhvr>
                                        <p:cTn dur="250" id="22"/>
                                        <p:tgtEl>
                                          <p:spTgt spid="13"/>
                                        </p:tgtEl>
                                      </p:cBhvr>
                                    </p:animEffect>
                                  </p:childTnLst>
                                </p:cTn>
                              </p:par>
                              <p:par>
                                <p:cTn fill="hold" id="23" nodeType="withEffect" presetClass="entr" presetID="22" presetSubtype="2">
                                  <p:stCondLst>
                                    <p:cond delay="750"/>
                                  </p:stCondLst>
                                  <p:childTnLst>
                                    <p:set>
                                      <p:cBhvr>
                                        <p:cTn dur="1" fill="hold" id="24">
                                          <p:stCondLst>
                                            <p:cond delay="0"/>
                                          </p:stCondLst>
                                        </p:cTn>
                                        <p:tgtEl>
                                          <p:spTgt spid="18"/>
                                        </p:tgtEl>
                                        <p:attrNameLst>
                                          <p:attrName>style.visibility</p:attrName>
                                        </p:attrNameLst>
                                      </p:cBhvr>
                                      <p:to>
                                        <p:strVal val="visible"/>
                                      </p:to>
                                    </p:set>
                                    <p:animEffect filter="wipe(right)" transition="in">
                                      <p:cBhvr>
                                        <p:cTn dur="250" id="25"/>
                                        <p:tgtEl>
                                          <p:spTgt spid="18"/>
                                        </p:tgtEl>
                                      </p:cBhvr>
                                    </p:animEffect>
                                  </p:childTnLst>
                                </p:cTn>
                              </p:par>
                            </p:childTnLst>
                          </p:cTn>
                        </p:par>
                        <p:par>
                          <p:cTn fill="hold" id="26" nodeType="afterGroup">
                            <p:stCondLst>
                              <p:cond delay="1000"/>
                            </p:stCondLst>
                            <p:childTnLst>
                              <p:par>
                                <p:cTn fill="hold" id="27" nodeType="afterEffect" presetClass="entr" presetID="2" presetSubtype="12">
                                  <p:stCondLst>
                                    <p:cond delay="0"/>
                                  </p:stCondLst>
                                  <p:childTnLst>
                                    <p:set>
                                      <p:cBhvr>
                                        <p:cTn dur="1" fill="hold" id="28">
                                          <p:stCondLst>
                                            <p:cond delay="0"/>
                                          </p:stCondLst>
                                        </p:cTn>
                                        <p:tgtEl>
                                          <p:spTgt spid="6"/>
                                        </p:tgtEl>
                                        <p:attrNameLst>
                                          <p:attrName>style.visibility</p:attrName>
                                        </p:attrNameLst>
                                      </p:cBhvr>
                                      <p:to>
                                        <p:strVal val="visible"/>
                                      </p:to>
                                    </p:set>
                                    <p:anim calcmode="lin" valueType="num">
                                      <p:cBhvr additive="base">
                                        <p:cTn dur="1000" fill="hold" id="29"/>
                                        <p:tgtEl>
                                          <p:spTgt spid="6"/>
                                        </p:tgtEl>
                                        <p:attrNameLst>
                                          <p:attrName>ppt_x</p:attrName>
                                        </p:attrNameLst>
                                      </p:cBhvr>
                                      <p:tavLst>
                                        <p:tav tm="0">
                                          <p:val>
                                            <p:strVal val="0-#ppt_w/2"/>
                                          </p:val>
                                        </p:tav>
                                        <p:tav tm="100000">
                                          <p:val>
                                            <p:strVal val="#ppt_x"/>
                                          </p:val>
                                        </p:tav>
                                      </p:tavLst>
                                    </p:anim>
                                    <p:anim calcmode="lin" valueType="num">
                                      <p:cBhvr additive="base">
                                        <p:cTn dur="1000" fill="hold" id="30"/>
                                        <p:tgtEl>
                                          <p:spTgt spid="6"/>
                                        </p:tgtEl>
                                        <p:attrNameLst>
                                          <p:attrName>ppt_y</p:attrName>
                                        </p:attrNameLst>
                                      </p:cBhvr>
                                      <p:tavLst>
                                        <p:tav tm="0">
                                          <p:val>
                                            <p:strVal val="1+#ppt_h/2"/>
                                          </p:val>
                                        </p:tav>
                                        <p:tav tm="100000">
                                          <p:val>
                                            <p:strVal val="#ppt_y"/>
                                          </p:val>
                                        </p:tav>
                                      </p:tavLst>
                                    </p:anim>
                                  </p:childTnLst>
                                </p:cTn>
                              </p:par>
                              <p:par>
                                <p:cTn decel="100000" fill="hold" id="31" nodeType="withEffect" presetClass="entr" presetID="49" presetSubtype="0">
                                  <p:stCondLst>
                                    <p:cond delay="0"/>
                                  </p:stCondLst>
                                  <p:childTnLst>
                                    <p:set>
                                      <p:cBhvr>
                                        <p:cTn dur="1" fill="hold" id="32">
                                          <p:stCondLst>
                                            <p:cond delay="0"/>
                                          </p:stCondLst>
                                        </p:cTn>
                                        <p:tgtEl>
                                          <p:spTgt spid="6"/>
                                        </p:tgtEl>
                                        <p:attrNameLst>
                                          <p:attrName>style.visibility</p:attrName>
                                        </p:attrNameLst>
                                      </p:cBhvr>
                                      <p:to>
                                        <p:strVal val="visible"/>
                                      </p:to>
                                    </p:set>
                                    <p:anim calcmode="lin" valueType="num">
                                      <p:cBhvr>
                                        <p:cTn dur="1000" fill="hold" id="33"/>
                                        <p:tgtEl>
                                          <p:spTgt spid="6"/>
                                        </p:tgtEl>
                                        <p:attrNameLst>
                                          <p:attrName>ppt_w</p:attrName>
                                        </p:attrNameLst>
                                      </p:cBhvr>
                                      <p:tavLst>
                                        <p:tav tm="0">
                                          <p:val>
                                            <p:fltVal val="0"/>
                                          </p:val>
                                        </p:tav>
                                        <p:tav tm="100000">
                                          <p:val>
                                            <p:strVal val="#ppt_w"/>
                                          </p:val>
                                        </p:tav>
                                      </p:tavLst>
                                    </p:anim>
                                    <p:anim calcmode="lin" valueType="num">
                                      <p:cBhvr>
                                        <p:cTn dur="1000" fill="hold" id="34"/>
                                        <p:tgtEl>
                                          <p:spTgt spid="6"/>
                                        </p:tgtEl>
                                        <p:attrNameLst>
                                          <p:attrName>ppt_h</p:attrName>
                                        </p:attrNameLst>
                                      </p:cBhvr>
                                      <p:tavLst>
                                        <p:tav tm="0">
                                          <p:val>
                                            <p:fltVal val="0"/>
                                          </p:val>
                                        </p:tav>
                                        <p:tav tm="100000">
                                          <p:val>
                                            <p:strVal val="#ppt_h"/>
                                          </p:val>
                                        </p:tav>
                                      </p:tavLst>
                                    </p:anim>
                                    <p:anim calcmode="lin" valueType="num">
                                      <p:cBhvr>
                                        <p:cTn dur="1000" fill="hold" id="35"/>
                                        <p:tgtEl>
                                          <p:spTgt spid="6"/>
                                        </p:tgtEl>
                                        <p:attrNameLst>
                                          <p:attrName>style.rotation</p:attrName>
                                        </p:attrNameLst>
                                      </p:cBhvr>
                                      <p:tavLst>
                                        <p:tav tm="0">
                                          <p:val>
                                            <p:fltVal val="360"/>
                                          </p:val>
                                        </p:tav>
                                        <p:tav tm="100000">
                                          <p:val>
                                            <p:fltVal val="0"/>
                                          </p:val>
                                        </p:tav>
                                      </p:tavLst>
                                    </p:anim>
                                    <p:animEffect filter="fade" transition="in">
                                      <p:cBhvr>
                                        <p:cTn dur="1000" id="36"/>
                                        <p:tgtEl>
                                          <p:spTgt spid="6"/>
                                        </p:tgtEl>
                                      </p:cBhvr>
                                    </p:animEffect>
                                  </p:childTnLst>
                                </p:cTn>
                              </p:par>
                            </p:childTnLst>
                          </p:cTn>
                        </p:par>
                        <p:par>
                          <p:cTn fill="hold" id="37" nodeType="afterGroup">
                            <p:stCondLst>
                              <p:cond delay="2000"/>
                            </p:stCondLst>
                            <p:childTnLst>
                              <p:par>
                                <p:cTn fill="hold" grpId="0" id="38" nodeType="afterEffect" presetClass="entr" presetID="21" presetSubtype="1">
                                  <p:stCondLst>
                                    <p:cond delay="0"/>
                                  </p:stCondLst>
                                  <p:childTnLst>
                                    <p:set>
                                      <p:cBhvr>
                                        <p:cTn dur="1" fill="hold" id="39">
                                          <p:stCondLst>
                                            <p:cond delay="0"/>
                                          </p:stCondLst>
                                        </p:cTn>
                                        <p:tgtEl>
                                          <p:spTgt spid="14"/>
                                        </p:tgtEl>
                                        <p:attrNameLst>
                                          <p:attrName>style.visibility</p:attrName>
                                        </p:attrNameLst>
                                      </p:cBhvr>
                                      <p:to>
                                        <p:strVal val="visible"/>
                                      </p:to>
                                    </p:set>
                                    <p:animEffect filter="wheel(1)" transition="in">
                                      <p:cBhvr>
                                        <p:cTn dur="500" id="40"/>
                                        <p:tgtEl>
                                          <p:spTgt spid="14"/>
                                        </p:tgtEl>
                                      </p:cBhvr>
                                    </p:animEffect>
                                  </p:childTnLst>
                                </p:cTn>
                              </p:par>
                              <p:par>
                                <p:cTn fill="hold" grpId="0" id="41" nodeType="withEffect" presetClass="entr" presetID="53" presetSubtype="0">
                                  <p:stCondLst>
                                    <p:cond delay="0"/>
                                  </p:stCondLst>
                                  <p:childTnLst>
                                    <p:set>
                                      <p:cBhvr>
                                        <p:cTn dur="1" fill="hold" id="42">
                                          <p:stCondLst>
                                            <p:cond delay="0"/>
                                          </p:stCondLst>
                                        </p:cTn>
                                        <p:tgtEl>
                                          <p:spTgt spid="12"/>
                                        </p:tgtEl>
                                        <p:attrNameLst>
                                          <p:attrName>style.visibility</p:attrName>
                                        </p:attrNameLst>
                                      </p:cBhvr>
                                      <p:to>
                                        <p:strVal val="visible"/>
                                      </p:to>
                                    </p:set>
                                    <p:anim calcmode="lin" valueType="num">
                                      <p:cBhvr>
                                        <p:cTn dur="500" fill="hold" id="43"/>
                                        <p:tgtEl>
                                          <p:spTgt spid="12"/>
                                        </p:tgtEl>
                                        <p:attrNameLst>
                                          <p:attrName>ppt_w</p:attrName>
                                        </p:attrNameLst>
                                      </p:cBhvr>
                                      <p:tavLst>
                                        <p:tav tm="0">
                                          <p:val>
                                            <p:fltVal val="0"/>
                                          </p:val>
                                        </p:tav>
                                        <p:tav tm="100000">
                                          <p:val>
                                            <p:strVal val="#ppt_w"/>
                                          </p:val>
                                        </p:tav>
                                      </p:tavLst>
                                    </p:anim>
                                    <p:anim calcmode="lin" valueType="num">
                                      <p:cBhvr>
                                        <p:cTn dur="500" fill="hold" id="44"/>
                                        <p:tgtEl>
                                          <p:spTgt spid="12"/>
                                        </p:tgtEl>
                                        <p:attrNameLst>
                                          <p:attrName>ppt_h</p:attrName>
                                        </p:attrNameLst>
                                      </p:cBhvr>
                                      <p:tavLst>
                                        <p:tav tm="0">
                                          <p:val>
                                            <p:fltVal val="0"/>
                                          </p:val>
                                        </p:tav>
                                        <p:tav tm="100000">
                                          <p:val>
                                            <p:strVal val="#ppt_h"/>
                                          </p:val>
                                        </p:tav>
                                      </p:tavLst>
                                    </p:anim>
                                    <p:animEffect filter="fade" transition="in">
                                      <p:cBhvr>
                                        <p:cTn dur="500" id="45"/>
                                        <p:tgtEl>
                                          <p:spTgt spid="12"/>
                                        </p:tgtEl>
                                      </p:cBhvr>
                                    </p:animEffect>
                                  </p:childTnLst>
                                </p:cTn>
                              </p:par>
                            </p:childTnLst>
                          </p:cTn>
                        </p:par>
                        <p:par>
                          <p:cTn fill="hold" id="46" nodeType="afterGroup">
                            <p:stCondLst>
                              <p:cond delay="2500"/>
                            </p:stCondLst>
                            <p:childTnLst>
                              <p:par>
                                <p:cTn fill="hold" grpId="0" id="47" nodeType="afterEffect" presetClass="entr" presetID="53" presetSubtype="0">
                                  <p:stCondLst>
                                    <p:cond delay="0"/>
                                  </p:stCondLst>
                                  <p:childTnLst>
                                    <p:set>
                                      <p:cBhvr>
                                        <p:cTn dur="1" fill="hold" id="48">
                                          <p:stCondLst>
                                            <p:cond delay="0"/>
                                          </p:stCondLst>
                                        </p:cTn>
                                        <p:tgtEl>
                                          <p:spTgt spid="30"/>
                                        </p:tgtEl>
                                        <p:attrNameLst>
                                          <p:attrName>style.visibility</p:attrName>
                                        </p:attrNameLst>
                                      </p:cBhvr>
                                      <p:to>
                                        <p:strVal val="visible"/>
                                      </p:to>
                                    </p:set>
                                    <p:anim calcmode="lin" valueType="num">
                                      <p:cBhvr>
                                        <p:cTn dur="500" fill="hold" id="49"/>
                                        <p:tgtEl>
                                          <p:spTgt spid="30"/>
                                        </p:tgtEl>
                                        <p:attrNameLst>
                                          <p:attrName>ppt_w</p:attrName>
                                        </p:attrNameLst>
                                      </p:cBhvr>
                                      <p:tavLst>
                                        <p:tav tm="0">
                                          <p:val>
                                            <p:fltVal val="0"/>
                                          </p:val>
                                        </p:tav>
                                        <p:tav tm="100000">
                                          <p:val>
                                            <p:strVal val="#ppt_w"/>
                                          </p:val>
                                        </p:tav>
                                      </p:tavLst>
                                    </p:anim>
                                    <p:anim calcmode="lin" valueType="num">
                                      <p:cBhvr>
                                        <p:cTn dur="500" fill="hold" id="50"/>
                                        <p:tgtEl>
                                          <p:spTgt spid="30"/>
                                        </p:tgtEl>
                                        <p:attrNameLst>
                                          <p:attrName>ppt_h</p:attrName>
                                        </p:attrNameLst>
                                      </p:cBhvr>
                                      <p:tavLst>
                                        <p:tav tm="0">
                                          <p:val>
                                            <p:fltVal val="0"/>
                                          </p:val>
                                        </p:tav>
                                        <p:tav tm="100000">
                                          <p:val>
                                            <p:strVal val="#ppt_h"/>
                                          </p:val>
                                        </p:tav>
                                      </p:tavLst>
                                    </p:anim>
                                    <p:animEffect filter="fade" transition="in">
                                      <p:cBhvr>
                                        <p:cTn dur="500" id="51"/>
                                        <p:tgtEl>
                                          <p:spTgt spid="30"/>
                                        </p:tgtEl>
                                      </p:cBhvr>
                                    </p:animEffect>
                                  </p:childTnLst>
                                </p:cTn>
                              </p:par>
                              <p:par>
                                <p:cTn fill="hold" grpId="0" id="52" nodeType="withEffect" presetClass="entr" presetID="10" presetSubtype="0">
                                  <p:stCondLst>
                                    <p:cond delay="0"/>
                                  </p:stCondLst>
                                  <p:childTnLst>
                                    <p:set>
                                      <p:cBhvr>
                                        <p:cTn dur="1" fill="hold" id="53">
                                          <p:stCondLst>
                                            <p:cond delay="0"/>
                                          </p:stCondLst>
                                        </p:cTn>
                                        <p:tgtEl>
                                          <p:spTgt spid="4"/>
                                        </p:tgtEl>
                                        <p:attrNameLst>
                                          <p:attrName>style.visibility</p:attrName>
                                        </p:attrNameLst>
                                      </p:cBhvr>
                                      <p:to>
                                        <p:strVal val="visible"/>
                                      </p:to>
                                    </p:set>
                                    <p:animEffect filter="fade" transition="in">
                                      <p:cBhvr>
                                        <p:cTn dur="500" id="54"/>
                                        <p:tgtEl>
                                          <p:spTgt spid="4"/>
                                        </p:tgtEl>
                                      </p:cBhvr>
                                    </p:animEffect>
                                  </p:childTnLst>
                                </p:cTn>
                              </p:par>
                            </p:childTnLst>
                          </p:cTn>
                        </p:par>
                        <p:par>
                          <p:cTn fill="hold" id="55" nodeType="afterGroup">
                            <p:stCondLst>
                              <p:cond delay="3000"/>
                            </p:stCondLst>
                            <p:childTnLst>
                              <p:par>
                                <p:cTn fill="hold" id="56" nodeType="afterEffect" presetClass="entr" presetID="14" presetSubtype="10">
                                  <p:stCondLst>
                                    <p:cond delay="0"/>
                                  </p:stCondLst>
                                  <p:childTnLst>
                                    <p:set>
                                      <p:cBhvr>
                                        <p:cTn dur="1" fill="hold" id="57">
                                          <p:stCondLst>
                                            <p:cond delay="0"/>
                                          </p:stCondLst>
                                        </p:cTn>
                                        <p:tgtEl>
                                          <p:spTgt spid="54"/>
                                        </p:tgtEl>
                                        <p:attrNameLst>
                                          <p:attrName>style.visibility</p:attrName>
                                        </p:attrNameLst>
                                      </p:cBhvr>
                                      <p:to>
                                        <p:strVal val="visible"/>
                                      </p:to>
                                    </p:set>
                                    <p:animEffect filter="randombar(horizontal)" transition="in">
                                      <p:cBhvr>
                                        <p:cTn dur="500" id="58"/>
                                        <p:tgtEl>
                                          <p:spTgt spid="54"/>
                                        </p:tgtEl>
                                      </p:cBhvr>
                                    </p:animEffect>
                                  </p:childTnLst>
                                </p:cTn>
                              </p:par>
                            </p:childTnLst>
                          </p:cTn>
                        </p:par>
                        <p:par>
                          <p:cTn fill="hold" id="59" nodeType="afterGroup">
                            <p:stCondLst>
                              <p:cond delay="3500"/>
                            </p:stCondLst>
                            <p:childTnLst>
                              <p:par>
                                <p:cTn fill="hold" id="60" nodeType="afterEffect" presetClass="entr" presetID="22" presetSubtype="8">
                                  <p:stCondLst>
                                    <p:cond delay="0"/>
                                  </p:stCondLst>
                                  <p:childTnLst>
                                    <p:set>
                                      <p:cBhvr>
                                        <p:cTn dur="1" fill="hold" id="61">
                                          <p:stCondLst>
                                            <p:cond delay="0"/>
                                          </p:stCondLst>
                                        </p:cTn>
                                        <p:tgtEl>
                                          <p:spTgt spid="3"/>
                                        </p:tgtEl>
                                        <p:attrNameLst>
                                          <p:attrName>style.visibility</p:attrName>
                                        </p:attrNameLst>
                                      </p:cBhvr>
                                      <p:to>
                                        <p:strVal val="visible"/>
                                      </p:to>
                                    </p:set>
                                    <p:animEffect filter="wipe(left)" transition="in">
                                      <p:cBhvr>
                                        <p:cTn dur="500" id="62"/>
                                        <p:tgtEl>
                                          <p:spTgt spid="3"/>
                                        </p:tgtEl>
                                      </p:cBhvr>
                                    </p:animEffect>
                                  </p:childTnLst>
                                </p:cTn>
                              </p:par>
                            </p:childTnLst>
                          </p:cTn>
                        </p:par>
                        <p:par>
                          <p:cTn fill="hold" id="63" nodeType="afterGroup">
                            <p:stCondLst>
                              <p:cond delay="4000"/>
                            </p:stCondLst>
                            <p:childTnLst>
                              <p:par>
                                <p:cTn fill="hold" grpId="0" id="64" nodeType="afterEffect" presetClass="entr" presetID="53" presetSubtype="0">
                                  <p:stCondLst>
                                    <p:cond delay="0"/>
                                  </p:stCondLst>
                                  <p:childTnLst>
                                    <p:set>
                                      <p:cBhvr>
                                        <p:cTn dur="1" fill="hold" id="65">
                                          <p:stCondLst>
                                            <p:cond delay="0"/>
                                          </p:stCondLst>
                                        </p:cTn>
                                        <p:tgtEl>
                                          <p:spTgt spid="51"/>
                                        </p:tgtEl>
                                        <p:attrNameLst>
                                          <p:attrName>style.visibility</p:attrName>
                                        </p:attrNameLst>
                                      </p:cBhvr>
                                      <p:to>
                                        <p:strVal val="visible"/>
                                      </p:to>
                                    </p:set>
                                    <p:anim calcmode="lin" valueType="num">
                                      <p:cBhvr>
                                        <p:cTn dur="500" fill="hold" id="66"/>
                                        <p:tgtEl>
                                          <p:spTgt spid="51"/>
                                        </p:tgtEl>
                                        <p:attrNameLst>
                                          <p:attrName>ppt_w</p:attrName>
                                        </p:attrNameLst>
                                      </p:cBhvr>
                                      <p:tavLst>
                                        <p:tav tm="0">
                                          <p:val>
                                            <p:fltVal val="0"/>
                                          </p:val>
                                        </p:tav>
                                        <p:tav tm="100000">
                                          <p:val>
                                            <p:strVal val="#ppt_w"/>
                                          </p:val>
                                        </p:tav>
                                      </p:tavLst>
                                    </p:anim>
                                    <p:anim calcmode="lin" valueType="num">
                                      <p:cBhvr>
                                        <p:cTn dur="500" fill="hold" id="67"/>
                                        <p:tgtEl>
                                          <p:spTgt spid="51"/>
                                        </p:tgtEl>
                                        <p:attrNameLst>
                                          <p:attrName>ppt_h</p:attrName>
                                        </p:attrNameLst>
                                      </p:cBhvr>
                                      <p:tavLst>
                                        <p:tav tm="0">
                                          <p:val>
                                            <p:fltVal val="0"/>
                                          </p:val>
                                        </p:tav>
                                        <p:tav tm="100000">
                                          <p:val>
                                            <p:strVal val="#ppt_h"/>
                                          </p:val>
                                        </p:tav>
                                      </p:tavLst>
                                    </p:anim>
                                    <p:animEffect filter="fade" transition="in">
                                      <p:cBhvr>
                                        <p:cTn dur="500" id="68"/>
                                        <p:tgtEl>
                                          <p:spTgt spid="51"/>
                                        </p:tgtEl>
                                      </p:cBhvr>
                                    </p:animEffect>
                                  </p:childTnLst>
                                </p:cTn>
                              </p:par>
                              <p:par>
                                <p:cTn fill="hold" grpId="0" id="69" nodeType="withEffect" presetClass="entr" presetID="10" presetSubtype="0">
                                  <p:stCondLst>
                                    <p:cond delay="0"/>
                                  </p:stCondLst>
                                  <p:childTnLst>
                                    <p:set>
                                      <p:cBhvr>
                                        <p:cTn dur="1" fill="hold" id="70">
                                          <p:stCondLst>
                                            <p:cond delay="0"/>
                                          </p:stCondLst>
                                        </p:cTn>
                                        <p:tgtEl>
                                          <p:spTgt spid="71"/>
                                        </p:tgtEl>
                                        <p:attrNameLst>
                                          <p:attrName>style.visibility</p:attrName>
                                        </p:attrNameLst>
                                      </p:cBhvr>
                                      <p:to>
                                        <p:strVal val="visible"/>
                                      </p:to>
                                    </p:set>
                                    <p:animEffect filter="fade" transition="in">
                                      <p:cBhvr>
                                        <p:cTn dur="500" id="71"/>
                                        <p:tgtEl>
                                          <p:spTgt spid="71"/>
                                        </p:tgtEl>
                                      </p:cBhvr>
                                    </p:animEffect>
                                  </p:childTnLst>
                                </p:cTn>
                              </p:par>
                            </p:childTnLst>
                          </p:cTn>
                        </p:par>
                        <p:par>
                          <p:cTn fill="hold" id="72" nodeType="afterGroup">
                            <p:stCondLst>
                              <p:cond delay="4500"/>
                            </p:stCondLst>
                            <p:childTnLst>
                              <p:par>
                                <p:cTn fill="hold" id="73" nodeType="afterEffect" presetClass="entr" presetID="14" presetSubtype="10">
                                  <p:stCondLst>
                                    <p:cond delay="0"/>
                                  </p:stCondLst>
                                  <p:childTnLst>
                                    <p:set>
                                      <p:cBhvr>
                                        <p:cTn dur="1" fill="hold" id="74">
                                          <p:stCondLst>
                                            <p:cond delay="0"/>
                                          </p:stCondLst>
                                        </p:cTn>
                                        <p:tgtEl>
                                          <p:spTgt spid="58"/>
                                        </p:tgtEl>
                                        <p:attrNameLst>
                                          <p:attrName>style.visibility</p:attrName>
                                        </p:attrNameLst>
                                      </p:cBhvr>
                                      <p:to>
                                        <p:strVal val="visible"/>
                                      </p:to>
                                    </p:set>
                                    <p:animEffect filter="randombar(horizontal)" transition="in">
                                      <p:cBhvr>
                                        <p:cTn dur="500" id="75"/>
                                        <p:tgtEl>
                                          <p:spTgt spid="58"/>
                                        </p:tgtEl>
                                      </p:cBhvr>
                                    </p:animEffect>
                                  </p:childTnLst>
                                </p:cTn>
                              </p:par>
                            </p:childTnLst>
                          </p:cTn>
                        </p:par>
                        <p:par>
                          <p:cTn fill="hold" id="76" nodeType="afterGroup">
                            <p:stCondLst>
                              <p:cond delay="5000"/>
                            </p:stCondLst>
                            <p:childTnLst>
                              <p:par>
                                <p:cTn fill="hold" id="77" nodeType="afterEffect" presetClass="entr" presetID="22" presetSubtype="8">
                                  <p:stCondLst>
                                    <p:cond delay="0"/>
                                  </p:stCondLst>
                                  <p:childTnLst>
                                    <p:set>
                                      <p:cBhvr>
                                        <p:cTn dur="1" fill="hold" id="78">
                                          <p:stCondLst>
                                            <p:cond delay="0"/>
                                          </p:stCondLst>
                                        </p:cTn>
                                        <p:tgtEl>
                                          <p:spTgt spid="68"/>
                                        </p:tgtEl>
                                        <p:attrNameLst>
                                          <p:attrName>style.visibility</p:attrName>
                                        </p:attrNameLst>
                                      </p:cBhvr>
                                      <p:to>
                                        <p:strVal val="visible"/>
                                      </p:to>
                                    </p:set>
                                    <p:animEffect filter="wipe(left)" transition="in">
                                      <p:cBhvr>
                                        <p:cTn dur="500" id="79"/>
                                        <p:tgtEl>
                                          <p:spTgt spid="68"/>
                                        </p:tgtEl>
                                      </p:cBhvr>
                                    </p:animEffect>
                                  </p:childTnLst>
                                </p:cTn>
                              </p:par>
                            </p:childTnLst>
                          </p:cTn>
                        </p:par>
                        <p:par>
                          <p:cTn fill="hold" id="80" nodeType="afterGroup">
                            <p:stCondLst>
                              <p:cond delay="5500"/>
                            </p:stCondLst>
                            <p:childTnLst>
                              <p:par>
                                <p:cTn fill="hold" grpId="0" id="81" nodeType="afterEffect" presetClass="entr" presetID="53" presetSubtype="0">
                                  <p:stCondLst>
                                    <p:cond delay="0"/>
                                  </p:stCondLst>
                                  <p:childTnLst>
                                    <p:set>
                                      <p:cBhvr>
                                        <p:cTn dur="1" fill="hold" id="82">
                                          <p:stCondLst>
                                            <p:cond delay="0"/>
                                          </p:stCondLst>
                                        </p:cTn>
                                        <p:tgtEl>
                                          <p:spTgt spid="52"/>
                                        </p:tgtEl>
                                        <p:attrNameLst>
                                          <p:attrName>style.visibility</p:attrName>
                                        </p:attrNameLst>
                                      </p:cBhvr>
                                      <p:to>
                                        <p:strVal val="visible"/>
                                      </p:to>
                                    </p:set>
                                    <p:anim calcmode="lin" valueType="num">
                                      <p:cBhvr>
                                        <p:cTn dur="500" fill="hold" id="83"/>
                                        <p:tgtEl>
                                          <p:spTgt spid="52"/>
                                        </p:tgtEl>
                                        <p:attrNameLst>
                                          <p:attrName>ppt_w</p:attrName>
                                        </p:attrNameLst>
                                      </p:cBhvr>
                                      <p:tavLst>
                                        <p:tav tm="0">
                                          <p:val>
                                            <p:fltVal val="0"/>
                                          </p:val>
                                        </p:tav>
                                        <p:tav tm="100000">
                                          <p:val>
                                            <p:strVal val="#ppt_w"/>
                                          </p:val>
                                        </p:tav>
                                      </p:tavLst>
                                    </p:anim>
                                    <p:anim calcmode="lin" valueType="num">
                                      <p:cBhvr>
                                        <p:cTn dur="500" fill="hold" id="84"/>
                                        <p:tgtEl>
                                          <p:spTgt spid="52"/>
                                        </p:tgtEl>
                                        <p:attrNameLst>
                                          <p:attrName>ppt_h</p:attrName>
                                        </p:attrNameLst>
                                      </p:cBhvr>
                                      <p:tavLst>
                                        <p:tav tm="0">
                                          <p:val>
                                            <p:fltVal val="0"/>
                                          </p:val>
                                        </p:tav>
                                        <p:tav tm="100000">
                                          <p:val>
                                            <p:strVal val="#ppt_h"/>
                                          </p:val>
                                        </p:tav>
                                      </p:tavLst>
                                    </p:anim>
                                    <p:animEffect filter="fade" transition="in">
                                      <p:cBhvr>
                                        <p:cTn dur="500" id="85"/>
                                        <p:tgtEl>
                                          <p:spTgt spid="52"/>
                                        </p:tgtEl>
                                      </p:cBhvr>
                                    </p:animEffect>
                                  </p:childTnLst>
                                </p:cTn>
                              </p:par>
                              <p:par>
                                <p:cTn fill="hold" grpId="0" id="86" nodeType="withEffect" presetClass="entr" presetID="10" presetSubtype="0">
                                  <p:stCondLst>
                                    <p:cond delay="0"/>
                                  </p:stCondLst>
                                  <p:childTnLst>
                                    <p:set>
                                      <p:cBhvr>
                                        <p:cTn dur="1" fill="hold" id="87">
                                          <p:stCondLst>
                                            <p:cond delay="0"/>
                                          </p:stCondLst>
                                        </p:cTn>
                                        <p:tgtEl>
                                          <p:spTgt spid="72"/>
                                        </p:tgtEl>
                                        <p:attrNameLst>
                                          <p:attrName>style.visibility</p:attrName>
                                        </p:attrNameLst>
                                      </p:cBhvr>
                                      <p:to>
                                        <p:strVal val="visible"/>
                                      </p:to>
                                    </p:set>
                                    <p:animEffect filter="fade" transition="in">
                                      <p:cBhvr>
                                        <p:cTn dur="500" id="88"/>
                                        <p:tgtEl>
                                          <p:spTgt spid="72"/>
                                        </p:tgtEl>
                                      </p:cBhvr>
                                    </p:animEffect>
                                  </p:childTnLst>
                                </p:cTn>
                              </p:par>
                            </p:childTnLst>
                          </p:cTn>
                        </p:par>
                        <p:par>
                          <p:cTn fill="hold" id="89" nodeType="afterGroup">
                            <p:stCondLst>
                              <p:cond delay="6000"/>
                            </p:stCondLst>
                            <p:childTnLst>
                              <p:par>
                                <p:cTn fill="hold" id="90" nodeType="afterEffect" presetClass="entr" presetID="14" presetSubtype="10">
                                  <p:stCondLst>
                                    <p:cond delay="0"/>
                                  </p:stCondLst>
                                  <p:childTnLst>
                                    <p:set>
                                      <p:cBhvr>
                                        <p:cTn dur="1" fill="hold" id="91">
                                          <p:stCondLst>
                                            <p:cond delay="0"/>
                                          </p:stCondLst>
                                        </p:cTn>
                                        <p:tgtEl>
                                          <p:spTgt spid="61"/>
                                        </p:tgtEl>
                                        <p:attrNameLst>
                                          <p:attrName>style.visibility</p:attrName>
                                        </p:attrNameLst>
                                      </p:cBhvr>
                                      <p:to>
                                        <p:strVal val="visible"/>
                                      </p:to>
                                    </p:set>
                                    <p:animEffect filter="randombar(horizontal)" transition="in">
                                      <p:cBhvr>
                                        <p:cTn dur="500" id="92"/>
                                        <p:tgtEl>
                                          <p:spTgt spid="61"/>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10"/>
      <p:bldP grpId="0" spid="12"/>
      <p:bldP grpId="0" spid="14"/>
      <p:bldP grpId="0" spid="30"/>
      <p:bldP grpId="0" spid="51"/>
      <p:bldP grpId="0" spid="52"/>
      <p:bldP grpId="0" spid="4"/>
      <p:bldP grpId="0" spid="71"/>
      <p:bldP grpId="0" spid="72"/>
    </p:bldLst>
  </p:timing>
</p:sld>
</file>

<file path=ppt/slides/slide17.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7" name="椭圆 6">
            <a:extLst>
              <a:ext uri="{FF2B5EF4-FFF2-40B4-BE49-F238E27FC236}">
                <a16:creationId xmlns:a16="http://schemas.microsoft.com/office/drawing/2014/main" id="{97F35CCF-B1AD-40AD-9D77-E1886CA3C847}"/>
              </a:ext>
            </a:extLst>
          </p:cNvPr>
          <p:cNvSpPr/>
          <p:nvPr/>
        </p:nvSpPr>
        <p:spPr>
          <a:xfrm>
            <a:off x="11325281" y="5957455"/>
            <a:ext cx="1193212" cy="1193212"/>
          </a:xfrm>
          <a:prstGeom prst="ellipse">
            <a:avLst/>
          </a:prstGeom>
          <a:solidFill>
            <a:srgbClr val="A0CBD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10" name="文本框 9">
            <a:extLst>
              <a:ext uri="{FF2B5EF4-FFF2-40B4-BE49-F238E27FC236}">
                <a16:creationId xmlns:a16="http://schemas.microsoft.com/office/drawing/2014/main" id="{3EF1E9ED-80AB-4909-8BA5-A43F4FCE2334}"/>
              </a:ext>
            </a:extLst>
          </p:cNvPr>
          <p:cNvSpPr txBox="1"/>
          <p:nvPr/>
        </p:nvSpPr>
        <p:spPr>
          <a:xfrm>
            <a:off x="4133850" y="390618"/>
            <a:ext cx="3924300" cy="640080"/>
          </a:xfrm>
          <a:prstGeom prst="rect">
            <a:avLst/>
          </a:prstGeom>
          <a:noFill/>
        </p:spPr>
        <p:txBody>
          <a:bodyPr rtlCol="0" wrap="square">
            <a:spAutoFit/>
          </a:bodyPr>
          <a:lstStyle/>
          <a:p>
            <a:pPr algn="ctr"/>
            <a:r>
              <a:rPr altLang="en-US" lang="zh-CN" sz="3600">
                <a:solidFill>
                  <a:schemeClr val="tx1">
                    <a:lumMod val="85000"/>
                    <a:lumOff val="15000"/>
                  </a:schemeClr>
                </a:solidFill>
                <a:latin charset="-122" panose="02000500000000000000" pitchFamily="2" typeface="方正雅士黑 简"/>
                <a:ea charset="-122" panose="02000500000000000000" pitchFamily="2" typeface="方正雅士黑 简"/>
              </a:rPr>
              <a:t>工作经验总结</a:t>
            </a:r>
          </a:p>
        </p:txBody>
      </p:sp>
      <p:cxnSp>
        <p:nvCxnSpPr>
          <p:cNvPr id="13" name="直接连接符 12">
            <a:extLst>
              <a:ext uri="{FF2B5EF4-FFF2-40B4-BE49-F238E27FC236}">
                <a16:creationId xmlns:a16="http://schemas.microsoft.com/office/drawing/2014/main" id="{63C006F1-C17E-4B5D-A667-14B1AFD009FE}"/>
              </a:ext>
            </a:extLst>
          </p:cNvPr>
          <p:cNvCxnSpPr/>
          <p:nvPr/>
        </p:nvCxnSpPr>
        <p:spPr>
          <a:xfrm>
            <a:off x="7791452" y="683005"/>
            <a:ext cx="571498" cy="0"/>
          </a:xfrm>
          <a:prstGeom prst="line">
            <a:avLst/>
          </a:prstGeom>
          <a:ln cap="rnd" w="19050">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pic>
        <p:nvPicPr>
          <p:cNvPr id="15" name="图形 14">
            <a:extLst>
              <a:ext uri="{FF2B5EF4-FFF2-40B4-BE49-F238E27FC236}">
                <a16:creationId xmlns:a16="http://schemas.microsoft.com/office/drawing/2014/main" id="{D0B6809A-9193-440B-AB59-9B5857A764E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314825" y="597280"/>
            <a:ext cx="171450" cy="171450"/>
          </a:xfrm>
          <a:prstGeom prst="rect">
            <a:avLst/>
          </a:prstGeom>
        </p:spPr>
      </p:pic>
      <p:pic>
        <p:nvPicPr>
          <p:cNvPr id="16" name="图形 15">
            <a:extLst>
              <a:ext uri="{FF2B5EF4-FFF2-40B4-BE49-F238E27FC236}">
                <a16:creationId xmlns:a16="http://schemas.microsoft.com/office/drawing/2014/main" id="{1508760C-4270-4AAF-AD1C-A51CD87667C3}"/>
              </a:ext>
            </a:extLst>
          </p:cNvPr>
          <p:cNvPicPr>
            <a:picLocks noChangeAspect="1"/>
          </p:cNvPicPr>
          <p:nvPr/>
        </p:nvPicPr>
        <p:blipFill>
          <a:blip r:embed="rId3">
            <a:extLst>
              <a:ext uri="{96DAC541-7B7A-43D3-8B79-37D633B846F1}">
                <asvg:svgBlip xmlns:asvg="http://schemas.microsoft.com/office/drawing/2016/SVG/main" r:embed="rId5"/>
              </a:ext>
            </a:extLst>
          </a:blip>
          <a:stretch>
            <a:fillRect/>
          </a:stretch>
        </p:blipFill>
        <p:spPr>
          <a:xfrm>
            <a:off x="7705727" y="597280"/>
            <a:ext cx="171450" cy="171450"/>
          </a:xfrm>
          <a:prstGeom prst="rect">
            <a:avLst/>
          </a:prstGeom>
        </p:spPr>
      </p:pic>
      <p:cxnSp>
        <p:nvCxnSpPr>
          <p:cNvPr id="18" name="直接连接符 17">
            <a:extLst>
              <a:ext uri="{FF2B5EF4-FFF2-40B4-BE49-F238E27FC236}">
                <a16:creationId xmlns:a16="http://schemas.microsoft.com/office/drawing/2014/main" id="{D59B9B17-AB83-41D0-BA0B-C09A6571714C}"/>
              </a:ext>
            </a:extLst>
          </p:cNvPr>
          <p:cNvCxnSpPr/>
          <p:nvPr/>
        </p:nvCxnSpPr>
        <p:spPr>
          <a:xfrm>
            <a:off x="3829052" y="683005"/>
            <a:ext cx="571498" cy="0"/>
          </a:xfrm>
          <a:prstGeom prst="line">
            <a:avLst/>
          </a:prstGeom>
          <a:ln cap="rnd" w="19050">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pic>
        <p:nvPicPr>
          <p:cNvPr id="11" name="图形 10">
            <a:extLst>
              <a:ext uri="{FF2B5EF4-FFF2-40B4-BE49-F238E27FC236}">
                <a16:creationId xmlns:a16="http://schemas.microsoft.com/office/drawing/2014/main" id="{E1E887FF-8850-4D33-8F22-CAEB6902B244}"/>
              </a:ext>
            </a:extLst>
          </p:cNvPr>
          <p:cNvPicPr>
            <a:picLocks noChangeAspect="1"/>
          </p:cNvPicPr>
          <p:nvPr/>
        </p:nvPicPr>
        <p:blipFill>
          <a:blip r:embed="rId6">
            <a:extLst>
              <a:ext uri="{96DAC541-7B7A-43D3-8B79-37D633B846F1}">
                <asvg:svgBlip xmlns:asvg="http://schemas.microsoft.com/office/drawing/2016/SVG/main" r:embed="rId7"/>
              </a:ext>
            </a:extLst>
          </a:blip>
          <a:srcRect b="5670" l="19172" r="22017" t="1040"/>
          <a:stretch>
            <a:fillRect/>
          </a:stretch>
        </p:blipFill>
        <p:spPr>
          <a:xfrm>
            <a:off x="11287125" y="5671165"/>
            <a:ext cx="742156" cy="976539"/>
          </a:xfrm>
          <a:custGeom>
            <a:rect b="b" l="l" r="r" t="t"/>
            <a:pathLst>
              <a:path h="1297335" w="1036327">
                <a:moveTo>
                  <a:pt x="507467" y="0"/>
                </a:moveTo>
                <a:cubicBezTo>
                  <a:pt x="671202" y="0"/>
                  <a:pt x="789583" y="30522"/>
                  <a:pt x="862608" y="91567"/>
                </a:cubicBezTo>
                <a:cubicBezTo>
                  <a:pt x="935633" y="152611"/>
                  <a:pt x="972145" y="229345"/>
                  <a:pt x="972145" y="321767"/>
                </a:cubicBezTo>
                <a:cubicBezTo>
                  <a:pt x="972145" y="375965"/>
                  <a:pt x="957312" y="425029"/>
                  <a:pt x="927646" y="468958"/>
                </a:cubicBezTo>
                <a:cubicBezTo>
                  <a:pt x="897979" y="512887"/>
                  <a:pt x="853194" y="551396"/>
                  <a:pt x="793291" y="584486"/>
                </a:cubicBezTo>
                <a:cubicBezTo>
                  <a:pt x="841784" y="596466"/>
                  <a:pt x="878867" y="610444"/>
                  <a:pt x="904540" y="626418"/>
                </a:cubicBezTo>
                <a:cubicBezTo>
                  <a:pt x="946187" y="652091"/>
                  <a:pt x="978564" y="685894"/>
                  <a:pt x="1001669" y="727826"/>
                </a:cubicBezTo>
                <a:cubicBezTo>
                  <a:pt x="1024775" y="769758"/>
                  <a:pt x="1036328" y="819820"/>
                  <a:pt x="1036328" y="878012"/>
                </a:cubicBezTo>
                <a:cubicBezTo>
                  <a:pt x="1036328" y="951037"/>
                  <a:pt x="1017215" y="1021067"/>
                  <a:pt x="978991" y="1088102"/>
                </a:cubicBezTo>
                <a:cubicBezTo>
                  <a:pt x="940767" y="1155136"/>
                  <a:pt x="885713" y="1206767"/>
                  <a:pt x="813829" y="1242994"/>
                </a:cubicBezTo>
                <a:cubicBezTo>
                  <a:pt x="741945" y="1279222"/>
                  <a:pt x="647526" y="1297335"/>
                  <a:pt x="530572" y="1297335"/>
                </a:cubicBezTo>
                <a:cubicBezTo>
                  <a:pt x="416471" y="1297335"/>
                  <a:pt x="326473" y="1283928"/>
                  <a:pt x="260580" y="1257114"/>
                </a:cubicBezTo>
                <a:cubicBezTo>
                  <a:pt x="194686" y="1230301"/>
                  <a:pt x="140488" y="1191078"/>
                  <a:pt x="97985" y="1139447"/>
                </a:cubicBezTo>
                <a:cubicBezTo>
                  <a:pt x="55482" y="1087816"/>
                  <a:pt x="22820" y="1022921"/>
                  <a:pt x="0" y="944761"/>
                </a:cubicBezTo>
                <a:lnTo>
                  <a:pt x="348295" y="898550"/>
                </a:lnTo>
                <a:cubicBezTo>
                  <a:pt x="361987" y="968723"/>
                  <a:pt x="383239" y="1017359"/>
                  <a:pt x="412049" y="1044458"/>
                </a:cubicBezTo>
                <a:cubicBezTo>
                  <a:pt x="440860" y="1071557"/>
                  <a:pt x="477515" y="1085106"/>
                  <a:pt x="522015" y="1085106"/>
                </a:cubicBezTo>
                <a:cubicBezTo>
                  <a:pt x="568796" y="1085106"/>
                  <a:pt x="607734" y="1067991"/>
                  <a:pt x="638826" y="1033761"/>
                </a:cubicBezTo>
                <a:cubicBezTo>
                  <a:pt x="669919" y="999530"/>
                  <a:pt x="685465" y="953890"/>
                  <a:pt x="685465" y="896839"/>
                </a:cubicBezTo>
                <a:cubicBezTo>
                  <a:pt x="685465" y="838647"/>
                  <a:pt x="670489" y="793577"/>
                  <a:pt x="640538" y="761628"/>
                </a:cubicBezTo>
                <a:cubicBezTo>
                  <a:pt x="610586" y="729680"/>
                  <a:pt x="569937" y="713706"/>
                  <a:pt x="518592" y="713706"/>
                </a:cubicBezTo>
                <a:cubicBezTo>
                  <a:pt x="491207" y="713706"/>
                  <a:pt x="453554" y="720552"/>
                  <a:pt x="405631" y="734244"/>
                </a:cubicBezTo>
                <a:lnTo>
                  <a:pt x="423602" y="485217"/>
                </a:lnTo>
                <a:cubicBezTo>
                  <a:pt x="442999" y="488070"/>
                  <a:pt x="458118" y="489496"/>
                  <a:pt x="468957" y="489496"/>
                </a:cubicBezTo>
                <a:cubicBezTo>
                  <a:pt x="514598" y="489496"/>
                  <a:pt x="552679" y="474948"/>
                  <a:pt x="583202" y="445852"/>
                </a:cubicBezTo>
                <a:cubicBezTo>
                  <a:pt x="613724" y="416756"/>
                  <a:pt x="628985" y="382241"/>
                  <a:pt x="628985" y="342305"/>
                </a:cubicBezTo>
                <a:cubicBezTo>
                  <a:pt x="628985" y="304081"/>
                  <a:pt x="617575" y="273559"/>
                  <a:pt x="594754" y="250739"/>
                </a:cubicBezTo>
                <a:cubicBezTo>
                  <a:pt x="571934" y="227918"/>
                  <a:pt x="540556" y="216508"/>
                  <a:pt x="500621" y="216508"/>
                </a:cubicBezTo>
                <a:cubicBezTo>
                  <a:pt x="459544" y="216508"/>
                  <a:pt x="426169" y="228917"/>
                  <a:pt x="400497" y="253734"/>
                </a:cubicBezTo>
                <a:cubicBezTo>
                  <a:pt x="374824" y="278551"/>
                  <a:pt x="357423" y="322052"/>
                  <a:pt x="348295" y="384237"/>
                </a:cubicBezTo>
                <a:lnTo>
                  <a:pt x="18827" y="325190"/>
                </a:lnTo>
                <a:cubicBezTo>
                  <a:pt x="46211" y="220216"/>
                  <a:pt x="98841" y="139775"/>
                  <a:pt x="176715" y="83865"/>
                </a:cubicBezTo>
                <a:cubicBezTo>
                  <a:pt x="254589" y="27955"/>
                  <a:pt x="364840" y="0"/>
                  <a:pt x="507467" y="0"/>
                </a:cubicBezTo>
                <a:close/>
              </a:path>
            </a:pathLst>
          </a:custGeom>
        </p:spPr>
      </p:pic>
      <p:grpSp>
        <p:nvGrpSpPr>
          <p:cNvPr id="4" name="组合 3">
            <a:extLst>
              <a:ext uri="{FF2B5EF4-FFF2-40B4-BE49-F238E27FC236}">
                <a16:creationId xmlns:a16="http://schemas.microsoft.com/office/drawing/2014/main" id="{9F7638F4-609A-4DD7-87E5-763510600834}"/>
              </a:ext>
            </a:extLst>
          </p:cNvPr>
          <p:cNvGrpSpPr/>
          <p:nvPr/>
        </p:nvGrpSpPr>
        <p:grpSpPr>
          <a:xfrm>
            <a:off x="3209924" y="1871663"/>
            <a:ext cx="2814638" cy="1336675"/>
            <a:chOff x="3209924" y="1871663"/>
            <a:chExt cx="2814638" cy="1336675"/>
          </a:xfrm>
        </p:grpSpPr>
        <p:sp>
          <p:nvSpPr>
            <p:cNvPr id="45" name="iśḻîďe">
              <a:extLst>
                <a:ext uri="{FF2B5EF4-FFF2-40B4-BE49-F238E27FC236}">
                  <a16:creationId xmlns:a16="http://schemas.microsoft.com/office/drawing/2014/main" id="{39A0CA0E-721A-4E62-866E-C41C6686798F}"/>
                </a:ext>
              </a:extLst>
            </p:cNvPr>
            <p:cNvSpPr/>
            <p:nvPr/>
          </p:nvSpPr>
          <p:spPr bwMode="auto">
            <a:xfrm>
              <a:off x="3616324" y="2049463"/>
              <a:ext cx="2400300" cy="1152525"/>
            </a:xfrm>
            <a:custGeom>
              <a:gdLst>
                <a:gd fmla="*/ 1282 w 1282" name="T0"/>
                <a:gd fmla="*/ 616 h 616" name="T1"/>
                <a:gd fmla="*/ 606 w 1282" name="T2"/>
                <a:gd fmla="*/ 616 h 616" name="T3"/>
                <a:gd fmla="*/ 0 w 1282" name="T4"/>
                <a:gd fmla="*/ 0 h 616" name="T5"/>
                <a:gd fmla="*/ 676 w 1282" name="T6"/>
                <a:gd fmla="*/ 0 h 616" name="T7"/>
                <a:gd fmla="*/ 1282 w 1282" name="T8"/>
                <a:gd fmla="*/ 616 h 616" name="T9"/>
              </a:gdLst>
              <a:cxnLst>
                <a:cxn ang="0">
                  <a:pos x="T0" y="T1"/>
                </a:cxn>
                <a:cxn ang="0">
                  <a:pos x="T2" y="T3"/>
                </a:cxn>
                <a:cxn ang="0">
                  <a:pos x="T4" y="T5"/>
                </a:cxn>
                <a:cxn ang="0">
                  <a:pos x="T6" y="T7"/>
                </a:cxn>
                <a:cxn ang="0">
                  <a:pos x="T8" y="T9"/>
                </a:cxn>
              </a:cxnLst>
              <a:rect b="b" l="0" r="r" t="0"/>
              <a:pathLst>
                <a:path h="616" w="1282">
                  <a:moveTo>
                    <a:pt x="1282" y="616"/>
                  </a:moveTo>
                  <a:cubicBezTo>
                    <a:pt x="606" y="616"/>
                    <a:pt x="606" y="616"/>
                    <a:pt x="606" y="616"/>
                  </a:cubicBezTo>
                  <a:cubicBezTo>
                    <a:pt x="271" y="616"/>
                    <a:pt x="0" y="340"/>
                    <a:pt x="0" y="0"/>
                  </a:cubicBezTo>
                  <a:cubicBezTo>
                    <a:pt x="676" y="0"/>
                    <a:pt x="676" y="0"/>
                    <a:pt x="676" y="0"/>
                  </a:cubicBezTo>
                  <a:cubicBezTo>
                    <a:pt x="1010" y="0"/>
                    <a:pt x="1282" y="275"/>
                    <a:pt x="1282" y="616"/>
                  </a:cubicBezTo>
                  <a:close/>
                </a:path>
              </a:pathLst>
            </a:custGeom>
            <a:solidFill>
              <a:srgbClr val="F2F2F2"/>
            </a:solidFill>
            <a:ln>
              <a:noFill/>
            </a:ln>
            <a:extLst>
              <a:ext uri="{91240B29-F687-4F45-9708-019B960494DF}">
                <a14:hiddenLine w="9525">
                  <a:solidFill>
                    <a:srgbClr val="000000"/>
                  </a:solidFill>
                  <a:round/>
                  <a:headEnd/>
                  <a:tailEnd/>
                </a14:hiddenLine>
              </a:ext>
            </a:extLst>
          </p:spPr>
          <p:txBody>
            <a:bodyPr anchor="ctr"/>
            <a:lstStyle/>
            <a:p>
              <a:pPr algn="ctr"/>
              <a:endParaRPr/>
            </a:p>
          </p:txBody>
        </p:sp>
        <p:sp>
          <p:nvSpPr>
            <p:cNvPr id="46" name="ïṡļiḓè">
              <a:extLst>
                <a:ext uri="{FF2B5EF4-FFF2-40B4-BE49-F238E27FC236}">
                  <a16:creationId xmlns:a16="http://schemas.microsoft.com/office/drawing/2014/main" id="{0EB9B63B-842D-4F17-847D-AC9270ED4B8B}"/>
                </a:ext>
              </a:extLst>
            </p:cNvPr>
            <p:cNvSpPr/>
            <p:nvPr/>
          </p:nvSpPr>
          <p:spPr bwMode="auto">
            <a:xfrm>
              <a:off x="3209924" y="1871663"/>
              <a:ext cx="2814638" cy="1336675"/>
            </a:xfrm>
            <a:custGeom>
              <a:gdLst>
                <a:gd fmla="*/ 1503 w 1503" name="T0"/>
                <a:gd fmla="*/ 715 h 715" name="T1"/>
                <a:gd fmla="*/ 711 w 1503" name="T2"/>
                <a:gd fmla="*/ 715 h 715" name="T3"/>
                <a:gd fmla="*/ 0 w 1503" name="T4"/>
                <a:gd fmla="*/ 4 h 715" name="T5"/>
                <a:gd fmla="*/ 0 w 1503" name="T6"/>
                <a:gd fmla="*/ 0 h 715" name="T7"/>
                <a:gd fmla="*/ 792 w 1503" name="T8"/>
                <a:gd fmla="*/ 0 h 715" name="T9"/>
                <a:gd fmla="*/ 1503 w 1503" name="T10"/>
                <a:gd fmla="*/ 711 h 715" name="T11"/>
                <a:gd fmla="*/ 1503 w 1503" name="T12"/>
                <a:gd fmla="*/ 715 h 715" name="T13"/>
                <a:gd fmla="*/ 9 w 1503" name="T14"/>
                <a:gd fmla="*/ 9 h 715" name="T15"/>
                <a:gd fmla="*/ 711 w 1503" name="T16"/>
                <a:gd fmla="*/ 706 h 715" name="T17"/>
                <a:gd fmla="*/ 1494 w 1503" name="T18"/>
                <a:gd fmla="*/ 706 h 715" name="T19"/>
                <a:gd fmla="*/ 792 w 1503" name="T20"/>
                <a:gd fmla="*/ 9 h 715" name="T21"/>
                <a:gd fmla="*/ 9 w 1503" name="T22"/>
                <a:gd fmla="*/ 9 h 715" name="T2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b="b" l="0" r="r" t="0"/>
              <a:pathLst>
                <a:path h="715" w="1503">
                  <a:moveTo>
                    <a:pt x="1503" y="715"/>
                  </a:moveTo>
                  <a:cubicBezTo>
                    <a:pt x="711" y="715"/>
                    <a:pt x="711" y="715"/>
                    <a:pt x="711" y="715"/>
                  </a:cubicBezTo>
                  <a:cubicBezTo>
                    <a:pt x="319" y="715"/>
                    <a:pt x="0" y="396"/>
                    <a:pt x="0" y="4"/>
                  </a:cubicBezTo>
                  <a:cubicBezTo>
                    <a:pt x="0" y="0"/>
                    <a:pt x="0" y="0"/>
                    <a:pt x="0" y="0"/>
                  </a:cubicBezTo>
                  <a:cubicBezTo>
                    <a:pt x="792" y="0"/>
                    <a:pt x="792" y="0"/>
                    <a:pt x="792" y="0"/>
                  </a:cubicBezTo>
                  <a:cubicBezTo>
                    <a:pt x="1184" y="0"/>
                    <a:pt x="1503" y="319"/>
                    <a:pt x="1503" y="711"/>
                  </a:cubicBezTo>
                  <a:lnTo>
                    <a:pt x="1503" y="715"/>
                  </a:lnTo>
                  <a:close/>
                  <a:moveTo>
                    <a:pt x="9" y="9"/>
                  </a:moveTo>
                  <a:cubicBezTo>
                    <a:pt x="12" y="394"/>
                    <a:pt x="325" y="706"/>
                    <a:pt x="711" y="706"/>
                  </a:cubicBezTo>
                  <a:cubicBezTo>
                    <a:pt x="1494" y="706"/>
                    <a:pt x="1494" y="706"/>
                    <a:pt x="1494" y="706"/>
                  </a:cubicBezTo>
                  <a:cubicBezTo>
                    <a:pt x="1492" y="321"/>
                    <a:pt x="1178" y="9"/>
                    <a:pt x="792" y="9"/>
                  </a:cubicBezTo>
                  <a:lnTo>
                    <a:pt x="9" y="9"/>
                  </a:lnTo>
                  <a:close/>
                </a:path>
              </a:pathLst>
            </a:custGeom>
            <a:solidFill>
              <a:srgbClr val="3F3D56"/>
            </a:solidFill>
            <a:ln>
              <a:noFill/>
            </a:ln>
            <a:extLst>
              <a:ext uri="{91240B29-F687-4F45-9708-019B960494DF}">
                <a14:hiddenLine w="9525">
                  <a:solidFill>
                    <a:srgbClr val="000000"/>
                  </a:solidFill>
                  <a:round/>
                  <a:headEnd/>
                  <a:tailEnd/>
                </a14:hiddenLine>
              </a:ext>
            </a:extLst>
          </p:spPr>
          <p:txBody>
            <a:bodyPr anchor="ctr"/>
            <a:lstStyle/>
            <a:p>
              <a:pPr algn="ctr"/>
              <a:endParaRPr/>
            </a:p>
          </p:txBody>
        </p:sp>
      </p:grpSp>
      <p:sp>
        <p:nvSpPr>
          <p:cNvPr id="52" name="îṩ1íḍê">
            <a:extLst>
              <a:ext uri="{FF2B5EF4-FFF2-40B4-BE49-F238E27FC236}">
                <a16:creationId xmlns:a16="http://schemas.microsoft.com/office/drawing/2014/main" id="{F36DA19B-3EFE-40E6-A2ED-89BAC65579F9}"/>
              </a:ext>
            </a:extLst>
          </p:cNvPr>
          <p:cNvSpPr/>
          <p:nvPr/>
        </p:nvSpPr>
        <p:spPr bwMode="auto">
          <a:xfrm>
            <a:off x="3948112" y="2676525"/>
            <a:ext cx="1347788" cy="15875"/>
          </a:xfrm>
          <a:prstGeom prst="rect">
            <a:avLst/>
          </a:prstGeom>
          <a:solidFill>
            <a:srgbClr val="FFFFFF"/>
          </a:solidFill>
          <a:ln>
            <a:noFill/>
          </a:ln>
          <a:extLst>
            <a:ext uri="{91240B29-F687-4F45-9708-019B960494DF}">
              <a14:hiddenLine w="9525">
                <a:solidFill>
                  <a:srgbClr val="000000"/>
                </a:solidFill>
                <a:miter lim="800000"/>
                <a:headEnd/>
                <a:tailEnd/>
              </a14:hiddenLine>
            </a:ext>
          </a:extLst>
        </p:spPr>
        <p:txBody>
          <a:bodyPr anchor="ctr"/>
          <a:lstStyle/>
          <a:p>
            <a:pPr algn="ctr"/>
            <a:endParaRPr/>
          </a:p>
        </p:txBody>
      </p:sp>
      <p:sp>
        <p:nvSpPr>
          <p:cNvPr id="53" name="í$1iḋê">
            <a:extLst>
              <a:ext uri="{FF2B5EF4-FFF2-40B4-BE49-F238E27FC236}">
                <a16:creationId xmlns:a16="http://schemas.microsoft.com/office/drawing/2014/main" id="{204C6F6C-AE2A-41AF-8AC9-E57933B981B6}"/>
              </a:ext>
            </a:extLst>
          </p:cNvPr>
          <p:cNvSpPr/>
          <p:nvPr/>
        </p:nvSpPr>
        <p:spPr bwMode="auto">
          <a:xfrm>
            <a:off x="3948112" y="2768600"/>
            <a:ext cx="1347788" cy="17463"/>
          </a:xfrm>
          <a:prstGeom prst="rect">
            <a:avLst/>
          </a:prstGeom>
          <a:solidFill>
            <a:srgbClr val="FFFFFF"/>
          </a:solidFill>
          <a:ln>
            <a:noFill/>
          </a:ln>
          <a:extLst>
            <a:ext uri="{91240B29-F687-4F45-9708-019B960494DF}">
              <a14:hiddenLine w="9525">
                <a:solidFill>
                  <a:srgbClr val="000000"/>
                </a:solidFill>
                <a:miter lim="800000"/>
                <a:headEnd/>
                <a:tailEnd/>
              </a14:hiddenLine>
            </a:ext>
          </a:extLst>
        </p:spPr>
        <p:txBody>
          <a:bodyPr anchor="ctr"/>
          <a:lstStyle/>
          <a:p>
            <a:pPr algn="ctr"/>
            <a:endParaRPr/>
          </a:p>
        </p:txBody>
      </p:sp>
      <p:sp>
        <p:nvSpPr>
          <p:cNvPr id="54" name="îsḻíḑe">
            <a:extLst>
              <a:ext uri="{FF2B5EF4-FFF2-40B4-BE49-F238E27FC236}">
                <a16:creationId xmlns:a16="http://schemas.microsoft.com/office/drawing/2014/main" id="{2E8A1A53-F1DA-423C-A044-715F62967614}"/>
              </a:ext>
            </a:extLst>
          </p:cNvPr>
          <p:cNvSpPr/>
          <p:nvPr/>
        </p:nvSpPr>
        <p:spPr bwMode="auto">
          <a:xfrm>
            <a:off x="5499099" y="2809875"/>
            <a:ext cx="254000" cy="255588"/>
          </a:xfrm>
          <a:prstGeom prst="ellipse">
            <a:avLst/>
          </a:prstGeom>
          <a:solidFill>
            <a:srgbClr val="60A8AF"/>
          </a:solidFill>
          <a:ln>
            <a:noFill/>
          </a:ln>
        </p:spPr>
        <p:txBody>
          <a:bodyPr anchor="ctr"/>
          <a:lstStyle/>
          <a:p>
            <a:pPr algn="ctr"/>
            <a:endParaRPr/>
          </a:p>
        </p:txBody>
      </p:sp>
      <p:sp>
        <p:nvSpPr>
          <p:cNvPr id="56" name="TextBox 54">
            <a:extLst>
              <a:ext uri="{FF2B5EF4-FFF2-40B4-BE49-F238E27FC236}">
                <a16:creationId xmlns:a16="http://schemas.microsoft.com/office/drawing/2014/main" id="{951A9EED-2645-4E7D-8D2D-BA7C0BDA2913}"/>
              </a:ext>
            </a:extLst>
          </p:cNvPr>
          <p:cNvSpPr txBox="1"/>
          <p:nvPr/>
        </p:nvSpPr>
        <p:spPr>
          <a:xfrm>
            <a:off x="4011949" y="2292290"/>
            <a:ext cx="1198880" cy="396240"/>
          </a:xfrm>
          <a:prstGeom prst="rect">
            <a:avLst/>
          </a:prstGeom>
          <a:noFill/>
        </p:spPr>
        <p:txBody>
          <a:bodyPr rtlCol="0" wrap="none">
            <a:spAutoFit/>
          </a:bodyPr>
          <a:lstStyle/>
          <a:p>
            <a:pPr defTabSz="1219110"/>
            <a:r>
              <a:rPr altLang="en-US" b="1" lang="zh-CN" sz="2000">
                <a:solidFill>
                  <a:schemeClr val="tx1">
                    <a:lumMod val="85000"/>
                    <a:lumOff val="15000"/>
                  </a:schemeClr>
                </a:solidFill>
                <a:latin panose="020f0502020204030204" typeface="等线"/>
              </a:rPr>
              <a:t>标题文本</a:t>
            </a:r>
          </a:p>
        </p:txBody>
      </p:sp>
      <p:sp>
        <p:nvSpPr>
          <p:cNvPr id="57" name="Rectangle 60">
            <a:extLst>
              <a:ext uri="{FF2B5EF4-FFF2-40B4-BE49-F238E27FC236}">
                <a16:creationId xmlns:a16="http://schemas.microsoft.com/office/drawing/2014/main" id="{EAC4C364-02DE-4A18-A66D-33AFDC2A564A}"/>
              </a:ext>
            </a:extLst>
          </p:cNvPr>
          <p:cNvSpPr/>
          <p:nvPr/>
        </p:nvSpPr>
        <p:spPr>
          <a:xfrm>
            <a:off x="1144923" y="1953910"/>
            <a:ext cx="2139613" cy="1188720"/>
          </a:xfrm>
          <a:prstGeom prst="rect">
            <a:avLst/>
          </a:prstGeom>
        </p:spPr>
        <p:txBody>
          <a:bodyPr wrap="square">
            <a:spAutoFit/>
          </a:bodyPr>
          <a:lstStyle/>
          <a:p>
            <a:pPr>
              <a:lnSpc>
                <a:spcPct val="150000"/>
              </a:lnSpc>
            </a:pPr>
            <a:r>
              <a:rPr altLang="en-US" lang="zh-CN" sz="1200">
                <a:solidFill>
                  <a:schemeClr val="tx1">
                    <a:lumMod val="75000"/>
                    <a:lumOff val="25000"/>
                  </a:schemeClr>
                </a:solidFill>
                <a:latin typeface="+mn-ea"/>
              </a:rPr>
              <a:t>这里可以添加主要内容这里可以添加主要内容这里可以添加主要内容这里可以添加主要内容</a:t>
            </a:r>
          </a:p>
        </p:txBody>
      </p:sp>
      <p:grpSp>
        <p:nvGrpSpPr>
          <p:cNvPr id="6" name="组合 5">
            <a:extLst>
              <a:ext uri="{FF2B5EF4-FFF2-40B4-BE49-F238E27FC236}">
                <a16:creationId xmlns:a16="http://schemas.microsoft.com/office/drawing/2014/main" id="{E4A13DA8-7364-4B72-B84E-E08FDE384462}"/>
              </a:ext>
            </a:extLst>
          </p:cNvPr>
          <p:cNvGrpSpPr/>
          <p:nvPr/>
        </p:nvGrpSpPr>
        <p:grpSpPr>
          <a:xfrm>
            <a:off x="6172200" y="3378200"/>
            <a:ext cx="2814638" cy="1336675"/>
            <a:chOff x="6172200" y="3378200"/>
            <a:chExt cx="2814638" cy="1336675"/>
          </a:xfrm>
        </p:grpSpPr>
        <p:sp>
          <p:nvSpPr>
            <p:cNvPr id="35" name="îṧḻïḑe">
              <a:extLst>
                <a:ext uri="{FF2B5EF4-FFF2-40B4-BE49-F238E27FC236}">
                  <a16:creationId xmlns:a16="http://schemas.microsoft.com/office/drawing/2014/main" id="{D305950A-2638-4725-8178-7156FAFDE568}"/>
                </a:ext>
              </a:extLst>
            </p:cNvPr>
            <p:cNvSpPr/>
            <p:nvPr/>
          </p:nvSpPr>
          <p:spPr bwMode="auto">
            <a:xfrm flipH="1" flipV="1">
              <a:off x="6181725" y="3384550"/>
              <a:ext cx="2398713" cy="1152525"/>
            </a:xfrm>
            <a:custGeom>
              <a:gdLst>
                <a:gd fmla="*/ 1281 w 1281" name="T0"/>
                <a:gd fmla="*/ 616 h 616" name="T1"/>
                <a:gd fmla="*/ 606 w 1281" name="T2"/>
                <a:gd fmla="*/ 616 h 616" name="T3"/>
                <a:gd fmla="*/ 0 w 1281" name="T4"/>
                <a:gd fmla="*/ 0 h 616" name="T5"/>
                <a:gd fmla="*/ 676 w 1281" name="T6"/>
                <a:gd fmla="*/ 0 h 616" name="T7"/>
                <a:gd fmla="*/ 1281 w 1281" name="T8"/>
                <a:gd fmla="*/ 616 h 616" name="T9"/>
              </a:gdLst>
              <a:cxnLst>
                <a:cxn ang="0">
                  <a:pos x="T0" y="T1"/>
                </a:cxn>
                <a:cxn ang="0">
                  <a:pos x="T2" y="T3"/>
                </a:cxn>
                <a:cxn ang="0">
                  <a:pos x="T4" y="T5"/>
                </a:cxn>
                <a:cxn ang="0">
                  <a:pos x="T6" y="T7"/>
                </a:cxn>
                <a:cxn ang="0">
                  <a:pos x="T8" y="T9"/>
                </a:cxn>
              </a:cxnLst>
              <a:rect b="b" l="0" r="r" t="0"/>
              <a:pathLst>
                <a:path h="616" w="1281">
                  <a:moveTo>
                    <a:pt x="1281" y="616"/>
                  </a:moveTo>
                  <a:cubicBezTo>
                    <a:pt x="606" y="616"/>
                    <a:pt x="606" y="616"/>
                    <a:pt x="606" y="616"/>
                  </a:cubicBezTo>
                  <a:cubicBezTo>
                    <a:pt x="271" y="616"/>
                    <a:pt x="0" y="340"/>
                    <a:pt x="0" y="0"/>
                  </a:cubicBezTo>
                  <a:cubicBezTo>
                    <a:pt x="676" y="0"/>
                    <a:pt x="676" y="0"/>
                    <a:pt x="676" y="0"/>
                  </a:cubicBezTo>
                  <a:cubicBezTo>
                    <a:pt x="1010" y="0"/>
                    <a:pt x="1281" y="276"/>
                    <a:pt x="1281" y="616"/>
                  </a:cubicBezTo>
                  <a:close/>
                </a:path>
              </a:pathLst>
            </a:custGeom>
            <a:solidFill>
              <a:srgbClr val="F2F2F2"/>
            </a:solidFill>
            <a:ln>
              <a:noFill/>
            </a:ln>
            <a:extLst>
              <a:ext uri="{91240B29-F687-4F45-9708-019B960494DF}">
                <a14:hiddenLine w="9525">
                  <a:solidFill>
                    <a:srgbClr val="000000"/>
                  </a:solidFill>
                  <a:round/>
                  <a:headEnd/>
                  <a:tailEnd/>
                </a14:hiddenLine>
              </a:ext>
            </a:extLst>
          </p:spPr>
          <p:txBody>
            <a:bodyPr anchor="ctr"/>
            <a:lstStyle/>
            <a:p>
              <a:pPr algn="ctr"/>
              <a:endParaRPr/>
            </a:p>
          </p:txBody>
        </p:sp>
        <p:sp>
          <p:nvSpPr>
            <p:cNvPr id="36" name="i$líďe">
              <a:extLst>
                <a:ext uri="{FF2B5EF4-FFF2-40B4-BE49-F238E27FC236}">
                  <a16:creationId xmlns:a16="http://schemas.microsoft.com/office/drawing/2014/main" id="{D7255BC0-EDC2-4F41-A503-2B1D31087728}"/>
                </a:ext>
              </a:extLst>
            </p:cNvPr>
            <p:cNvSpPr/>
            <p:nvPr/>
          </p:nvSpPr>
          <p:spPr bwMode="auto">
            <a:xfrm flipH="1" flipV="1">
              <a:off x="6172200" y="3378200"/>
              <a:ext cx="2814638" cy="1336675"/>
            </a:xfrm>
            <a:custGeom>
              <a:gdLst>
                <a:gd fmla="*/ 1503 w 1503" name="T0"/>
                <a:gd fmla="*/ 715 h 715" name="T1"/>
                <a:gd fmla="*/ 711 w 1503" name="T2"/>
                <a:gd fmla="*/ 715 h 715" name="T3"/>
                <a:gd fmla="*/ 0 w 1503" name="T4"/>
                <a:gd fmla="*/ 5 h 715" name="T5"/>
                <a:gd fmla="*/ 0 w 1503" name="T6"/>
                <a:gd fmla="*/ 0 h 715" name="T7"/>
                <a:gd fmla="*/ 792 w 1503" name="T8"/>
                <a:gd fmla="*/ 0 h 715" name="T9"/>
                <a:gd fmla="*/ 1503 w 1503" name="T10"/>
                <a:gd fmla="*/ 711 h 715" name="T11"/>
                <a:gd fmla="*/ 1503 w 1503" name="T12"/>
                <a:gd fmla="*/ 715 h 715" name="T13"/>
                <a:gd fmla="*/ 9 w 1503" name="T14"/>
                <a:gd fmla="*/ 9 h 715" name="T15"/>
                <a:gd fmla="*/ 711 w 1503" name="T16"/>
                <a:gd fmla="*/ 706 h 715" name="T17"/>
                <a:gd fmla="*/ 1494 w 1503" name="T18"/>
                <a:gd fmla="*/ 706 h 715" name="T19"/>
                <a:gd fmla="*/ 792 w 1503" name="T20"/>
                <a:gd fmla="*/ 9 h 715" name="T21"/>
                <a:gd fmla="*/ 9 w 1503" name="T22"/>
                <a:gd fmla="*/ 9 h 715" name="T2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b="b" l="0" r="r" t="0"/>
              <a:pathLst>
                <a:path h="715" w="1503">
                  <a:moveTo>
                    <a:pt x="1503" y="715"/>
                  </a:moveTo>
                  <a:cubicBezTo>
                    <a:pt x="711" y="715"/>
                    <a:pt x="711" y="715"/>
                    <a:pt x="711" y="715"/>
                  </a:cubicBezTo>
                  <a:cubicBezTo>
                    <a:pt x="319" y="715"/>
                    <a:pt x="0" y="397"/>
                    <a:pt x="0" y="5"/>
                  </a:cubicBezTo>
                  <a:cubicBezTo>
                    <a:pt x="0" y="0"/>
                    <a:pt x="0" y="0"/>
                    <a:pt x="0" y="0"/>
                  </a:cubicBezTo>
                  <a:cubicBezTo>
                    <a:pt x="792" y="0"/>
                    <a:pt x="792" y="0"/>
                    <a:pt x="792" y="0"/>
                  </a:cubicBezTo>
                  <a:cubicBezTo>
                    <a:pt x="1184" y="0"/>
                    <a:pt x="1503" y="319"/>
                    <a:pt x="1503" y="711"/>
                  </a:cubicBezTo>
                  <a:lnTo>
                    <a:pt x="1503" y="715"/>
                  </a:lnTo>
                  <a:close/>
                  <a:moveTo>
                    <a:pt x="9" y="9"/>
                  </a:moveTo>
                  <a:cubicBezTo>
                    <a:pt x="11" y="394"/>
                    <a:pt x="325" y="706"/>
                    <a:pt x="711" y="706"/>
                  </a:cubicBezTo>
                  <a:cubicBezTo>
                    <a:pt x="1494" y="706"/>
                    <a:pt x="1494" y="706"/>
                    <a:pt x="1494" y="706"/>
                  </a:cubicBezTo>
                  <a:cubicBezTo>
                    <a:pt x="1491" y="321"/>
                    <a:pt x="1178" y="9"/>
                    <a:pt x="792" y="9"/>
                  </a:cubicBezTo>
                  <a:lnTo>
                    <a:pt x="9" y="9"/>
                  </a:lnTo>
                  <a:close/>
                </a:path>
              </a:pathLst>
            </a:custGeom>
            <a:solidFill>
              <a:srgbClr val="3F3D56"/>
            </a:solidFill>
            <a:ln>
              <a:noFill/>
            </a:ln>
            <a:extLst>
              <a:ext uri="{91240B29-F687-4F45-9708-019B960494DF}">
                <a14:hiddenLine w="9525">
                  <a:solidFill>
                    <a:srgbClr val="000000"/>
                  </a:solidFill>
                  <a:round/>
                  <a:headEnd/>
                  <a:tailEnd/>
                </a14:hiddenLine>
              </a:ext>
            </a:extLst>
          </p:spPr>
          <p:txBody>
            <a:bodyPr anchor="ctr"/>
            <a:lstStyle/>
            <a:p>
              <a:pPr algn="ctr"/>
              <a:endParaRPr/>
            </a:p>
          </p:txBody>
        </p:sp>
      </p:grpSp>
      <p:sp>
        <p:nvSpPr>
          <p:cNvPr id="42" name="ïSliḓe">
            <a:extLst>
              <a:ext uri="{FF2B5EF4-FFF2-40B4-BE49-F238E27FC236}">
                <a16:creationId xmlns:a16="http://schemas.microsoft.com/office/drawing/2014/main" id="{E4E7FA82-03CA-45EC-9650-9C2E85AF32B0}"/>
              </a:ext>
            </a:extLst>
          </p:cNvPr>
          <p:cNvSpPr/>
          <p:nvPr/>
        </p:nvSpPr>
        <p:spPr bwMode="auto">
          <a:xfrm flipH="1" flipV="1">
            <a:off x="6900862" y="3894137"/>
            <a:ext cx="1347788" cy="15875"/>
          </a:xfrm>
          <a:prstGeom prst="rect">
            <a:avLst/>
          </a:prstGeom>
          <a:solidFill>
            <a:srgbClr val="FFFFFF"/>
          </a:solidFill>
          <a:ln>
            <a:noFill/>
          </a:ln>
          <a:extLst>
            <a:ext uri="{91240B29-F687-4F45-9708-019B960494DF}">
              <a14:hiddenLine w="9525">
                <a:solidFill>
                  <a:srgbClr val="000000"/>
                </a:solidFill>
                <a:miter lim="800000"/>
                <a:headEnd/>
                <a:tailEnd/>
              </a14:hiddenLine>
            </a:ext>
          </a:extLst>
        </p:spPr>
        <p:txBody>
          <a:bodyPr anchor="ctr"/>
          <a:lstStyle/>
          <a:p>
            <a:pPr algn="ctr"/>
            <a:endParaRPr/>
          </a:p>
        </p:txBody>
      </p:sp>
      <p:sp>
        <p:nvSpPr>
          <p:cNvPr id="43" name="îšḻîďé">
            <a:extLst>
              <a:ext uri="{FF2B5EF4-FFF2-40B4-BE49-F238E27FC236}">
                <a16:creationId xmlns:a16="http://schemas.microsoft.com/office/drawing/2014/main" id="{87298407-B8CD-43D9-ABBD-ECF24F6D8A6F}"/>
              </a:ext>
            </a:extLst>
          </p:cNvPr>
          <p:cNvSpPr/>
          <p:nvPr/>
        </p:nvSpPr>
        <p:spPr bwMode="auto">
          <a:xfrm flipH="1" flipV="1">
            <a:off x="6900862" y="3800475"/>
            <a:ext cx="1347788" cy="15875"/>
          </a:xfrm>
          <a:prstGeom prst="rect">
            <a:avLst/>
          </a:prstGeom>
          <a:solidFill>
            <a:srgbClr val="FFFFFF"/>
          </a:solidFill>
          <a:ln>
            <a:noFill/>
          </a:ln>
          <a:extLst>
            <a:ext uri="{91240B29-F687-4F45-9708-019B960494DF}">
              <a14:hiddenLine w="9525">
                <a:solidFill>
                  <a:srgbClr val="000000"/>
                </a:solidFill>
                <a:miter lim="800000"/>
                <a:headEnd/>
                <a:tailEnd/>
              </a14:hiddenLine>
            </a:ext>
          </a:extLst>
        </p:spPr>
        <p:txBody>
          <a:bodyPr anchor="ctr"/>
          <a:lstStyle/>
          <a:p>
            <a:pPr algn="ctr"/>
            <a:endParaRPr/>
          </a:p>
        </p:txBody>
      </p:sp>
      <p:sp>
        <p:nvSpPr>
          <p:cNvPr id="44" name="íşľïḓè">
            <a:extLst>
              <a:ext uri="{FF2B5EF4-FFF2-40B4-BE49-F238E27FC236}">
                <a16:creationId xmlns:a16="http://schemas.microsoft.com/office/drawing/2014/main" id="{D6826082-A4AD-4281-89FA-5D2C9ACCB5EE}"/>
              </a:ext>
            </a:extLst>
          </p:cNvPr>
          <p:cNvSpPr/>
          <p:nvPr/>
        </p:nvSpPr>
        <p:spPr bwMode="auto">
          <a:xfrm flipH="1" flipV="1">
            <a:off x="6443663" y="3521074"/>
            <a:ext cx="254000" cy="252413"/>
          </a:xfrm>
          <a:prstGeom prst="ellipse">
            <a:avLst/>
          </a:prstGeom>
          <a:solidFill>
            <a:srgbClr val="00456B"/>
          </a:solidFill>
          <a:ln>
            <a:noFill/>
          </a:ln>
        </p:spPr>
        <p:txBody>
          <a:bodyPr anchor="ctr"/>
          <a:lstStyle/>
          <a:p>
            <a:pPr algn="ctr"/>
            <a:endParaRPr/>
          </a:p>
        </p:txBody>
      </p:sp>
      <p:sp>
        <p:nvSpPr>
          <p:cNvPr id="58" name="TextBox 54">
            <a:extLst>
              <a:ext uri="{FF2B5EF4-FFF2-40B4-BE49-F238E27FC236}">
                <a16:creationId xmlns:a16="http://schemas.microsoft.com/office/drawing/2014/main" id="{159F1F69-3585-42CD-A2F6-16AB48E41E4A}"/>
              </a:ext>
            </a:extLst>
          </p:cNvPr>
          <p:cNvSpPr txBox="1"/>
          <p:nvPr/>
        </p:nvSpPr>
        <p:spPr>
          <a:xfrm flipH="1">
            <a:off x="6971188" y="3955226"/>
            <a:ext cx="1198880" cy="396240"/>
          </a:xfrm>
          <a:prstGeom prst="rect">
            <a:avLst/>
          </a:prstGeom>
          <a:noFill/>
        </p:spPr>
        <p:txBody>
          <a:bodyPr rtlCol="0" wrap="none">
            <a:spAutoFit/>
          </a:bodyPr>
          <a:lstStyle/>
          <a:p>
            <a:pPr defTabSz="1219110"/>
            <a:r>
              <a:rPr altLang="en-US" b="1" lang="zh-CN" sz="2000">
                <a:solidFill>
                  <a:schemeClr val="tx1">
                    <a:lumMod val="85000"/>
                    <a:lumOff val="15000"/>
                  </a:schemeClr>
                </a:solidFill>
                <a:latin panose="020f0502020204030204" typeface="等线"/>
              </a:rPr>
              <a:t>标题文本</a:t>
            </a:r>
          </a:p>
        </p:txBody>
      </p:sp>
      <p:sp>
        <p:nvSpPr>
          <p:cNvPr id="59" name="Rectangle 60">
            <a:extLst>
              <a:ext uri="{FF2B5EF4-FFF2-40B4-BE49-F238E27FC236}">
                <a16:creationId xmlns:a16="http://schemas.microsoft.com/office/drawing/2014/main" id="{AA84C125-FDB8-4855-9107-5B8C5D658CB4}"/>
              </a:ext>
            </a:extLst>
          </p:cNvPr>
          <p:cNvSpPr/>
          <p:nvPr/>
        </p:nvSpPr>
        <p:spPr>
          <a:xfrm>
            <a:off x="6807371" y="4872038"/>
            <a:ext cx="2139613" cy="1188720"/>
          </a:xfrm>
          <a:prstGeom prst="rect">
            <a:avLst/>
          </a:prstGeom>
        </p:spPr>
        <p:txBody>
          <a:bodyPr wrap="square">
            <a:spAutoFit/>
          </a:bodyPr>
          <a:lstStyle/>
          <a:p>
            <a:pPr>
              <a:lnSpc>
                <a:spcPct val="150000"/>
              </a:lnSpc>
            </a:pPr>
            <a:r>
              <a:rPr altLang="en-US" lang="zh-CN" sz="1200">
                <a:solidFill>
                  <a:schemeClr val="tx1">
                    <a:lumMod val="75000"/>
                    <a:lumOff val="25000"/>
                  </a:schemeClr>
                </a:solidFill>
                <a:latin typeface="+mn-ea"/>
              </a:rPr>
              <a:t>这里可以添加主要内容这里可以添加主要内容这里可以添加主要内容这里可以添加主要内容</a:t>
            </a:r>
          </a:p>
        </p:txBody>
      </p:sp>
      <p:grpSp>
        <p:nvGrpSpPr>
          <p:cNvPr id="5" name="组合 4">
            <a:extLst>
              <a:ext uri="{FF2B5EF4-FFF2-40B4-BE49-F238E27FC236}">
                <a16:creationId xmlns:a16="http://schemas.microsoft.com/office/drawing/2014/main" id="{45447318-7A65-4A20-BEB6-35C69094AF89}"/>
              </a:ext>
            </a:extLst>
          </p:cNvPr>
          <p:cNvGrpSpPr/>
          <p:nvPr/>
        </p:nvGrpSpPr>
        <p:grpSpPr>
          <a:xfrm>
            <a:off x="6172200" y="1871663"/>
            <a:ext cx="2814638" cy="1336675"/>
            <a:chOff x="6172200" y="1871663"/>
            <a:chExt cx="2814638" cy="1336675"/>
          </a:xfrm>
        </p:grpSpPr>
        <p:sp>
          <p:nvSpPr>
            <p:cNvPr id="89" name="iśḻîďe">
              <a:extLst>
                <a:ext uri="{FF2B5EF4-FFF2-40B4-BE49-F238E27FC236}">
                  <a16:creationId xmlns:a16="http://schemas.microsoft.com/office/drawing/2014/main" id="{27C3BEB5-70CF-49F7-A9FB-5E0F8BC2323D}"/>
                </a:ext>
              </a:extLst>
            </p:cNvPr>
            <p:cNvSpPr/>
            <p:nvPr/>
          </p:nvSpPr>
          <p:spPr bwMode="auto">
            <a:xfrm flipH="1">
              <a:off x="6180138" y="2049463"/>
              <a:ext cx="2400300" cy="1152525"/>
            </a:xfrm>
            <a:custGeom>
              <a:gdLst>
                <a:gd fmla="*/ 1282 w 1282" name="T0"/>
                <a:gd fmla="*/ 616 h 616" name="T1"/>
                <a:gd fmla="*/ 606 w 1282" name="T2"/>
                <a:gd fmla="*/ 616 h 616" name="T3"/>
                <a:gd fmla="*/ 0 w 1282" name="T4"/>
                <a:gd fmla="*/ 0 h 616" name="T5"/>
                <a:gd fmla="*/ 676 w 1282" name="T6"/>
                <a:gd fmla="*/ 0 h 616" name="T7"/>
                <a:gd fmla="*/ 1282 w 1282" name="T8"/>
                <a:gd fmla="*/ 616 h 616" name="T9"/>
              </a:gdLst>
              <a:cxnLst>
                <a:cxn ang="0">
                  <a:pos x="T0" y="T1"/>
                </a:cxn>
                <a:cxn ang="0">
                  <a:pos x="T2" y="T3"/>
                </a:cxn>
                <a:cxn ang="0">
                  <a:pos x="T4" y="T5"/>
                </a:cxn>
                <a:cxn ang="0">
                  <a:pos x="T6" y="T7"/>
                </a:cxn>
                <a:cxn ang="0">
                  <a:pos x="T8" y="T9"/>
                </a:cxn>
              </a:cxnLst>
              <a:rect b="b" l="0" r="r" t="0"/>
              <a:pathLst>
                <a:path h="616" w="1282">
                  <a:moveTo>
                    <a:pt x="1282" y="616"/>
                  </a:moveTo>
                  <a:cubicBezTo>
                    <a:pt x="606" y="616"/>
                    <a:pt x="606" y="616"/>
                    <a:pt x="606" y="616"/>
                  </a:cubicBezTo>
                  <a:cubicBezTo>
                    <a:pt x="271" y="616"/>
                    <a:pt x="0" y="340"/>
                    <a:pt x="0" y="0"/>
                  </a:cubicBezTo>
                  <a:cubicBezTo>
                    <a:pt x="676" y="0"/>
                    <a:pt x="676" y="0"/>
                    <a:pt x="676" y="0"/>
                  </a:cubicBezTo>
                  <a:cubicBezTo>
                    <a:pt x="1010" y="0"/>
                    <a:pt x="1282" y="275"/>
                    <a:pt x="1282" y="616"/>
                  </a:cubicBezTo>
                  <a:close/>
                </a:path>
              </a:pathLst>
            </a:custGeom>
            <a:solidFill>
              <a:srgbClr val="F2F2F2"/>
            </a:solidFill>
            <a:ln>
              <a:noFill/>
            </a:ln>
            <a:extLst>
              <a:ext uri="{91240B29-F687-4F45-9708-019B960494DF}">
                <a14:hiddenLine w="9525">
                  <a:solidFill>
                    <a:srgbClr val="000000"/>
                  </a:solidFill>
                  <a:round/>
                  <a:headEnd/>
                  <a:tailEnd/>
                </a14:hiddenLine>
              </a:ext>
            </a:extLst>
          </p:spPr>
          <p:txBody>
            <a:bodyPr anchor="ctr"/>
            <a:lstStyle/>
            <a:p>
              <a:pPr algn="ctr"/>
              <a:endParaRPr/>
            </a:p>
          </p:txBody>
        </p:sp>
        <p:sp>
          <p:nvSpPr>
            <p:cNvPr id="90" name="ïṡļiḓè">
              <a:extLst>
                <a:ext uri="{FF2B5EF4-FFF2-40B4-BE49-F238E27FC236}">
                  <a16:creationId xmlns:a16="http://schemas.microsoft.com/office/drawing/2014/main" id="{B2B3F269-B33F-4EC6-B555-12280EB785F9}"/>
                </a:ext>
              </a:extLst>
            </p:cNvPr>
            <p:cNvSpPr/>
            <p:nvPr/>
          </p:nvSpPr>
          <p:spPr bwMode="auto">
            <a:xfrm flipH="1">
              <a:off x="6172200" y="1871663"/>
              <a:ext cx="2814638" cy="1336675"/>
            </a:xfrm>
            <a:custGeom>
              <a:gdLst>
                <a:gd fmla="*/ 1503 w 1503" name="T0"/>
                <a:gd fmla="*/ 715 h 715" name="T1"/>
                <a:gd fmla="*/ 711 w 1503" name="T2"/>
                <a:gd fmla="*/ 715 h 715" name="T3"/>
                <a:gd fmla="*/ 0 w 1503" name="T4"/>
                <a:gd fmla="*/ 4 h 715" name="T5"/>
                <a:gd fmla="*/ 0 w 1503" name="T6"/>
                <a:gd fmla="*/ 0 h 715" name="T7"/>
                <a:gd fmla="*/ 792 w 1503" name="T8"/>
                <a:gd fmla="*/ 0 h 715" name="T9"/>
                <a:gd fmla="*/ 1503 w 1503" name="T10"/>
                <a:gd fmla="*/ 711 h 715" name="T11"/>
                <a:gd fmla="*/ 1503 w 1503" name="T12"/>
                <a:gd fmla="*/ 715 h 715" name="T13"/>
                <a:gd fmla="*/ 9 w 1503" name="T14"/>
                <a:gd fmla="*/ 9 h 715" name="T15"/>
                <a:gd fmla="*/ 711 w 1503" name="T16"/>
                <a:gd fmla="*/ 706 h 715" name="T17"/>
                <a:gd fmla="*/ 1494 w 1503" name="T18"/>
                <a:gd fmla="*/ 706 h 715" name="T19"/>
                <a:gd fmla="*/ 792 w 1503" name="T20"/>
                <a:gd fmla="*/ 9 h 715" name="T21"/>
                <a:gd fmla="*/ 9 w 1503" name="T22"/>
                <a:gd fmla="*/ 9 h 715" name="T2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b="b" l="0" r="r" t="0"/>
              <a:pathLst>
                <a:path h="715" w="1503">
                  <a:moveTo>
                    <a:pt x="1503" y="715"/>
                  </a:moveTo>
                  <a:cubicBezTo>
                    <a:pt x="711" y="715"/>
                    <a:pt x="711" y="715"/>
                    <a:pt x="711" y="715"/>
                  </a:cubicBezTo>
                  <a:cubicBezTo>
                    <a:pt x="319" y="715"/>
                    <a:pt x="0" y="396"/>
                    <a:pt x="0" y="4"/>
                  </a:cubicBezTo>
                  <a:cubicBezTo>
                    <a:pt x="0" y="0"/>
                    <a:pt x="0" y="0"/>
                    <a:pt x="0" y="0"/>
                  </a:cubicBezTo>
                  <a:cubicBezTo>
                    <a:pt x="792" y="0"/>
                    <a:pt x="792" y="0"/>
                    <a:pt x="792" y="0"/>
                  </a:cubicBezTo>
                  <a:cubicBezTo>
                    <a:pt x="1184" y="0"/>
                    <a:pt x="1503" y="319"/>
                    <a:pt x="1503" y="711"/>
                  </a:cubicBezTo>
                  <a:lnTo>
                    <a:pt x="1503" y="715"/>
                  </a:lnTo>
                  <a:close/>
                  <a:moveTo>
                    <a:pt x="9" y="9"/>
                  </a:moveTo>
                  <a:cubicBezTo>
                    <a:pt x="12" y="394"/>
                    <a:pt x="325" y="706"/>
                    <a:pt x="711" y="706"/>
                  </a:cubicBezTo>
                  <a:cubicBezTo>
                    <a:pt x="1494" y="706"/>
                    <a:pt x="1494" y="706"/>
                    <a:pt x="1494" y="706"/>
                  </a:cubicBezTo>
                  <a:cubicBezTo>
                    <a:pt x="1492" y="321"/>
                    <a:pt x="1178" y="9"/>
                    <a:pt x="792" y="9"/>
                  </a:cubicBezTo>
                  <a:lnTo>
                    <a:pt x="9" y="9"/>
                  </a:lnTo>
                  <a:close/>
                </a:path>
              </a:pathLst>
            </a:custGeom>
            <a:solidFill>
              <a:srgbClr val="3F3D56"/>
            </a:solidFill>
            <a:ln>
              <a:noFill/>
            </a:ln>
            <a:extLst>
              <a:ext uri="{91240B29-F687-4F45-9708-019B960494DF}">
                <a14:hiddenLine w="9525">
                  <a:solidFill>
                    <a:srgbClr val="000000"/>
                  </a:solidFill>
                  <a:round/>
                  <a:headEnd/>
                  <a:tailEnd/>
                </a14:hiddenLine>
              </a:ext>
            </a:extLst>
          </p:spPr>
          <p:txBody>
            <a:bodyPr anchor="ctr"/>
            <a:lstStyle/>
            <a:p>
              <a:pPr algn="ctr"/>
              <a:endParaRPr/>
            </a:p>
          </p:txBody>
        </p:sp>
      </p:grpSp>
      <p:sp>
        <p:nvSpPr>
          <p:cNvPr id="91" name="îṩ1íḍê">
            <a:extLst>
              <a:ext uri="{FF2B5EF4-FFF2-40B4-BE49-F238E27FC236}">
                <a16:creationId xmlns:a16="http://schemas.microsoft.com/office/drawing/2014/main" id="{46642150-E5EB-44BD-83B6-D6DB429D19D6}"/>
              </a:ext>
            </a:extLst>
          </p:cNvPr>
          <p:cNvSpPr/>
          <p:nvPr/>
        </p:nvSpPr>
        <p:spPr bwMode="auto">
          <a:xfrm flipH="1">
            <a:off x="6900862" y="2676525"/>
            <a:ext cx="1347788" cy="15875"/>
          </a:xfrm>
          <a:prstGeom prst="rect">
            <a:avLst/>
          </a:prstGeom>
          <a:solidFill>
            <a:srgbClr val="FFFFFF"/>
          </a:solidFill>
          <a:ln>
            <a:noFill/>
          </a:ln>
          <a:extLst>
            <a:ext uri="{91240B29-F687-4F45-9708-019B960494DF}">
              <a14:hiddenLine w="9525">
                <a:solidFill>
                  <a:srgbClr val="000000"/>
                </a:solidFill>
                <a:miter lim="800000"/>
                <a:headEnd/>
                <a:tailEnd/>
              </a14:hiddenLine>
            </a:ext>
          </a:extLst>
        </p:spPr>
        <p:txBody>
          <a:bodyPr anchor="ctr"/>
          <a:lstStyle/>
          <a:p>
            <a:pPr algn="ctr"/>
            <a:endParaRPr/>
          </a:p>
        </p:txBody>
      </p:sp>
      <p:sp>
        <p:nvSpPr>
          <p:cNvPr id="92" name="í$1iḋê">
            <a:extLst>
              <a:ext uri="{FF2B5EF4-FFF2-40B4-BE49-F238E27FC236}">
                <a16:creationId xmlns:a16="http://schemas.microsoft.com/office/drawing/2014/main" id="{B26D8D29-B76B-4E41-A927-57B9464F7861}"/>
              </a:ext>
            </a:extLst>
          </p:cNvPr>
          <p:cNvSpPr/>
          <p:nvPr/>
        </p:nvSpPr>
        <p:spPr bwMode="auto">
          <a:xfrm flipH="1">
            <a:off x="6900862" y="2768600"/>
            <a:ext cx="1347788" cy="17463"/>
          </a:xfrm>
          <a:prstGeom prst="rect">
            <a:avLst/>
          </a:prstGeom>
          <a:solidFill>
            <a:srgbClr val="FFFFFF"/>
          </a:solidFill>
          <a:ln>
            <a:noFill/>
          </a:ln>
          <a:extLst>
            <a:ext uri="{91240B29-F687-4F45-9708-019B960494DF}">
              <a14:hiddenLine w="9525">
                <a:solidFill>
                  <a:srgbClr val="000000"/>
                </a:solidFill>
                <a:miter lim="800000"/>
                <a:headEnd/>
                <a:tailEnd/>
              </a14:hiddenLine>
            </a:ext>
          </a:extLst>
        </p:spPr>
        <p:txBody>
          <a:bodyPr anchor="ctr"/>
          <a:lstStyle/>
          <a:p>
            <a:pPr algn="ctr"/>
            <a:endParaRPr/>
          </a:p>
        </p:txBody>
      </p:sp>
      <p:sp>
        <p:nvSpPr>
          <p:cNvPr id="93" name="îsḻíḑe">
            <a:extLst>
              <a:ext uri="{FF2B5EF4-FFF2-40B4-BE49-F238E27FC236}">
                <a16:creationId xmlns:a16="http://schemas.microsoft.com/office/drawing/2014/main" id="{39909619-5FFA-4B20-9CFB-49FA83A4D328}"/>
              </a:ext>
            </a:extLst>
          </p:cNvPr>
          <p:cNvSpPr/>
          <p:nvPr/>
        </p:nvSpPr>
        <p:spPr bwMode="auto">
          <a:xfrm flipH="1">
            <a:off x="6443663" y="2809875"/>
            <a:ext cx="254000" cy="255588"/>
          </a:xfrm>
          <a:prstGeom prst="ellipse">
            <a:avLst/>
          </a:prstGeom>
          <a:solidFill>
            <a:srgbClr val="FFC73E"/>
          </a:solidFill>
          <a:ln>
            <a:noFill/>
          </a:ln>
        </p:spPr>
        <p:txBody>
          <a:bodyPr anchor="ctr"/>
          <a:lstStyle/>
          <a:p>
            <a:pPr algn="ctr"/>
            <a:endParaRPr/>
          </a:p>
        </p:txBody>
      </p:sp>
      <p:sp>
        <p:nvSpPr>
          <p:cNvPr id="94" name="TextBox 54">
            <a:extLst>
              <a:ext uri="{FF2B5EF4-FFF2-40B4-BE49-F238E27FC236}">
                <a16:creationId xmlns:a16="http://schemas.microsoft.com/office/drawing/2014/main" id="{BA0BF6C1-F5B7-43D3-BF79-E0ACB25D0BF5}"/>
              </a:ext>
            </a:extLst>
          </p:cNvPr>
          <p:cNvSpPr txBox="1"/>
          <p:nvPr/>
        </p:nvSpPr>
        <p:spPr>
          <a:xfrm flipH="1">
            <a:off x="6971188" y="2292290"/>
            <a:ext cx="1198880" cy="396240"/>
          </a:xfrm>
          <a:prstGeom prst="rect">
            <a:avLst/>
          </a:prstGeom>
          <a:noFill/>
        </p:spPr>
        <p:txBody>
          <a:bodyPr rtlCol="0" wrap="none">
            <a:spAutoFit/>
          </a:bodyPr>
          <a:lstStyle/>
          <a:p>
            <a:pPr defTabSz="1219110"/>
            <a:r>
              <a:rPr altLang="en-US" b="1" lang="zh-CN" sz="2000">
                <a:solidFill>
                  <a:schemeClr val="tx1">
                    <a:lumMod val="85000"/>
                    <a:lumOff val="15000"/>
                  </a:schemeClr>
                </a:solidFill>
                <a:latin panose="020f0502020204030204" typeface="等线"/>
              </a:rPr>
              <a:t>标题文本</a:t>
            </a:r>
          </a:p>
        </p:txBody>
      </p:sp>
      <p:grpSp>
        <p:nvGrpSpPr>
          <p:cNvPr id="8" name="组合 7">
            <a:extLst>
              <a:ext uri="{FF2B5EF4-FFF2-40B4-BE49-F238E27FC236}">
                <a16:creationId xmlns:a16="http://schemas.microsoft.com/office/drawing/2014/main" id="{643E753C-8318-4D2C-9028-E6F50C8DF4B4}"/>
              </a:ext>
            </a:extLst>
          </p:cNvPr>
          <p:cNvGrpSpPr/>
          <p:nvPr/>
        </p:nvGrpSpPr>
        <p:grpSpPr>
          <a:xfrm>
            <a:off x="3209924" y="3378200"/>
            <a:ext cx="2814638" cy="1336675"/>
            <a:chOff x="3209924" y="3378200"/>
            <a:chExt cx="2814638" cy="1336675"/>
          </a:xfrm>
        </p:grpSpPr>
        <p:sp>
          <p:nvSpPr>
            <p:cNvPr id="96" name="îṧḻïḑe">
              <a:extLst>
                <a:ext uri="{FF2B5EF4-FFF2-40B4-BE49-F238E27FC236}">
                  <a16:creationId xmlns:a16="http://schemas.microsoft.com/office/drawing/2014/main" id="{E6F0DBAA-F87E-40B5-A3FD-AE606FF9DFB2}"/>
                </a:ext>
              </a:extLst>
            </p:cNvPr>
            <p:cNvSpPr/>
            <p:nvPr/>
          </p:nvSpPr>
          <p:spPr bwMode="auto">
            <a:xfrm flipV="1">
              <a:off x="3616324" y="3384550"/>
              <a:ext cx="2398713" cy="1152525"/>
            </a:xfrm>
            <a:custGeom>
              <a:gdLst>
                <a:gd fmla="*/ 1281 w 1281" name="T0"/>
                <a:gd fmla="*/ 616 h 616" name="T1"/>
                <a:gd fmla="*/ 606 w 1281" name="T2"/>
                <a:gd fmla="*/ 616 h 616" name="T3"/>
                <a:gd fmla="*/ 0 w 1281" name="T4"/>
                <a:gd fmla="*/ 0 h 616" name="T5"/>
                <a:gd fmla="*/ 676 w 1281" name="T6"/>
                <a:gd fmla="*/ 0 h 616" name="T7"/>
                <a:gd fmla="*/ 1281 w 1281" name="T8"/>
                <a:gd fmla="*/ 616 h 616" name="T9"/>
              </a:gdLst>
              <a:cxnLst>
                <a:cxn ang="0">
                  <a:pos x="T0" y="T1"/>
                </a:cxn>
                <a:cxn ang="0">
                  <a:pos x="T2" y="T3"/>
                </a:cxn>
                <a:cxn ang="0">
                  <a:pos x="T4" y="T5"/>
                </a:cxn>
                <a:cxn ang="0">
                  <a:pos x="T6" y="T7"/>
                </a:cxn>
                <a:cxn ang="0">
                  <a:pos x="T8" y="T9"/>
                </a:cxn>
              </a:cxnLst>
              <a:rect b="b" l="0" r="r" t="0"/>
              <a:pathLst>
                <a:path h="616" w="1281">
                  <a:moveTo>
                    <a:pt x="1281" y="616"/>
                  </a:moveTo>
                  <a:cubicBezTo>
                    <a:pt x="606" y="616"/>
                    <a:pt x="606" y="616"/>
                    <a:pt x="606" y="616"/>
                  </a:cubicBezTo>
                  <a:cubicBezTo>
                    <a:pt x="271" y="616"/>
                    <a:pt x="0" y="340"/>
                    <a:pt x="0" y="0"/>
                  </a:cubicBezTo>
                  <a:cubicBezTo>
                    <a:pt x="676" y="0"/>
                    <a:pt x="676" y="0"/>
                    <a:pt x="676" y="0"/>
                  </a:cubicBezTo>
                  <a:cubicBezTo>
                    <a:pt x="1010" y="0"/>
                    <a:pt x="1281" y="276"/>
                    <a:pt x="1281" y="616"/>
                  </a:cubicBezTo>
                  <a:close/>
                </a:path>
              </a:pathLst>
            </a:custGeom>
            <a:solidFill>
              <a:srgbClr val="F2F2F2"/>
            </a:solidFill>
            <a:ln>
              <a:noFill/>
            </a:ln>
            <a:extLst>
              <a:ext uri="{91240B29-F687-4F45-9708-019B960494DF}">
                <a14:hiddenLine w="9525">
                  <a:solidFill>
                    <a:srgbClr val="000000"/>
                  </a:solidFill>
                  <a:round/>
                  <a:headEnd/>
                  <a:tailEnd/>
                </a14:hiddenLine>
              </a:ext>
            </a:extLst>
          </p:spPr>
          <p:txBody>
            <a:bodyPr anchor="ctr"/>
            <a:lstStyle/>
            <a:p>
              <a:pPr algn="ctr"/>
              <a:endParaRPr/>
            </a:p>
          </p:txBody>
        </p:sp>
        <p:sp>
          <p:nvSpPr>
            <p:cNvPr id="97" name="i$líďe">
              <a:extLst>
                <a:ext uri="{FF2B5EF4-FFF2-40B4-BE49-F238E27FC236}">
                  <a16:creationId xmlns:a16="http://schemas.microsoft.com/office/drawing/2014/main" id="{E91BB5A1-C05F-49B5-9544-772B0CC2266B}"/>
                </a:ext>
              </a:extLst>
            </p:cNvPr>
            <p:cNvSpPr/>
            <p:nvPr/>
          </p:nvSpPr>
          <p:spPr bwMode="auto">
            <a:xfrm flipV="1">
              <a:off x="3209924" y="3378200"/>
              <a:ext cx="2814638" cy="1336675"/>
            </a:xfrm>
            <a:custGeom>
              <a:gdLst>
                <a:gd fmla="*/ 1503 w 1503" name="T0"/>
                <a:gd fmla="*/ 715 h 715" name="T1"/>
                <a:gd fmla="*/ 711 w 1503" name="T2"/>
                <a:gd fmla="*/ 715 h 715" name="T3"/>
                <a:gd fmla="*/ 0 w 1503" name="T4"/>
                <a:gd fmla="*/ 5 h 715" name="T5"/>
                <a:gd fmla="*/ 0 w 1503" name="T6"/>
                <a:gd fmla="*/ 0 h 715" name="T7"/>
                <a:gd fmla="*/ 792 w 1503" name="T8"/>
                <a:gd fmla="*/ 0 h 715" name="T9"/>
                <a:gd fmla="*/ 1503 w 1503" name="T10"/>
                <a:gd fmla="*/ 711 h 715" name="T11"/>
                <a:gd fmla="*/ 1503 w 1503" name="T12"/>
                <a:gd fmla="*/ 715 h 715" name="T13"/>
                <a:gd fmla="*/ 9 w 1503" name="T14"/>
                <a:gd fmla="*/ 9 h 715" name="T15"/>
                <a:gd fmla="*/ 711 w 1503" name="T16"/>
                <a:gd fmla="*/ 706 h 715" name="T17"/>
                <a:gd fmla="*/ 1494 w 1503" name="T18"/>
                <a:gd fmla="*/ 706 h 715" name="T19"/>
                <a:gd fmla="*/ 792 w 1503" name="T20"/>
                <a:gd fmla="*/ 9 h 715" name="T21"/>
                <a:gd fmla="*/ 9 w 1503" name="T22"/>
                <a:gd fmla="*/ 9 h 715" name="T2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b="b" l="0" r="r" t="0"/>
              <a:pathLst>
                <a:path h="715" w="1503">
                  <a:moveTo>
                    <a:pt x="1503" y="715"/>
                  </a:moveTo>
                  <a:cubicBezTo>
                    <a:pt x="711" y="715"/>
                    <a:pt x="711" y="715"/>
                    <a:pt x="711" y="715"/>
                  </a:cubicBezTo>
                  <a:cubicBezTo>
                    <a:pt x="319" y="715"/>
                    <a:pt x="0" y="397"/>
                    <a:pt x="0" y="5"/>
                  </a:cubicBezTo>
                  <a:cubicBezTo>
                    <a:pt x="0" y="0"/>
                    <a:pt x="0" y="0"/>
                    <a:pt x="0" y="0"/>
                  </a:cubicBezTo>
                  <a:cubicBezTo>
                    <a:pt x="792" y="0"/>
                    <a:pt x="792" y="0"/>
                    <a:pt x="792" y="0"/>
                  </a:cubicBezTo>
                  <a:cubicBezTo>
                    <a:pt x="1184" y="0"/>
                    <a:pt x="1503" y="319"/>
                    <a:pt x="1503" y="711"/>
                  </a:cubicBezTo>
                  <a:lnTo>
                    <a:pt x="1503" y="715"/>
                  </a:lnTo>
                  <a:close/>
                  <a:moveTo>
                    <a:pt x="9" y="9"/>
                  </a:moveTo>
                  <a:cubicBezTo>
                    <a:pt x="11" y="394"/>
                    <a:pt x="325" y="706"/>
                    <a:pt x="711" y="706"/>
                  </a:cubicBezTo>
                  <a:cubicBezTo>
                    <a:pt x="1494" y="706"/>
                    <a:pt x="1494" y="706"/>
                    <a:pt x="1494" y="706"/>
                  </a:cubicBezTo>
                  <a:cubicBezTo>
                    <a:pt x="1491" y="321"/>
                    <a:pt x="1178" y="9"/>
                    <a:pt x="792" y="9"/>
                  </a:cubicBezTo>
                  <a:lnTo>
                    <a:pt x="9" y="9"/>
                  </a:lnTo>
                  <a:close/>
                </a:path>
              </a:pathLst>
            </a:custGeom>
            <a:solidFill>
              <a:srgbClr val="3F3D56"/>
            </a:solidFill>
            <a:ln>
              <a:noFill/>
            </a:ln>
            <a:extLst>
              <a:ext uri="{91240B29-F687-4F45-9708-019B960494DF}">
                <a14:hiddenLine w="9525">
                  <a:solidFill>
                    <a:srgbClr val="000000"/>
                  </a:solidFill>
                  <a:round/>
                  <a:headEnd/>
                  <a:tailEnd/>
                </a14:hiddenLine>
              </a:ext>
            </a:extLst>
          </p:spPr>
          <p:txBody>
            <a:bodyPr anchor="ctr"/>
            <a:lstStyle/>
            <a:p>
              <a:pPr algn="ctr"/>
              <a:endParaRPr/>
            </a:p>
          </p:txBody>
        </p:sp>
      </p:grpSp>
      <p:sp>
        <p:nvSpPr>
          <p:cNvPr id="98" name="ïSliḓe">
            <a:extLst>
              <a:ext uri="{FF2B5EF4-FFF2-40B4-BE49-F238E27FC236}">
                <a16:creationId xmlns:a16="http://schemas.microsoft.com/office/drawing/2014/main" id="{DE35D96D-CDB3-4C9C-924C-E5E68CC0DABA}"/>
              </a:ext>
            </a:extLst>
          </p:cNvPr>
          <p:cNvSpPr/>
          <p:nvPr/>
        </p:nvSpPr>
        <p:spPr bwMode="auto">
          <a:xfrm flipV="1">
            <a:off x="3948112" y="3894137"/>
            <a:ext cx="1347788" cy="15875"/>
          </a:xfrm>
          <a:prstGeom prst="rect">
            <a:avLst/>
          </a:prstGeom>
          <a:solidFill>
            <a:srgbClr val="FFFFFF"/>
          </a:solidFill>
          <a:ln>
            <a:noFill/>
          </a:ln>
          <a:extLst>
            <a:ext uri="{91240B29-F687-4F45-9708-019B960494DF}">
              <a14:hiddenLine w="9525">
                <a:solidFill>
                  <a:srgbClr val="000000"/>
                </a:solidFill>
                <a:miter lim="800000"/>
                <a:headEnd/>
                <a:tailEnd/>
              </a14:hiddenLine>
            </a:ext>
          </a:extLst>
        </p:spPr>
        <p:txBody>
          <a:bodyPr anchor="ctr"/>
          <a:lstStyle/>
          <a:p>
            <a:pPr algn="ctr"/>
            <a:endParaRPr/>
          </a:p>
        </p:txBody>
      </p:sp>
      <p:sp>
        <p:nvSpPr>
          <p:cNvPr id="99" name="îšḻîďé">
            <a:extLst>
              <a:ext uri="{FF2B5EF4-FFF2-40B4-BE49-F238E27FC236}">
                <a16:creationId xmlns:a16="http://schemas.microsoft.com/office/drawing/2014/main" id="{6A409C37-70FA-43B7-8BB0-FB58B16C6FBD}"/>
              </a:ext>
            </a:extLst>
          </p:cNvPr>
          <p:cNvSpPr/>
          <p:nvPr/>
        </p:nvSpPr>
        <p:spPr bwMode="auto">
          <a:xfrm flipV="1">
            <a:off x="3948112" y="3800475"/>
            <a:ext cx="1347788" cy="15875"/>
          </a:xfrm>
          <a:prstGeom prst="rect">
            <a:avLst/>
          </a:prstGeom>
          <a:solidFill>
            <a:srgbClr val="FFFFFF"/>
          </a:solidFill>
          <a:ln>
            <a:noFill/>
          </a:ln>
          <a:extLst>
            <a:ext uri="{91240B29-F687-4F45-9708-019B960494DF}">
              <a14:hiddenLine w="9525">
                <a:solidFill>
                  <a:srgbClr val="000000"/>
                </a:solidFill>
                <a:miter lim="800000"/>
                <a:headEnd/>
                <a:tailEnd/>
              </a14:hiddenLine>
            </a:ext>
          </a:extLst>
        </p:spPr>
        <p:txBody>
          <a:bodyPr anchor="ctr"/>
          <a:lstStyle/>
          <a:p>
            <a:pPr algn="ctr"/>
            <a:endParaRPr/>
          </a:p>
        </p:txBody>
      </p:sp>
      <p:sp>
        <p:nvSpPr>
          <p:cNvPr id="100" name="íşľïḓè">
            <a:extLst>
              <a:ext uri="{FF2B5EF4-FFF2-40B4-BE49-F238E27FC236}">
                <a16:creationId xmlns:a16="http://schemas.microsoft.com/office/drawing/2014/main" id="{07AF5B4E-AB52-4EBE-BA3E-E07E9E23EEFF}"/>
              </a:ext>
            </a:extLst>
          </p:cNvPr>
          <p:cNvSpPr/>
          <p:nvPr/>
        </p:nvSpPr>
        <p:spPr bwMode="auto">
          <a:xfrm flipV="1">
            <a:off x="5499099" y="3521074"/>
            <a:ext cx="254000" cy="252413"/>
          </a:xfrm>
          <a:prstGeom prst="ellipse">
            <a:avLst/>
          </a:prstGeom>
          <a:solidFill>
            <a:srgbClr val="FF626C"/>
          </a:solidFill>
          <a:ln>
            <a:noFill/>
          </a:ln>
        </p:spPr>
        <p:txBody>
          <a:bodyPr anchor="ctr"/>
          <a:lstStyle/>
          <a:p>
            <a:pPr algn="ctr"/>
            <a:endParaRPr/>
          </a:p>
        </p:txBody>
      </p:sp>
      <p:sp>
        <p:nvSpPr>
          <p:cNvPr id="101" name="TextBox 54">
            <a:extLst>
              <a:ext uri="{FF2B5EF4-FFF2-40B4-BE49-F238E27FC236}">
                <a16:creationId xmlns:a16="http://schemas.microsoft.com/office/drawing/2014/main" id="{B0062DB8-133D-4972-83FC-6B090F4C4A1A}"/>
              </a:ext>
            </a:extLst>
          </p:cNvPr>
          <p:cNvSpPr txBox="1"/>
          <p:nvPr/>
        </p:nvSpPr>
        <p:spPr>
          <a:xfrm>
            <a:off x="4011949" y="3955226"/>
            <a:ext cx="1198880" cy="396240"/>
          </a:xfrm>
          <a:prstGeom prst="rect">
            <a:avLst/>
          </a:prstGeom>
          <a:noFill/>
        </p:spPr>
        <p:txBody>
          <a:bodyPr rtlCol="0" wrap="none">
            <a:spAutoFit/>
          </a:bodyPr>
          <a:lstStyle/>
          <a:p>
            <a:pPr defTabSz="1219110"/>
            <a:r>
              <a:rPr altLang="en-US" b="1" lang="zh-CN" sz="2000">
                <a:solidFill>
                  <a:schemeClr val="tx1">
                    <a:lumMod val="85000"/>
                    <a:lumOff val="15000"/>
                  </a:schemeClr>
                </a:solidFill>
                <a:latin panose="020f0502020204030204" typeface="等线"/>
              </a:rPr>
              <a:t>标题文本</a:t>
            </a:r>
          </a:p>
        </p:txBody>
      </p:sp>
      <p:sp>
        <p:nvSpPr>
          <p:cNvPr id="102" name="Rectangle 60">
            <a:extLst>
              <a:ext uri="{FF2B5EF4-FFF2-40B4-BE49-F238E27FC236}">
                <a16:creationId xmlns:a16="http://schemas.microsoft.com/office/drawing/2014/main" id="{613B7868-B817-445A-BFA5-3D4C80DADB47}"/>
              </a:ext>
            </a:extLst>
          </p:cNvPr>
          <p:cNvSpPr/>
          <p:nvPr/>
        </p:nvSpPr>
        <p:spPr>
          <a:xfrm>
            <a:off x="8946984" y="2001233"/>
            <a:ext cx="2139613" cy="1188720"/>
          </a:xfrm>
          <a:prstGeom prst="rect">
            <a:avLst/>
          </a:prstGeom>
        </p:spPr>
        <p:txBody>
          <a:bodyPr wrap="square">
            <a:spAutoFit/>
          </a:bodyPr>
          <a:lstStyle/>
          <a:p>
            <a:pPr>
              <a:lnSpc>
                <a:spcPct val="150000"/>
              </a:lnSpc>
            </a:pPr>
            <a:r>
              <a:rPr altLang="en-US" lang="zh-CN" sz="1200">
                <a:solidFill>
                  <a:schemeClr val="tx1">
                    <a:lumMod val="75000"/>
                    <a:lumOff val="25000"/>
                  </a:schemeClr>
                </a:solidFill>
                <a:latin typeface="+mn-ea"/>
              </a:rPr>
              <a:t>这里可以添加主要内容这里可以添加主要内容这里可以添加主要内容这里可以添加主要内容</a:t>
            </a:r>
          </a:p>
        </p:txBody>
      </p:sp>
      <p:sp>
        <p:nvSpPr>
          <p:cNvPr id="103" name="Rectangle 60">
            <a:extLst>
              <a:ext uri="{FF2B5EF4-FFF2-40B4-BE49-F238E27FC236}">
                <a16:creationId xmlns:a16="http://schemas.microsoft.com/office/drawing/2014/main" id="{5A2B31A4-035B-4E9F-B97C-4750E9CA1983}"/>
              </a:ext>
            </a:extLst>
          </p:cNvPr>
          <p:cNvSpPr/>
          <p:nvPr/>
        </p:nvSpPr>
        <p:spPr>
          <a:xfrm>
            <a:off x="3632369" y="4922838"/>
            <a:ext cx="2139613" cy="1188720"/>
          </a:xfrm>
          <a:prstGeom prst="rect">
            <a:avLst/>
          </a:prstGeom>
        </p:spPr>
        <p:txBody>
          <a:bodyPr wrap="square">
            <a:spAutoFit/>
          </a:bodyPr>
          <a:lstStyle/>
          <a:p>
            <a:pPr>
              <a:lnSpc>
                <a:spcPct val="150000"/>
              </a:lnSpc>
            </a:pPr>
            <a:r>
              <a:rPr altLang="en-US" lang="zh-CN" sz="1200">
                <a:solidFill>
                  <a:schemeClr val="tx1">
                    <a:lumMod val="75000"/>
                    <a:lumOff val="25000"/>
                  </a:schemeClr>
                </a:solidFill>
                <a:latin typeface="+mn-ea"/>
              </a:rPr>
              <a:t>这里可以添加主要内容这里可以添加主要内容这里可以添加主要内容这里可以添加主要内容</a:t>
            </a:r>
          </a:p>
        </p:txBody>
      </p:sp>
    </p:spTree>
    <p:extLst>
      <p:ext uri="{BB962C8B-B14F-4D97-AF65-F5344CB8AC3E}">
        <p14:creationId val="4066814687"/>
      </p:ext>
    </p:extLst>
  </p:cSld>
  <p:clrMapOvr>
    <a:masterClrMapping/>
  </p:clrMapOvr>
  <mc:AlternateContent>
    <mc:Choice Requires="p14">
      <p:transition p14:dur="1500" spd="slow">
        <p:random/>
      </p:transition>
    </mc:Choice>
    <mc:Fallback>
      <p:transition spd="slow">
        <p:random/>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decel="100000" fill="hold" grpId="0" id="5" nodeType="withEffect" presetClass="entr" presetID="50" presetSubtype="0">
                                  <p:stCondLst>
                                    <p:cond delay="0"/>
                                  </p:stCondLst>
                                  <p:childTnLst>
                                    <p:set>
                                      <p:cBhvr>
                                        <p:cTn dur="1" fill="hold" id="6">
                                          <p:stCondLst>
                                            <p:cond delay="0"/>
                                          </p:stCondLst>
                                        </p:cTn>
                                        <p:tgtEl>
                                          <p:spTgt spid="10"/>
                                        </p:tgtEl>
                                        <p:attrNameLst>
                                          <p:attrName>style.visibility</p:attrName>
                                        </p:attrNameLst>
                                      </p:cBhvr>
                                      <p:to>
                                        <p:strVal val="visible"/>
                                      </p:to>
                                    </p:set>
                                    <p:anim calcmode="lin" valueType="num">
                                      <p:cBhvr>
                                        <p:cTn dur="1000" fill="hold" id="7"/>
                                        <p:tgtEl>
                                          <p:spTgt spid="10"/>
                                        </p:tgtEl>
                                        <p:attrNameLst>
                                          <p:attrName>ppt_w</p:attrName>
                                        </p:attrNameLst>
                                      </p:cBhvr>
                                      <p:tavLst>
                                        <p:tav tm="0">
                                          <p:val>
                                            <p:strVal val="#ppt_w+.3"/>
                                          </p:val>
                                        </p:tav>
                                        <p:tav tm="100000">
                                          <p:val>
                                            <p:strVal val="#ppt_w"/>
                                          </p:val>
                                        </p:tav>
                                      </p:tavLst>
                                    </p:anim>
                                    <p:anim calcmode="lin" valueType="num">
                                      <p:cBhvr>
                                        <p:cTn dur="1000" fill="hold" id="8"/>
                                        <p:tgtEl>
                                          <p:spTgt spid="10"/>
                                        </p:tgtEl>
                                        <p:attrNameLst>
                                          <p:attrName>ppt_h</p:attrName>
                                        </p:attrNameLst>
                                      </p:cBhvr>
                                      <p:tavLst>
                                        <p:tav tm="0">
                                          <p:val>
                                            <p:strVal val="#ppt_h"/>
                                          </p:val>
                                        </p:tav>
                                        <p:tav tm="100000">
                                          <p:val>
                                            <p:strVal val="#ppt_h"/>
                                          </p:val>
                                        </p:tav>
                                      </p:tavLst>
                                    </p:anim>
                                    <p:animEffect filter="fade" transition="in">
                                      <p:cBhvr>
                                        <p:cTn dur="1000" id="9"/>
                                        <p:tgtEl>
                                          <p:spTgt spid="10"/>
                                        </p:tgtEl>
                                      </p:cBhvr>
                                    </p:animEffect>
                                  </p:childTnLst>
                                </p:cTn>
                              </p:par>
                              <p:par>
                                <p:cTn fill="hold" id="10" nodeType="withEffect" presetClass="entr" presetID="53" presetSubtype="0">
                                  <p:stCondLst>
                                    <p:cond delay="250"/>
                                  </p:stCondLst>
                                  <p:childTnLst>
                                    <p:set>
                                      <p:cBhvr>
                                        <p:cTn dur="1" fill="hold" id="11">
                                          <p:stCondLst>
                                            <p:cond delay="0"/>
                                          </p:stCondLst>
                                        </p:cTn>
                                        <p:tgtEl>
                                          <p:spTgt spid="15"/>
                                        </p:tgtEl>
                                        <p:attrNameLst>
                                          <p:attrName>style.visibility</p:attrName>
                                        </p:attrNameLst>
                                      </p:cBhvr>
                                      <p:to>
                                        <p:strVal val="visible"/>
                                      </p:to>
                                    </p:set>
                                    <p:anim calcmode="lin" valueType="num">
                                      <p:cBhvr>
                                        <p:cTn dur="500" fill="hold" id="12"/>
                                        <p:tgtEl>
                                          <p:spTgt spid="15"/>
                                        </p:tgtEl>
                                        <p:attrNameLst>
                                          <p:attrName>ppt_w</p:attrName>
                                        </p:attrNameLst>
                                      </p:cBhvr>
                                      <p:tavLst>
                                        <p:tav tm="0">
                                          <p:val>
                                            <p:fltVal val="0"/>
                                          </p:val>
                                        </p:tav>
                                        <p:tav tm="100000">
                                          <p:val>
                                            <p:strVal val="#ppt_w"/>
                                          </p:val>
                                        </p:tav>
                                      </p:tavLst>
                                    </p:anim>
                                    <p:anim calcmode="lin" valueType="num">
                                      <p:cBhvr>
                                        <p:cTn dur="500" fill="hold" id="13"/>
                                        <p:tgtEl>
                                          <p:spTgt spid="15"/>
                                        </p:tgtEl>
                                        <p:attrNameLst>
                                          <p:attrName>ppt_h</p:attrName>
                                        </p:attrNameLst>
                                      </p:cBhvr>
                                      <p:tavLst>
                                        <p:tav tm="0">
                                          <p:val>
                                            <p:fltVal val="0"/>
                                          </p:val>
                                        </p:tav>
                                        <p:tav tm="100000">
                                          <p:val>
                                            <p:strVal val="#ppt_h"/>
                                          </p:val>
                                        </p:tav>
                                      </p:tavLst>
                                    </p:anim>
                                    <p:animEffect filter="fade" transition="in">
                                      <p:cBhvr>
                                        <p:cTn dur="500" id="14"/>
                                        <p:tgtEl>
                                          <p:spTgt spid="15"/>
                                        </p:tgtEl>
                                      </p:cBhvr>
                                    </p:animEffect>
                                  </p:childTnLst>
                                </p:cTn>
                              </p:par>
                              <p:par>
                                <p:cTn fill="hold" id="15" nodeType="withEffect" presetClass="entr" presetID="53" presetSubtype="0">
                                  <p:stCondLst>
                                    <p:cond delay="250"/>
                                  </p:stCondLst>
                                  <p:childTnLst>
                                    <p:set>
                                      <p:cBhvr>
                                        <p:cTn dur="1" fill="hold" id="16">
                                          <p:stCondLst>
                                            <p:cond delay="0"/>
                                          </p:stCondLst>
                                        </p:cTn>
                                        <p:tgtEl>
                                          <p:spTgt spid="16"/>
                                        </p:tgtEl>
                                        <p:attrNameLst>
                                          <p:attrName>style.visibility</p:attrName>
                                        </p:attrNameLst>
                                      </p:cBhvr>
                                      <p:to>
                                        <p:strVal val="visible"/>
                                      </p:to>
                                    </p:set>
                                    <p:anim calcmode="lin" valueType="num">
                                      <p:cBhvr>
                                        <p:cTn dur="500" fill="hold" id="17"/>
                                        <p:tgtEl>
                                          <p:spTgt spid="16"/>
                                        </p:tgtEl>
                                        <p:attrNameLst>
                                          <p:attrName>ppt_w</p:attrName>
                                        </p:attrNameLst>
                                      </p:cBhvr>
                                      <p:tavLst>
                                        <p:tav tm="0">
                                          <p:val>
                                            <p:fltVal val="0"/>
                                          </p:val>
                                        </p:tav>
                                        <p:tav tm="100000">
                                          <p:val>
                                            <p:strVal val="#ppt_w"/>
                                          </p:val>
                                        </p:tav>
                                      </p:tavLst>
                                    </p:anim>
                                    <p:anim calcmode="lin" valueType="num">
                                      <p:cBhvr>
                                        <p:cTn dur="500" fill="hold" id="18"/>
                                        <p:tgtEl>
                                          <p:spTgt spid="16"/>
                                        </p:tgtEl>
                                        <p:attrNameLst>
                                          <p:attrName>ppt_h</p:attrName>
                                        </p:attrNameLst>
                                      </p:cBhvr>
                                      <p:tavLst>
                                        <p:tav tm="0">
                                          <p:val>
                                            <p:fltVal val="0"/>
                                          </p:val>
                                        </p:tav>
                                        <p:tav tm="100000">
                                          <p:val>
                                            <p:strVal val="#ppt_h"/>
                                          </p:val>
                                        </p:tav>
                                      </p:tavLst>
                                    </p:anim>
                                    <p:animEffect filter="fade" transition="in">
                                      <p:cBhvr>
                                        <p:cTn dur="500" id="19"/>
                                        <p:tgtEl>
                                          <p:spTgt spid="16"/>
                                        </p:tgtEl>
                                      </p:cBhvr>
                                    </p:animEffect>
                                  </p:childTnLst>
                                </p:cTn>
                              </p:par>
                              <p:par>
                                <p:cTn fill="hold" id="20" nodeType="withEffect" presetClass="entr" presetID="22" presetSubtype="8">
                                  <p:stCondLst>
                                    <p:cond delay="750"/>
                                  </p:stCondLst>
                                  <p:childTnLst>
                                    <p:set>
                                      <p:cBhvr>
                                        <p:cTn dur="1" fill="hold" id="21">
                                          <p:stCondLst>
                                            <p:cond delay="0"/>
                                          </p:stCondLst>
                                        </p:cTn>
                                        <p:tgtEl>
                                          <p:spTgt spid="13"/>
                                        </p:tgtEl>
                                        <p:attrNameLst>
                                          <p:attrName>style.visibility</p:attrName>
                                        </p:attrNameLst>
                                      </p:cBhvr>
                                      <p:to>
                                        <p:strVal val="visible"/>
                                      </p:to>
                                    </p:set>
                                    <p:animEffect filter="wipe(left)" transition="in">
                                      <p:cBhvr>
                                        <p:cTn dur="250" id="22"/>
                                        <p:tgtEl>
                                          <p:spTgt spid="13"/>
                                        </p:tgtEl>
                                      </p:cBhvr>
                                    </p:animEffect>
                                  </p:childTnLst>
                                </p:cTn>
                              </p:par>
                              <p:par>
                                <p:cTn fill="hold" id="23" nodeType="withEffect" presetClass="entr" presetID="22" presetSubtype="2">
                                  <p:stCondLst>
                                    <p:cond delay="750"/>
                                  </p:stCondLst>
                                  <p:childTnLst>
                                    <p:set>
                                      <p:cBhvr>
                                        <p:cTn dur="1" fill="hold" id="24">
                                          <p:stCondLst>
                                            <p:cond delay="0"/>
                                          </p:stCondLst>
                                        </p:cTn>
                                        <p:tgtEl>
                                          <p:spTgt spid="18"/>
                                        </p:tgtEl>
                                        <p:attrNameLst>
                                          <p:attrName>style.visibility</p:attrName>
                                        </p:attrNameLst>
                                      </p:cBhvr>
                                      <p:to>
                                        <p:strVal val="visible"/>
                                      </p:to>
                                    </p:set>
                                    <p:animEffect filter="wipe(right)" transition="in">
                                      <p:cBhvr>
                                        <p:cTn dur="250" id="25"/>
                                        <p:tgtEl>
                                          <p:spTgt spid="18"/>
                                        </p:tgtEl>
                                      </p:cBhvr>
                                    </p:animEffect>
                                  </p:childTnLst>
                                </p:cTn>
                              </p:par>
                            </p:childTnLst>
                          </p:cTn>
                        </p:par>
                        <p:par>
                          <p:cTn fill="hold" id="26" nodeType="afterGroup">
                            <p:stCondLst>
                              <p:cond delay="1000"/>
                            </p:stCondLst>
                            <p:childTnLst>
                              <p:par>
                                <p:cTn fill="hold" id="27" nodeType="afterEffect" presetClass="entr" presetID="53" presetSubtype="0">
                                  <p:stCondLst>
                                    <p:cond delay="0"/>
                                  </p:stCondLst>
                                  <p:childTnLst>
                                    <p:set>
                                      <p:cBhvr>
                                        <p:cTn dur="1" fill="hold" id="28">
                                          <p:stCondLst>
                                            <p:cond delay="0"/>
                                          </p:stCondLst>
                                        </p:cTn>
                                        <p:tgtEl>
                                          <p:spTgt spid="4"/>
                                        </p:tgtEl>
                                        <p:attrNameLst>
                                          <p:attrName>style.visibility</p:attrName>
                                        </p:attrNameLst>
                                      </p:cBhvr>
                                      <p:to>
                                        <p:strVal val="visible"/>
                                      </p:to>
                                    </p:set>
                                    <p:anim calcmode="lin" valueType="num">
                                      <p:cBhvr>
                                        <p:cTn dur="500" fill="hold" id="29"/>
                                        <p:tgtEl>
                                          <p:spTgt spid="4"/>
                                        </p:tgtEl>
                                        <p:attrNameLst>
                                          <p:attrName>ppt_w</p:attrName>
                                        </p:attrNameLst>
                                      </p:cBhvr>
                                      <p:tavLst>
                                        <p:tav tm="0">
                                          <p:val>
                                            <p:fltVal val="0"/>
                                          </p:val>
                                        </p:tav>
                                        <p:tav tm="100000">
                                          <p:val>
                                            <p:strVal val="#ppt_w"/>
                                          </p:val>
                                        </p:tav>
                                      </p:tavLst>
                                    </p:anim>
                                    <p:anim calcmode="lin" valueType="num">
                                      <p:cBhvr>
                                        <p:cTn dur="500" fill="hold" id="30"/>
                                        <p:tgtEl>
                                          <p:spTgt spid="4"/>
                                        </p:tgtEl>
                                        <p:attrNameLst>
                                          <p:attrName>ppt_h</p:attrName>
                                        </p:attrNameLst>
                                      </p:cBhvr>
                                      <p:tavLst>
                                        <p:tav tm="0">
                                          <p:val>
                                            <p:fltVal val="0"/>
                                          </p:val>
                                        </p:tav>
                                        <p:tav tm="100000">
                                          <p:val>
                                            <p:strVal val="#ppt_h"/>
                                          </p:val>
                                        </p:tav>
                                      </p:tavLst>
                                    </p:anim>
                                    <p:animEffect filter="fade" transition="in">
                                      <p:cBhvr>
                                        <p:cTn dur="500" id="31"/>
                                        <p:tgtEl>
                                          <p:spTgt spid="4"/>
                                        </p:tgtEl>
                                      </p:cBhvr>
                                    </p:animEffect>
                                  </p:childTnLst>
                                </p:cTn>
                              </p:par>
                            </p:childTnLst>
                          </p:cTn>
                        </p:par>
                        <p:par>
                          <p:cTn fill="hold" id="32" nodeType="afterGroup">
                            <p:stCondLst>
                              <p:cond delay="1500"/>
                            </p:stCondLst>
                            <p:childTnLst>
                              <p:par>
                                <p:cTn fill="hold" grpId="0" id="33" nodeType="afterEffect" presetClass="entr" presetID="53" presetSubtype="0">
                                  <p:stCondLst>
                                    <p:cond delay="0"/>
                                  </p:stCondLst>
                                  <p:childTnLst>
                                    <p:set>
                                      <p:cBhvr>
                                        <p:cTn dur="1" fill="hold" id="34">
                                          <p:stCondLst>
                                            <p:cond delay="0"/>
                                          </p:stCondLst>
                                        </p:cTn>
                                        <p:tgtEl>
                                          <p:spTgt spid="54"/>
                                        </p:tgtEl>
                                        <p:attrNameLst>
                                          <p:attrName>style.visibility</p:attrName>
                                        </p:attrNameLst>
                                      </p:cBhvr>
                                      <p:to>
                                        <p:strVal val="visible"/>
                                      </p:to>
                                    </p:set>
                                    <p:anim calcmode="lin" valueType="num">
                                      <p:cBhvr>
                                        <p:cTn dur="500" fill="hold" id="35"/>
                                        <p:tgtEl>
                                          <p:spTgt spid="54"/>
                                        </p:tgtEl>
                                        <p:attrNameLst>
                                          <p:attrName>ppt_w</p:attrName>
                                        </p:attrNameLst>
                                      </p:cBhvr>
                                      <p:tavLst>
                                        <p:tav tm="0">
                                          <p:val>
                                            <p:fltVal val="0"/>
                                          </p:val>
                                        </p:tav>
                                        <p:tav tm="100000">
                                          <p:val>
                                            <p:strVal val="#ppt_w"/>
                                          </p:val>
                                        </p:tav>
                                      </p:tavLst>
                                    </p:anim>
                                    <p:anim calcmode="lin" valueType="num">
                                      <p:cBhvr>
                                        <p:cTn dur="500" fill="hold" id="36"/>
                                        <p:tgtEl>
                                          <p:spTgt spid="54"/>
                                        </p:tgtEl>
                                        <p:attrNameLst>
                                          <p:attrName>ppt_h</p:attrName>
                                        </p:attrNameLst>
                                      </p:cBhvr>
                                      <p:tavLst>
                                        <p:tav tm="0">
                                          <p:val>
                                            <p:fltVal val="0"/>
                                          </p:val>
                                        </p:tav>
                                        <p:tav tm="100000">
                                          <p:val>
                                            <p:strVal val="#ppt_h"/>
                                          </p:val>
                                        </p:tav>
                                      </p:tavLst>
                                    </p:anim>
                                    <p:animEffect filter="fade" transition="in">
                                      <p:cBhvr>
                                        <p:cTn dur="500" id="37"/>
                                        <p:tgtEl>
                                          <p:spTgt spid="54"/>
                                        </p:tgtEl>
                                      </p:cBhvr>
                                    </p:animEffect>
                                  </p:childTnLst>
                                </p:cTn>
                              </p:par>
                            </p:childTnLst>
                          </p:cTn>
                        </p:par>
                        <p:par>
                          <p:cTn fill="hold" id="38" nodeType="afterGroup">
                            <p:stCondLst>
                              <p:cond delay="2000"/>
                            </p:stCondLst>
                            <p:childTnLst>
                              <p:par>
                                <p:cTn fill="hold" grpId="0" id="39" nodeType="afterEffect" presetClass="entr" presetID="14" presetSubtype="10">
                                  <p:stCondLst>
                                    <p:cond delay="0"/>
                                  </p:stCondLst>
                                  <p:childTnLst>
                                    <p:set>
                                      <p:cBhvr>
                                        <p:cTn dur="1" fill="hold" id="40">
                                          <p:stCondLst>
                                            <p:cond delay="0"/>
                                          </p:stCondLst>
                                        </p:cTn>
                                        <p:tgtEl>
                                          <p:spTgt spid="52"/>
                                        </p:tgtEl>
                                        <p:attrNameLst>
                                          <p:attrName>style.visibility</p:attrName>
                                        </p:attrNameLst>
                                      </p:cBhvr>
                                      <p:to>
                                        <p:strVal val="visible"/>
                                      </p:to>
                                    </p:set>
                                    <p:animEffect filter="randombar(horizontal)" transition="in">
                                      <p:cBhvr>
                                        <p:cTn dur="500" id="41"/>
                                        <p:tgtEl>
                                          <p:spTgt spid="52"/>
                                        </p:tgtEl>
                                      </p:cBhvr>
                                    </p:animEffect>
                                  </p:childTnLst>
                                </p:cTn>
                              </p:par>
                              <p:par>
                                <p:cTn fill="hold" grpId="0" id="42" nodeType="withEffect" presetClass="entr" presetID="14" presetSubtype="10">
                                  <p:stCondLst>
                                    <p:cond delay="0"/>
                                  </p:stCondLst>
                                  <p:childTnLst>
                                    <p:set>
                                      <p:cBhvr>
                                        <p:cTn dur="1" fill="hold" id="43">
                                          <p:stCondLst>
                                            <p:cond delay="0"/>
                                          </p:stCondLst>
                                        </p:cTn>
                                        <p:tgtEl>
                                          <p:spTgt spid="53"/>
                                        </p:tgtEl>
                                        <p:attrNameLst>
                                          <p:attrName>style.visibility</p:attrName>
                                        </p:attrNameLst>
                                      </p:cBhvr>
                                      <p:to>
                                        <p:strVal val="visible"/>
                                      </p:to>
                                    </p:set>
                                    <p:animEffect filter="randombar(horizontal)" transition="in">
                                      <p:cBhvr>
                                        <p:cTn dur="500" id="44"/>
                                        <p:tgtEl>
                                          <p:spTgt spid="53"/>
                                        </p:tgtEl>
                                      </p:cBhvr>
                                    </p:animEffect>
                                  </p:childTnLst>
                                </p:cTn>
                              </p:par>
                              <p:par>
                                <p:cTn fill="hold" grpId="0" id="45" nodeType="withEffect" presetClass="entr" presetID="14" presetSubtype="10">
                                  <p:stCondLst>
                                    <p:cond delay="0"/>
                                  </p:stCondLst>
                                  <p:childTnLst>
                                    <p:set>
                                      <p:cBhvr>
                                        <p:cTn dur="1" fill="hold" id="46">
                                          <p:stCondLst>
                                            <p:cond delay="0"/>
                                          </p:stCondLst>
                                        </p:cTn>
                                        <p:tgtEl>
                                          <p:spTgt spid="56"/>
                                        </p:tgtEl>
                                        <p:attrNameLst>
                                          <p:attrName>style.visibility</p:attrName>
                                        </p:attrNameLst>
                                      </p:cBhvr>
                                      <p:to>
                                        <p:strVal val="visible"/>
                                      </p:to>
                                    </p:set>
                                    <p:animEffect filter="randombar(horizontal)" transition="in">
                                      <p:cBhvr>
                                        <p:cTn dur="500" id="47"/>
                                        <p:tgtEl>
                                          <p:spTgt spid="56"/>
                                        </p:tgtEl>
                                      </p:cBhvr>
                                    </p:animEffect>
                                  </p:childTnLst>
                                </p:cTn>
                              </p:par>
                            </p:childTnLst>
                          </p:cTn>
                        </p:par>
                        <p:par>
                          <p:cTn fill="hold" id="48" nodeType="afterGroup">
                            <p:stCondLst>
                              <p:cond delay="2500"/>
                            </p:stCondLst>
                            <p:childTnLst>
                              <p:par>
                                <p:cTn fill="hold" id="49" nodeType="afterEffect" presetClass="entr" presetID="53" presetSubtype="0">
                                  <p:stCondLst>
                                    <p:cond delay="0"/>
                                  </p:stCondLst>
                                  <p:childTnLst>
                                    <p:set>
                                      <p:cBhvr>
                                        <p:cTn dur="1" fill="hold" id="50">
                                          <p:stCondLst>
                                            <p:cond delay="0"/>
                                          </p:stCondLst>
                                        </p:cTn>
                                        <p:tgtEl>
                                          <p:spTgt spid="5"/>
                                        </p:tgtEl>
                                        <p:attrNameLst>
                                          <p:attrName>style.visibility</p:attrName>
                                        </p:attrNameLst>
                                      </p:cBhvr>
                                      <p:to>
                                        <p:strVal val="visible"/>
                                      </p:to>
                                    </p:set>
                                    <p:anim calcmode="lin" valueType="num">
                                      <p:cBhvr>
                                        <p:cTn dur="500" fill="hold" id="51"/>
                                        <p:tgtEl>
                                          <p:spTgt spid="5"/>
                                        </p:tgtEl>
                                        <p:attrNameLst>
                                          <p:attrName>ppt_w</p:attrName>
                                        </p:attrNameLst>
                                      </p:cBhvr>
                                      <p:tavLst>
                                        <p:tav tm="0">
                                          <p:val>
                                            <p:fltVal val="0"/>
                                          </p:val>
                                        </p:tav>
                                        <p:tav tm="100000">
                                          <p:val>
                                            <p:strVal val="#ppt_w"/>
                                          </p:val>
                                        </p:tav>
                                      </p:tavLst>
                                    </p:anim>
                                    <p:anim calcmode="lin" valueType="num">
                                      <p:cBhvr>
                                        <p:cTn dur="500" fill="hold" id="52"/>
                                        <p:tgtEl>
                                          <p:spTgt spid="5"/>
                                        </p:tgtEl>
                                        <p:attrNameLst>
                                          <p:attrName>ppt_h</p:attrName>
                                        </p:attrNameLst>
                                      </p:cBhvr>
                                      <p:tavLst>
                                        <p:tav tm="0">
                                          <p:val>
                                            <p:fltVal val="0"/>
                                          </p:val>
                                        </p:tav>
                                        <p:tav tm="100000">
                                          <p:val>
                                            <p:strVal val="#ppt_h"/>
                                          </p:val>
                                        </p:tav>
                                      </p:tavLst>
                                    </p:anim>
                                    <p:animEffect filter="fade" transition="in">
                                      <p:cBhvr>
                                        <p:cTn dur="500" id="53"/>
                                        <p:tgtEl>
                                          <p:spTgt spid="5"/>
                                        </p:tgtEl>
                                      </p:cBhvr>
                                    </p:animEffect>
                                  </p:childTnLst>
                                </p:cTn>
                              </p:par>
                            </p:childTnLst>
                          </p:cTn>
                        </p:par>
                        <p:par>
                          <p:cTn fill="hold" id="54" nodeType="afterGroup">
                            <p:stCondLst>
                              <p:cond delay="3000"/>
                            </p:stCondLst>
                            <p:childTnLst>
                              <p:par>
                                <p:cTn fill="hold" grpId="0" id="55" nodeType="afterEffect" presetClass="entr" presetID="53" presetSubtype="0">
                                  <p:stCondLst>
                                    <p:cond delay="0"/>
                                  </p:stCondLst>
                                  <p:childTnLst>
                                    <p:set>
                                      <p:cBhvr>
                                        <p:cTn dur="1" fill="hold" id="56">
                                          <p:stCondLst>
                                            <p:cond delay="0"/>
                                          </p:stCondLst>
                                        </p:cTn>
                                        <p:tgtEl>
                                          <p:spTgt spid="93"/>
                                        </p:tgtEl>
                                        <p:attrNameLst>
                                          <p:attrName>style.visibility</p:attrName>
                                        </p:attrNameLst>
                                      </p:cBhvr>
                                      <p:to>
                                        <p:strVal val="visible"/>
                                      </p:to>
                                    </p:set>
                                    <p:anim calcmode="lin" valueType="num">
                                      <p:cBhvr>
                                        <p:cTn dur="500" fill="hold" id="57"/>
                                        <p:tgtEl>
                                          <p:spTgt spid="93"/>
                                        </p:tgtEl>
                                        <p:attrNameLst>
                                          <p:attrName>ppt_w</p:attrName>
                                        </p:attrNameLst>
                                      </p:cBhvr>
                                      <p:tavLst>
                                        <p:tav tm="0">
                                          <p:val>
                                            <p:fltVal val="0"/>
                                          </p:val>
                                        </p:tav>
                                        <p:tav tm="100000">
                                          <p:val>
                                            <p:strVal val="#ppt_w"/>
                                          </p:val>
                                        </p:tav>
                                      </p:tavLst>
                                    </p:anim>
                                    <p:anim calcmode="lin" valueType="num">
                                      <p:cBhvr>
                                        <p:cTn dur="500" fill="hold" id="58"/>
                                        <p:tgtEl>
                                          <p:spTgt spid="93"/>
                                        </p:tgtEl>
                                        <p:attrNameLst>
                                          <p:attrName>ppt_h</p:attrName>
                                        </p:attrNameLst>
                                      </p:cBhvr>
                                      <p:tavLst>
                                        <p:tav tm="0">
                                          <p:val>
                                            <p:fltVal val="0"/>
                                          </p:val>
                                        </p:tav>
                                        <p:tav tm="100000">
                                          <p:val>
                                            <p:strVal val="#ppt_h"/>
                                          </p:val>
                                        </p:tav>
                                      </p:tavLst>
                                    </p:anim>
                                    <p:animEffect filter="fade" transition="in">
                                      <p:cBhvr>
                                        <p:cTn dur="500" id="59"/>
                                        <p:tgtEl>
                                          <p:spTgt spid="93"/>
                                        </p:tgtEl>
                                      </p:cBhvr>
                                    </p:animEffect>
                                  </p:childTnLst>
                                </p:cTn>
                              </p:par>
                            </p:childTnLst>
                          </p:cTn>
                        </p:par>
                        <p:par>
                          <p:cTn fill="hold" id="60" nodeType="afterGroup">
                            <p:stCondLst>
                              <p:cond delay="3500"/>
                            </p:stCondLst>
                            <p:childTnLst>
                              <p:par>
                                <p:cTn fill="hold" grpId="0" id="61" nodeType="afterEffect" presetClass="entr" presetID="14" presetSubtype="10">
                                  <p:stCondLst>
                                    <p:cond delay="0"/>
                                  </p:stCondLst>
                                  <p:childTnLst>
                                    <p:set>
                                      <p:cBhvr>
                                        <p:cTn dur="1" fill="hold" id="62">
                                          <p:stCondLst>
                                            <p:cond delay="0"/>
                                          </p:stCondLst>
                                        </p:cTn>
                                        <p:tgtEl>
                                          <p:spTgt spid="91"/>
                                        </p:tgtEl>
                                        <p:attrNameLst>
                                          <p:attrName>style.visibility</p:attrName>
                                        </p:attrNameLst>
                                      </p:cBhvr>
                                      <p:to>
                                        <p:strVal val="visible"/>
                                      </p:to>
                                    </p:set>
                                    <p:animEffect filter="randombar(horizontal)" transition="in">
                                      <p:cBhvr>
                                        <p:cTn dur="500" id="63"/>
                                        <p:tgtEl>
                                          <p:spTgt spid="91"/>
                                        </p:tgtEl>
                                      </p:cBhvr>
                                    </p:animEffect>
                                  </p:childTnLst>
                                </p:cTn>
                              </p:par>
                              <p:par>
                                <p:cTn fill="hold" grpId="0" id="64" nodeType="withEffect" presetClass="entr" presetID="14" presetSubtype="10">
                                  <p:stCondLst>
                                    <p:cond delay="0"/>
                                  </p:stCondLst>
                                  <p:childTnLst>
                                    <p:set>
                                      <p:cBhvr>
                                        <p:cTn dur="1" fill="hold" id="65">
                                          <p:stCondLst>
                                            <p:cond delay="0"/>
                                          </p:stCondLst>
                                        </p:cTn>
                                        <p:tgtEl>
                                          <p:spTgt spid="92"/>
                                        </p:tgtEl>
                                        <p:attrNameLst>
                                          <p:attrName>style.visibility</p:attrName>
                                        </p:attrNameLst>
                                      </p:cBhvr>
                                      <p:to>
                                        <p:strVal val="visible"/>
                                      </p:to>
                                    </p:set>
                                    <p:animEffect filter="randombar(horizontal)" transition="in">
                                      <p:cBhvr>
                                        <p:cTn dur="500" id="66"/>
                                        <p:tgtEl>
                                          <p:spTgt spid="92"/>
                                        </p:tgtEl>
                                      </p:cBhvr>
                                    </p:animEffect>
                                  </p:childTnLst>
                                </p:cTn>
                              </p:par>
                              <p:par>
                                <p:cTn fill="hold" grpId="0" id="67" nodeType="withEffect" presetClass="entr" presetID="14" presetSubtype="10">
                                  <p:stCondLst>
                                    <p:cond delay="0"/>
                                  </p:stCondLst>
                                  <p:childTnLst>
                                    <p:set>
                                      <p:cBhvr>
                                        <p:cTn dur="1" fill="hold" id="68">
                                          <p:stCondLst>
                                            <p:cond delay="0"/>
                                          </p:stCondLst>
                                        </p:cTn>
                                        <p:tgtEl>
                                          <p:spTgt spid="94"/>
                                        </p:tgtEl>
                                        <p:attrNameLst>
                                          <p:attrName>style.visibility</p:attrName>
                                        </p:attrNameLst>
                                      </p:cBhvr>
                                      <p:to>
                                        <p:strVal val="visible"/>
                                      </p:to>
                                    </p:set>
                                    <p:animEffect filter="randombar(horizontal)" transition="in">
                                      <p:cBhvr>
                                        <p:cTn dur="500" id="69"/>
                                        <p:tgtEl>
                                          <p:spTgt spid="94"/>
                                        </p:tgtEl>
                                      </p:cBhvr>
                                    </p:animEffect>
                                  </p:childTnLst>
                                </p:cTn>
                              </p:par>
                            </p:childTnLst>
                          </p:cTn>
                        </p:par>
                        <p:par>
                          <p:cTn fill="hold" id="70" nodeType="afterGroup">
                            <p:stCondLst>
                              <p:cond delay="4000"/>
                            </p:stCondLst>
                            <p:childTnLst>
                              <p:par>
                                <p:cTn fill="hold" id="71" nodeType="afterEffect" presetClass="entr" presetID="53" presetSubtype="0">
                                  <p:stCondLst>
                                    <p:cond delay="0"/>
                                  </p:stCondLst>
                                  <p:childTnLst>
                                    <p:set>
                                      <p:cBhvr>
                                        <p:cTn dur="1" fill="hold" id="72">
                                          <p:stCondLst>
                                            <p:cond delay="0"/>
                                          </p:stCondLst>
                                        </p:cTn>
                                        <p:tgtEl>
                                          <p:spTgt spid="6"/>
                                        </p:tgtEl>
                                        <p:attrNameLst>
                                          <p:attrName>style.visibility</p:attrName>
                                        </p:attrNameLst>
                                      </p:cBhvr>
                                      <p:to>
                                        <p:strVal val="visible"/>
                                      </p:to>
                                    </p:set>
                                    <p:anim calcmode="lin" valueType="num">
                                      <p:cBhvr>
                                        <p:cTn dur="500" fill="hold" id="73"/>
                                        <p:tgtEl>
                                          <p:spTgt spid="6"/>
                                        </p:tgtEl>
                                        <p:attrNameLst>
                                          <p:attrName>ppt_w</p:attrName>
                                        </p:attrNameLst>
                                      </p:cBhvr>
                                      <p:tavLst>
                                        <p:tav tm="0">
                                          <p:val>
                                            <p:fltVal val="0"/>
                                          </p:val>
                                        </p:tav>
                                        <p:tav tm="100000">
                                          <p:val>
                                            <p:strVal val="#ppt_w"/>
                                          </p:val>
                                        </p:tav>
                                      </p:tavLst>
                                    </p:anim>
                                    <p:anim calcmode="lin" valueType="num">
                                      <p:cBhvr>
                                        <p:cTn dur="500" fill="hold" id="74"/>
                                        <p:tgtEl>
                                          <p:spTgt spid="6"/>
                                        </p:tgtEl>
                                        <p:attrNameLst>
                                          <p:attrName>ppt_h</p:attrName>
                                        </p:attrNameLst>
                                      </p:cBhvr>
                                      <p:tavLst>
                                        <p:tav tm="0">
                                          <p:val>
                                            <p:fltVal val="0"/>
                                          </p:val>
                                        </p:tav>
                                        <p:tav tm="100000">
                                          <p:val>
                                            <p:strVal val="#ppt_h"/>
                                          </p:val>
                                        </p:tav>
                                      </p:tavLst>
                                    </p:anim>
                                    <p:animEffect filter="fade" transition="in">
                                      <p:cBhvr>
                                        <p:cTn dur="500" id="75"/>
                                        <p:tgtEl>
                                          <p:spTgt spid="6"/>
                                        </p:tgtEl>
                                      </p:cBhvr>
                                    </p:animEffect>
                                  </p:childTnLst>
                                </p:cTn>
                              </p:par>
                            </p:childTnLst>
                          </p:cTn>
                        </p:par>
                        <p:par>
                          <p:cTn fill="hold" id="76" nodeType="afterGroup">
                            <p:stCondLst>
                              <p:cond delay="4500"/>
                            </p:stCondLst>
                            <p:childTnLst>
                              <p:par>
                                <p:cTn fill="hold" grpId="0" id="77" nodeType="afterEffect" presetClass="entr" presetID="53" presetSubtype="0">
                                  <p:stCondLst>
                                    <p:cond delay="0"/>
                                  </p:stCondLst>
                                  <p:childTnLst>
                                    <p:set>
                                      <p:cBhvr>
                                        <p:cTn dur="1" fill="hold" id="78">
                                          <p:stCondLst>
                                            <p:cond delay="0"/>
                                          </p:stCondLst>
                                        </p:cTn>
                                        <p:tgtEl>
                                          <p:spTgt spid="44"/>
                                        </p:tgtEl>
                                        <p:attrNameLst>
                                          <p:attrName>style.visibility</p:attrName>
                                        </p:attrNameLst>
                                      </p:cBhvr>
                                      <p:to>
                                        <p:strVal val="visible"/>
                                      </p:to>
                                    </p:set>
                                    <p:anim calcmode="lin" valueType="num">
                                      <p:cBhvr>
                                        <p:cTn dur="500" fill="hold" id="79"/>
                                        <p:tgtEl>
                                          <p:spTgt spid="44"/>
                                        </p:tgtEl>
                                        <p:attrNameLst>
                                          <p:attrName>ppt_w</p:attrName>
                                        </p:attrNameLst>
                                      </p:cBhvr>
                                      <p:tavLst>
                                        <p:tav tm="0">
                                          <p:val>
                                            <p:fltVal val="0"/>
                                          </p:val>
                                        </p:tav>
                                        <p:tav tm="100000">
                                          <p:val>
                                            <p:strVal val="#ppt_w"/>
                                          </p:val>
                                        </p:tav>
                                      </p:tavLst>
                                    </p:anim>
                                    <p:anim calcmode="lin" valueType="num">
                                      <p:cBhvr>
                                        <p:cTn dur="500" fill="hold" id="80"/>
                                        <p:tgtEl>
                                          <p:spTgt spid="44"/>
                                        </p:tgtEl>
                                        <p:attrNameLst>
                                          <p:attrName>ppt_h</p:attrName>
                                        </p:attrNameLst>
                                      </p:cBhvr>
                                      <p:tavLst>
                                        <p:tav tm="0">
                                          <p:val>
                                            <p:fltVal val="0"/>
                                          </p:val>
                                        </p:tav>
                                        <p:tav tm="100000">
                                          <p:val>
                                            <p:strVal val="#ppt_h"/>
                                          </p:val>
                                        </p:tav>
                                      </p:tavLst>
                                    </p:anim>
                                    <p:animEffect filter="fade" transition="in">
                                      <p:cBhvr>
                                        <p:cTn dur="500" id="81"/>
                                        <p:tgtEl>
                                          <p:spTgt spid="44"/>
                                        </p:tgtEl>
                                      </p:cBhvr>
                                    </p:animEffect>
                                  </p:childTnLst>
                                </p:cTn>
                              </p:par>
                            </p:childTnLst>
                          </p:cTn>
                        </p:par>
                        <p:par>
                          <p:cTn fill="hold" id="82" nodeType="afterGroup">
                            <p:stCondLst>
                              <p:cond delay="5000"/>
                            </p:stCondLst>
                            <p:childTnLst>
                              <p:par>
                                <p:cTn fill="hold" grpId="0" id="83" nodeType="afterEffect" presetClass="entr" presetID="14" presetSubtype="10">
                                  <p:stCondLst>
                                    <p:cond delay="0"/>
                                  </p:stCondLst>
                                  <p:childTnLst>
                                    <p:set>
                                      <p:cBhvr>
                                        <p:cTn dur="1" fill="hold" id="84">
                                          <p:stCondLst>
                                            <p:cond delay="0"/>
                                          </p:stCondLst>
                                        </p:cTn>
                                        <p:tgtEl>
                                          <p:spTgt spid="42"/>
                                        </p:tgtEl>
                                        <p:attrNameLst>
                                          <p:attrName>style.visibility</p:attrName>
                                        </p:attrNameLst>
                                      </p:cBhvr>
                                      <p:to>
                                        <p:strVal val="visible"/>
                                      </p:to>
                                    </p:set>
                                    <p:animEffect filter="randombar(horizontal)" transition="in">
                                      <p:cBhvr>
                                        <p:cTn dur="500" id="85"/>
                                        <p:tgtEl>
                                          <p:spTgt spid="42"/>
                                        </p:tgtEl>
                                      </p:cBhvr>
                                    </p:animEffect>
                                  </p:childTnLst>
                                </p:cTn>
                              </p:par>
                              <p:par>
                                <p:cTn fill="hold" grpId="0" id="86" nodeType="withEffect" presetClass="entr" presetID="14" presetSubtype="10">
                                  <p:stCondLst>
                                    <p:cond delay="0"/>
                                  </p:stCondLst>
                                  <p:childTnLst>
                                    <p:set>
                                      <p:cBhvr>
                                        <p:cTn dur="1" fill="hold" id="87">
                                          <p:stCondLst>
                                            <p:cond delay="0"/>
                                          </p:stCondLst>
                                        </p:cTn>
                                        <p:tgtEl>
                                          <p:spTgt spid="43"/>
                                        </p:tgtEl>
                                        <p:attrNameLst>
                                          <p:attrName>style.visibility</p:attrName>
                                        </p:attrNameLst>
                                      </p:cBhvr>
                                      <p:to>
                                        <p:strVal val="visible"/>
                                      </p:to>
                                    </p:set>
                                    <p:animEffect filter="randombar(horizontal)" transition="in">
                                      <p:cBhvr>
                                        <p:cTn dur="500" id="88"/>
                                        <p:tgtEl>
                                          <p:spTgt spid="43"/>
                                        </p:tgtEl>
                                      </p:cBhvr>
                                    </p:animEffect>
                                  </p:childTnLst>
                                </p:cTn>
                              </p:par>
                              <p:par>
                                <p:cTn fill="hold" grpId="0" id="89" nodeType="withEffect" presetClass="entr" presetID="14" presetSubtype="10">
                                  <p:stCondLst>
                                    <p:cond delay="0"/>
                                  </p:stCondLst>
                                  <p:childTnLst>
                                    <p:set>
                                      <p:cBhvr>
                                        <p:cTn dur="1" fill="hold" id="90">
                                          <p:stCondLst>
                                            <p:cond delay="0"/>
                                          </p:stCondLst>
                                        </p:cTn>
                                        <p:tgtEl>
                                          <p:spTgt spid="58"/>
                                        </p:tgtEl>
                                        <p:attrNameLst>
                                          <p:attrName>style.visibility</p:attrName>
                                        </p:attrNameLst>
                                      </p:cBhvr>
                                      <p:to>
                                        <p:strVal val="visible"/>
                                      </p:to>
                                    </p:set>
                                    <p:animEffect filter="randombar(horizontal)" transition="in">
                                      <p:cBhvr>
                                        <p:cTn dur="500" id="91"/>
                                        <p:tgtEl>
                                          <p:spTgt spid="58"/>
                                        </p:tgtEl>
                                      </p:cBhvr>
                                    </p:animEffect>
                                  </p:childTnLst>
                                </p:cTn>
                              </p:par>
                            </p:childTnLst>
                          </p:cTn>
                        </p:par>
                        <p:par>
                          <p:cTn fill="hold" id="92" nodeType="afterGroup">
                            <p:stCondLst>
                              <p:cond delay="5500"/>
                            </p:stCondLst>
                            <p:childTnLst>
                              <p:par>
                                <p:cTn fill="hold" id="93" nodeType="afterEffect" presetClass="entr" presetID="53" presetSubtype="0">
                                  <p:stCondLst>
                                    <p:cond delay="0"/>
                                  </p:stCondLst>
                                  <p:childTnLst>
                                    <p:set>
                                      <p:cBhvr>
                                        <p:cTn dur="1" fill="hold" id="94">
                                          <p:stCondLst>
                                            <p:cond delay="0"/>
                                          </p:stCondLst>
                                        </p:cTn>
                                        <p:tgtEl>
                                          <p:spTgt spid="8"/>
                                        </p:tgtEl>
                                        <p:attrNameLst>
                                          <p:attrName>style.visibility</p:attrName>
                                        </p:attrNameLst>
                                      </p:cBhvr>
                                      <p:to>
                                        <p:strVal val="visible"/>
                                      </p:to>
                                    </p:set>
                                    <p:anim calcmode="lin" valueType="num">
                                      <p:cBhvr>
                                        <p:cTn dur="500" fill="hold" id="95"/>
                                        <p:tgtEl>
                                          <p:spTgt spid="8"/>
                                        </p:tgtEl>
                                        <p:attrNameLst>
                                          <p:attrName>ppt_w</p:attrName>
                                        </p:attrNameLst>
                                      </p:cBhvr>
                                      <p:tavLst>
                                        <p:tav tm="0">
                                          <p:val>
                                            <p:fltVal val="0"/>
                                          </p:val>
                                        </p:tav>
                                        <p:tav tm="100000">
                                          <p:val>
                                            <p:strVal val="#ppt_w"/>
                                          </p:val>
                                        </p:tav>
                                      </p:tavLst>
                                    </p:anim>
                                    <p:anim calcmode="lin" valueType="num">
                                      <p:cBhvr>
                                        <p:cTn dur="500" fill="hold" id="96"/>
                                        <p:tgtEl>
                                          <p:spTgt spid="8"/>
                                        </p:tgtEl>
                                        <p:attrNameLst>
                                          <p:attrName>ppt_h</p:attrName>
                                        </p:attrNameLst>
                                      </p:cBhvr>
                                      <p:tavLst>
                                        <p:tav tm="0">
                                          <p:val>
                                            <p:fltVal val="0"/>
                                          </p:val>
                                        </p:tav>
                                        <p:tav tm="100000">
                                          <p:val>
                                            <p:strVal val="#ppt_h"/>
                                          </p:val>
                                        </p:tav>
                                      </p:tavLst>
                                    </p:anim>
                                    <p:animEffect filter="fade" transition="in">
                                      <p:cBhvr>
                                        <p:cTn dur="500" id="97"/>
                                        <p:tgtEl>
                                          <p:spTgt spid="8"/>
                                        </p:tgtEl>
                                      </p:cBhvr>
                                    </p:animEffect>
                                  </p:childTnLst>
                                </p:cTn>
                              </p:par>
                            </p:childTnLst>
                          </p:cTn>
                        </p:par>
                        <p:par>
                          <p:cTn fill="hold" id="98" nodeType="afterGroup">
                            <p:stCondLst>
                              <p:cond delay="6000"/>
                            </p:stCondLst>
                            <p:childTnLst>
                              <p:par>
                                <p:cTn fill="hold" grpId="0" id="99" nodeType="afterEffect" presetClass="entr" presetID="53" presetSubtype="0">
                                  <p:stCondLst>
                                    <p:cond delay="0"/>
                                  </p:stCondLst>
                                  <p:childTnLst>
                                    <p:set>
                                      <p:cBhvr>
                                        <p:cTn dur="1" fill="hold" id="100">
                                          <p:stCondLst>
                                            <p:cond delay="0"/>
                                          </p:stCondLst>
                                        </p:cTn>
                                        <p:tgtEl>
                                          <p:spTgt spid="100"/>
                                        </p:tgtEl>
                                        <p:attrNameLst>
                                          <p:attrName>style.visibility</p:attrName>
                                        </p:attrNameLst>
                                      </p:cBhvr>
                                      <p:to>
                                        <p:strVal val="visible"/>
                                      </p:to>
                                    </p:set>
                                    <p:anim calcmode="lin" valueType="num">
                                      <p:cBhvr>
                                        <p:cTn dur="500" fill="hold" id="101"/>
                                        <p:tgtEl>
                                          <p:spTgt spid="100"/>
                                        </p:tgtEl>
                                        <p:attrNameLst>
                                          <p:attrName>ppt_w</p:attrName>
                                        </p:attrNameLst>
                                      </p:cBhvr>
                                      <p:tavLst>
                                        <p:tav tm="0">
                                          <p:val>
                                            <p:fltVal val="0"/>
                                          </p:val>
                                        </p:tav>
                                        <p:tav tm="100000">
                                          <p:val>
                                            <p:strVal val="#ppt_w"/>
                                          </p:val>
                                        </p:tav>
                                      </p:tavLst>
                                    </p:anim>
                                    <p:anim calcmode="lin" valueType="num">
                                      <p:cBhvr>
                                        <p:cTn dur="500" fill="hold" id="102"/>
                                        <p:tgtEl>
                                          <p:spTgt spid="100"/>
                                        </p:tgtEl>
                                        <p:attrNameLst>
                                          <p:attrName>ppt_h</p:attrName>
                                        </p:attrNameLst>
                                      </p:cBhvr>
                                      <p:tavLst>
                                        <p:tav tm="0">
                                          <p:val>
                                            <p:fltVal val="0"/>
                                          </p:val>
                                        </p:tav>
                                        <p:tav tm="100000">
                                          <p:val>
                                            <p:strVal val="#ppt_h"/>
                                          </p:val>
                                        </p:tav>
                                      </p:tavLst>
                                    </p:anim>
                                    <p:animEffect filter="fade" transition="in">
                                      <p:cBhvr>
                                        <p:cTn dur="500" id="103"/>
                                        <p:tgtEl>
                                          <p:spTgt spid="100"/>
                                        </p:tgtEl>
                                      </p:cBhvr>
                                    </p:animEffect>
                                  </p:childTnLst>
                                </p:cTn>
                              </p:par>
                            </p:childTnLst>
                          </p:cTn>
                        </p:par>
                        <p:par>
                          <p:cTn fill="hold" id="104" nodeType="afterGroup">
                            <p:stCondLst>
                              <p:cond delay="6500"/>
                            </p:stCondLst>
                            <p:childTnLst>
                              <p:par>
                                <p:cTn fill="hold" grpId="0" id="105" nodeType="afterEffect" presetClass="entr" presetID="14" presetSubtype="10">
                                  <p:stCondLst>
                                    <p:cond delay="0"/>
                                  </p:stCondLst>
                                  <p:childTnLst>
                                    <p:set>
                                      <p:cBhvr>
                                        <p:cTn dur="1" fill="hold" id="106">
                                          <p:stCondLst>
                                            <p:cond delay="0"/>
                                          </p:stCondLst>
                                        </p:cTn>
                                        <p:tgtEl>
                                          <p:spTgt spid="98"/>
                                        </p:tgtEl>
                                        <p:attrNameLst>
                                          <p:attrName>style.visibility</p:attrName>
                                        </p:attrNameLst>
                                      </p:cBhvr>
                                      <p:to>
                                        <p:strVal val="visible"/>
                                      </p:to>
                                    </p:set>
                                    <p:animEffect filter="randombar(horizontal)" transition="in">
                                      <p:cBhvr>
                                        <p:cTn dur="500" id="107"/>
                                        <p:tgtEl>
                                          <p:spTgt spid="98"/>
                                        </p:tgtEl>
                                      </p:cBhvr>
                                    </p:animEffect>
                                  </p:childTnLst>
                                </p:cTn>
                              </p:par>
                              <p:par>
                                <p:cTn fill="hold" grpId="0" id="108" nodeType="withEffect" presetClass="entr" presetID="14" presetSubtype="10">
                                  <p:stCondLst>
                                    <p:cond delay="0"/>
                                  </p:stCondLst>
                                  <p:childTnLst>
                                    <p:set>
                                      <p:cBhvr>
                                        <p:cTn dur="1" fill="hold" id="109">
                                          <p:stCondLst>
                                            <p:cond delay="0"/>
                                          </p:stCondLst>
                                        </p:cTn>
                                        <p:tgtEl>
                                          <p:spTgt spid="99"/>
                                        </p:tgtEl>
                                        <p:attrNameLst>
                                          <p:attrName>style.visibility</p:attrName>
                                        </p:attrNameLst>
                                      </p:cBhvr>
                                      <p:to>
                                        <p:strVal val="visible"/>
                                      </p:to>
                                    </p:set>
                                    <p:animEffect filter="randombar(horizontal)" transition="in">
                                      <p:cBhvr>
                                        <p:cTn dur="500" id="110"/>
                                        <p:tgtEl>
                                          <p:spTgt spid="99"/>
                                        </p:tgtEl>
                                      </p:cBhvr>
                                    </p:animEffect>
                                  </p:childTnLst>
                                </p:cTn>
                              </p:par>
                              <p:par>
                                <p:cTn fill="hold" grpId="0" id="111" nodeType="withEffect" presetClass="entr" presetID="14" presetSubtype="10">
                                  <p:stCondLst>
                                    <p:cond delay="0"/>
                                  </p:stCondLst>
                                  <p:childTnLst>
                                    <p:set>
                                      <p:cBhvr>
                                        <p:cTn dur="1" fill="hold" id="112">
                                          <p:stCondLst>
                                            <p:cond delay="0"/>
                                          </p:stCondLst>
                                        </p:cTn>
                                        <p:tgtEl>
                                          <p:spTgt spid="101"/>
                                        </p:tgtEl>
                                        <p:attrNameLst>
                                          <p:attrName>style.visibility</p:attrName>
                                        </p:attrNameLst>
                                      </p:cBhvr>
                                      <p:to>
                                        <p:strVal val="visible"/>
                                      </p:to>
                                    </p:set>
                                    <p:animEffect filter="randombar(horizontal)" transition="in">
                                      <p:cBhvr>
                                        <p:cTn dur="500" id="113"/>
                                        <p:tgtEl>
                                          <p:spTgt spid="101"/>
                                        </p:tgtEl>
                                      </p:cBhvr>
                                    </p:animEffect>
                                  </p:childTnLst>
                                </p:cTn>
                              </p:par>
                            </p:childTnLst>
                          </p:cTn>
                        </p:par>
                        <p:par>
                          <p:cTn fill="hold" id="114" nodeType="afterGroup">
                            <p:stCondLst>
                              <p:cond delay="7000"/>
                            </p:stCondLst>
                            <p:childTnLst>
                              <p:par>
                                <p:cTn fill="hold" grpId="0" id="115" nodeType="afterEffect" presetClass="entr" presetID="10" presetSubtype="0">
                                  <p:stCondLst>
                                    <p:cond delay="0"/>
                                  </p:stCondLst>
                                  <p:childTnLst>
                                    <p:set>
                                      <p:cBhvr>
                                        <p:cTn dur="1" fill="hold" id="116">
                                          <p:stCondLst>
                                            <p:cond delay="0"/>
                                          </p:stCondLst>
                                        </p:cTn>
                                        <p:tgtEl>
                                          <p:spTgt spid="57"/>
                                        </p:tgtEl>
                                        <p:attrNameLst>
                                          <p:attrName>style.visibility</p:attrName>
                                        </p:attrNameLst>
                                      </p:cBhvr>
                                      <p:to>
                                        <p:strVal val="visible"/>
                                      </p:to>
                                    </p:set>
                                    <p:animEffect filter="fade" transition="in">
                                      <p:cBhvr>
                                        <p:cTn dur="500" id="117"/>
                                        <p:tgtEl>
                                          <p:spTgt spid="57"/>
                                        </p:tgtEl>
                                      </p:cBhvr>
                                    </p:animEffect>
                                  </p:childTnLst>
                                </p:cTn>
                              </p:par>
                              <p:par>
                                <p:cTn fill="hold" grpId="0" id="118" nodeType="withEffect" presetClass="entr" presetID="10" presetSubtype="0">
                                  <p:stCondLst>
                                    <p:cond delay="0"/>
                                  </p:stCondLst>
                                  <p:childTnLst>
                                    <p:set>
                                      <p:cBhvr>
                                        <p:cTn dur="1" fill="hold" id="119">
                                          <p:stCondLst>
                                            <p:cond delay="0"/>
                                          </p:stCondLst>
                                        </p:cTn>
                                        <p:tgtEl>
                                          <p:spTgt spid="102"/>
                                        </p:tgtEl>
                                        <p:attrNameLst>
                                          <p:attrName>style.visibility</p:attrName>
                                        </p:attrNameLst>
                                      </p:cBhvr>
                                      <p:to>
                                        <p:strVal val="visible"/>
                                      </p:to>
                                    </p:set>
                                    <p:animEffect filter="fade" transition="in">
                                      <p:cBhvr>
                                        <p:cTn dur="500" id="120"/>
                                        <p:tgtEl>
                                          <p:spTgt spid="102"/>
                                        </p:tgtEl>
                                      </p:cBhvr>
                                    </p:animEffect>
                                  </p:childTnLst>
                                </p:cTn>
                              </p:par>
                              <p:par>
                                <p:cTn fill="hold" grpId="0" id="121" nodeType="withEffect" presetClass="entr" presetID="10" presetSubtype="0">
                                  <p:stCondLst>
                                    <p:cond delay="0"/>
                                  </p:stCondLst>
                                  <p:childTnLst>
                                    <p:set>
                                      <p:cBhvr>
                                        <p:cTn dur="1" fill="hold" id="122">
                                          <p:stCondLst>
                                            <p:cond delay="0"/>
                                          </p:stCondLst>
                                        </p:cTn>
                                        <p:tgtEl>
                                          <p:spTgt spid="59"/>
                                        </p:tgtEl>
                                        <p:attrNameLst>
                                          <p:attrName>style.visibility</p:attrName>
                                        </p:attrNameLst>
                                      </p:cBhvr>
                                      <p:to>
                                        <p:strVal val="visible"/>
                                      </p:to>
                                    </p:set>
                                    <p:animEffect filter="fade" transition="in">
                                      <p:cBhvr>
                                        <p:cTn dur="500" id="123"/>
                                        <p:tgtEl>
                                          <p:spTgt spid="59"/>
                                        </p:tgtEl>
                                      </p:cBhvr>
                                    </p:animEffect>
                                  </p:childTnLst>
                                </p:cTn>
                              </p:par>
                              <p:par>
                                <p:cTn fill="hold" grpId="0" id="124" nodeType="withEffect" presetClass="entr" presetID="10" presetSubtype="0">
                                  <p:stCondLst>
                                    <p:cond delay="0"/>
                                  </p:stCondLst>
                                  <p:childTnLst>
                                    <p:set>
                                      <p:cBhvr>
                                        <p:cTn dur="1" fill="hold" id="125">
                                          <p:stCondLst>
                                            <p:cond delay="0"/>
                                          </p:stCondLst>
                                        </p:cTn>
                                        <p:tgtEl>
                                          <p:spTgt spid="103"/>
                                        </p:tgtEl>
                                        <p:attrNameLst>
                                          <p:attrName>style.visibility</p:attrName>
                                        </p:attrNameLst>
                                      </p:cBhvr>
                                      <p:to>
                                        <p:strVal val="visible"/>
                                      </p:to>
                                    </p:set>
                                    <p:animEffect filter="fade" transition="in">
                                      <p:cBhvr>
                                        <p:cTn dur="500" id="126"/>
                                        <p:tgtEl>
                                          <p:spTgt spid="103"/>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10"/>
      <p:bldP grpId="0" spid="52"/>
      <p:bldP grpId="0" spid="53"/>
      <p:bldP grpId="0" spid="54"/>
      <p:bldP grpId="0" spid="56"/>
      <p:bldP grpId="0" spid="57"/>
      <p:bldP grpId="0" spid="42"/>
      <p:bldP grpId="0" spid="43"/>
      <p:bldP grpId="0" spid="44"/>
      <p:bldP grpId="0" spid="58"/>
      <p:bldP grpId="0" spid="59"/>
      <p:bldP grpId="0" spid="91"/>
      <p:bldP grpId="0" spid="92"/>
      <p:bldP grpId="0" spid="93"/>
      <p:bldP grpId="0" spid="94"/>
      <p:bldP grpId="0" spid="98"/>
      <p:bldP grpId="0" spid="99"/>
      <p:bldP grpId="0" spid="100"/>
      <p:bldP grpId="0" spid="101"/>
      <p:bldP grpId="0" spid="102"/>
      <p:bldP grpId="0" spid="103"/>
    </p:bldLst>
  </p:timing>
</p:sld>
</file>

<file path=ppt/slides/slide18.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7" name="椭圆 6">
            <a:extLst>
              <a:ext uri="{FF2B5EF4-FFF2-40B4-BE49-F238E27FC236}">
                <a16:creationId xmlns:a16="http://schemas.microsoft.com/office/drawing/2014/main" id="{97F35CCF-B1AD-40AD-9D77-E1886CA3C847}"/>
              </a:ext>
            </a:extLst>
          </p:cNvPr>
          <p:cNvSpPr/>
          <p:nvPr/>
        </p:nvSpPr>
        <p:spPr>
          <a:xfrm>
            <a:off x="11325281" y="5957455"/>
            <a:ext cx="1193212" cy="1193212"/>
          </a:xfrm>
          <a:prstGeom prst="ellipse">
            <a:avLst/>
          </a:prstGeom>
          <a:solidFill>
            <a:srgbClr val="A0CBD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10" name="文本框 9">
            <a:extLst>
              <a:ext uri="{FF2B5EF4-FFF2-40B4-BE49-F238E27FC236}">
                <a16:creationId xmlns:a16="http://schemas.microsoft.com/office/drawing/2014/main" id="{3EF1E9ED-80AB-4909-8BA5-A43F4FCE2334}"/>
              </a:ext>
            </a:extLst>
          </p:cNvPr>
          <p:cNvSpPr txBox="1"/>
          <p:nvPr/>
        </p:nvSpPr>
        <p:spPr>
          <a:xfrm>
            <a:off x="4133850" y="390618"/>
            <a:ext cx="3924300" cy="640080"/>
          </a:xfrm>
          <a:prstGeom prst="rect">
            <a:avLst/>
          </a:prstGeom>
          <a:noFill/>
        </p:spPr>
        <p:txBody>
          <a:bodyPr rtlCol="0" wrap="square">
            <a:spAutoFit/>
          </a:bodyPr>
          <a:lstStyle/>
          <a:p>
            <a:pPr algn="ctr"/>
            <a:r>
              <a:rPr altLang="en-US" lang="zh-CN" sz="3600">
                <a:solidFill>
                  <a:schemeClr val="tx1">
                    <a:lumMod val="85000"/>
                    <a:lumOff val="15000"/>
                  </a:schemeClr>
                </a:solidFill>
                <a:latin charset="-122" panose="02000500000000000000" pitchFamily="2" typeface="方正雅士黑 简"/>
                <a:ea charset="-122" panose="02000500000000000000" pitchFamily="2" typeface="方正雅士黑 简"/>
              </a:rPr>
              <a:t>工作经验总结</a:t>
            </a:r>
          </a:p>
        </p:txBody>
      </p:sp>
      <p:cxnSp>
        <p:nvCxnSpPr>
          <p:cNvPr id="13" name="直接连接符 12">
            <a:extLst>
              <a:ext uri="{FF2B5EF4-FFF2-40B4-BE49-F238E27FC236}">
                <a16:creationId xmlns:a16="http://schemas.microsoft.com/office/drawing/2014/main" id="{63C006F1-C17E-4B5D-A667-14B1AFD009FE}"/>
              </a:ext>
            </a:extLst>
          </p:cNvPr>
          <p:cNvCxnSpPr/>
          <p:nvPr/>
        </p:nvCxnSpPr>
        <p:spPr>
          <a:xfrm>
            <a:off x="7791452" y="683005"/>
            <a:ext cx="571498" cy="0"/>
          </a:xfrm>
          <a:prstGeom prst="line">
            <a:avLst/>
          </a:prstGeom>
          <a:ln cap="rnd" w="19050">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pic>
        <p:nvPicPr>
          <p:cNvPr id="15" name="图形 14">
            <a:extLst>
              <a:ext uri="{FF2B5EF4-FFF2-40B4-BE49-F238E27FC236}">
                <a16:creationId xmlns:a16="http://schemas.microsoft.com/office/drawing/2014/main" id="{D0B6809A-9193-440B-AB59-9B5857A764E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314825" y="597280"/>
            <a:ext cx="171450" cy="171450"/>
          </a:xfrm>
          <a:prstGeom prst="rect">
            <a:avLst/>
          </a:prstGeom>
        </p:spPr>
      </p:pic>
      <p:pic>
        <p:nvPicPr>
          <p:cNvPr id="16" name="图形 15">
            <a:extLst>
              <a:ext uri="{FF2B5EF4-FFF2-40B4-BE49-F238E27FC236}">
                <a16:creationId xmlns:a16="http://schemas.microsoft.com/office/drawing/2014/main" id="{1508760C-4270-4AAF-AD1C-A51CD87667C3}"/>
              </a:ext>
            </a:extLst>
          </p:cNvPr>
          <p:cNvPicPr>
            <a:picLocks noChangeAspect="1"/>
          </p:cNvPicPr>
          <p:nvPr/>
        </p:nvPicPr>
        <p:blipFill>
          <a:blip r:embed="rId3">
            <a:extLst>
              <a:ext uri="{96DAC541-7B7A-43D3-8B79-37D633B846F1}">
                <asvg:svgBlip xmlns:asvg="http://schemas.microsoft.com/office/drawing/2016/SVG/main" r:embed="rId5"/>
              </a:ext>
            </a:extLst>
          </a:blip>
          <a:stretch>
            <a:fillRect/>
          </a:stretch>
        </p:blipFill>
        <p:spPr>
          <a:xfrm>
            <a:off x="7705727" y="597280"/>
            <a:ext cx="171450" cy="171450"/>
          </a:xfrm>
          <a:prstGeom prst="rect">
            <a:avLst/>
          </a:prstGeom>
        </p:spPr>
      </p:pic>
      <p:cxnSp>
        <p:nvCxnSpPr>
          <p:cNvPr id="18" name="直接连接符 17">
            <a:extLst>
              <a:ext uri="{FF2B5EF4-FFF2-40B4-BE49-F238E27FC236}">
                <a16:creationId xmlns:a16="http://schemas.microsoft.com/office/drawing/2014/main" id="{D59B9B17-AB83-41D0-BA0B-C09A6571714C}"/>
              </a:ext>
            </a:extLst>
          </p:cNvPr>
          <p:cNvCxnSpPr/>
          <p:nvPr/>
        </p:nvCxnSpPr>
        <p:spPr>
          <a:xfrm>
            <a:off x="3829052" y="683005"/>
            <a:ext cx="571498" cy="0"/>
          </a:xfrm>
          <a:prstGeom prst="line">
            <a:avLst/>
          </a:prstGeom>
          <a:ln cap="rnd" w="19050">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pic>
        <p:nvPicPr>
          <p:cNvPr id="11" name="图形 10">
            <a:extLst>
              <a:ext uri="{FF2B5EF4-FFF2-40B4-BE49-F238E27FC236}">
                <a16:creationId xmlns:a16="http://schemas.microsoft.com/office/drawing/2014/main" id="{E1E887FF-8850-4D33-8F22-CAEB6902B244}"/>
              </a:ext>
            </a:extLst>
          </p:cNvPr>
          <p:cNvPicPr>
            <a:picLocks noChangeAspect="1"/>
          </p:cNvPicPr>
          <p:nvPr/>
        </p:nvPicPr>
        <p:blipFill>
          <a:blip r:embed="rId6">
            <a:extLst>
              <a:ext uri="{96DAC541-7B7A-43D3-8B79-37D633B846F1}">
                <asvg:svgBlip xmlns:asvg="http://schemas.microsoft.com/office/drawing/2016/SVG/main" r:embed="rId7"/>
              </a:ext>
            </a:extLst>
          </a:blip>
          <a:srcRect b="5670" l="19172" r="22017" t="1040"/>
          <a:stretch>
            <a:fillRect/>
          </a:stretch>
        </p:blipFill>
        <p:spPr>
          <a:xfrm>
            <a:off x="11287125" y="5671165"/>
            <a:ext cx="742156" cy="976539"/>
          </a:xfrm>
          <a:custGeom>
            <a:rect b="b" l="l" r="r" t="t"/>
            <a:pathLst>
              <a:path h="1297335" w="1036327">
                <a:moveTo>
                  <a:pt x="507467" y="0"/>
                </a:moveTo>
                <a:cubicBezTo>
                  <a:pt x="671202" y="0"/>
                  <a:pt x="789583" y="30522"/>
                  <a:pt x="862608" y="91567"/>
                </a:cubicBezTo>
                <a:cubicBezTo>
                  <a:pt x="935633" y="152611"/>
                  <a:pt x="972145" y="229345"/>
                  <a:pt x="972145" y="321767"/>
                </a:cubicBezTo>
                <a:cubicBezTo>
                  <a:pt x="972145" y="375965"/>
                  <a:pt x="957312" y="425029"/>
                  <a:pt x="927646" y="468958"/>
                </a:cubicBezTo>
                <a:cubicBezTo>
                  <a:pt x="897979" y="512887"/>
                  <a:pt x="853194" y="551396"/>
                  <a:pt x="793291" y="584486"/>
                </a:cubicBezTo>
                <a:cubicBezTo>
                  <a:pt x="841784" y="596466"/>
                  <a:pt x="878867" y="610444"/>
                  <a:pt x="904540" y="626418"/>
                </a:cubicBezTo>
                <a:cubicBezTo>
                  <a:pt x="946187" y="652091"/>
                  <a:pt x="978564" y="685894"/>
                  <a:pt x="1001669" y="727826"/>
                </a:cubicBezTo>
                <a:cubicBezTo>
                  <a:pt x="1024775" y="769758"/>
                  <a:pt x="1036328" y="819820"/>
                  <a:pt x="1036328" y="878012"/>
                </a:cubicBezTo>
                <a:cubicBezTo>
                  <a:pt x="1036328" y="951037"/>
                  <a:pt x="1017215" y="1021067"/>
                  <a:pt x="978991" y="1088102"/>
                </a:cubicBezTo>
                <a:cubicBezTo>
                  <a:pt x="940767" y="1155136"/>
                  <a:pt x="885713" y="1206767"/>
                  <a:pt x="813829" y="1242994"/>
                </a:cubicBezTo>
                <a:cubicBezTo>
                  <a:pt x="741945" y="1279222"/>
                  <a:pt x="647526" y="1297335"/>
                  <a:pt x="530572" y="1297335"/>
                </a:cubicBezTo>
                <a:cubicBezTo>
                  <a:pt x="416471" y="1297335"/>
                  <a:pt x="326473" y="1283928"/>
                  <a:pt x="260580" y="1257114"/>
                </a:cubicBezTo>
                <a:cubicBezTo>
                  <a:pt x="194686" y="1230301"/>
                  <a:pt x="140488" y="1191078"/>
                  <a:pt x="97985" y="1139447"/>
                </a:cubicBezTo>
                <a:cubicBezTo>
                  <a:pt x="55482" y="1087816"/>
                  <a:pt x="22820" y="1022921"/>
                  <a:pt x="0" y="944761"/>
                </a:cubicBezTo>
                <a:lnTo>
                  <a:pt x="348295" y="898550"/>
                </a:lnTo>
                <a:cubicBezTo>
                  <a:pt x="361987" y="968723"/>
                  <a:pt x="383239" y="1017359"/>
                  <a:pt x="412049" y="1044458"/>
                </a:cubicBezTo>
                <a:cubicBezTo>
                  <a:pt x="440860" y="1071557"/>
                  <a:pt x="477515" y="1085106"/>
                  <a:pt x="522015" y="1085106"/>
                </a:cubicBezTo>
                <a:cubicBezTo>
                  <a:pt x="568796" y="1085106"/>
                  <a:pt x="607734" y="1067991"/>
                  <a:pt x="638826" y="1033761"/>
                </a:cubicBezTo>
                <a:cubicBezTo>
                  <a:pt x="669919" y="999530"/>
                  <a:pt x="685465" y="953890"/>
                  <a:pt x="685465" y="896839"/>
                </a:cubicBezTo>
                <a:cubicBezTo>
                  <a:pt x="685465" y="838647"/>
                  <a:pt x="670489" y="793577"/>
                  <a:pt x="640538" y="761628"/>
                </a:cubicBezTo>
                <a:cubicBezTo>
                  <a:pt x="610586" y="729680"/>
                  <a:pt x="569937" y="713706"/>
                  <a:pt x="518592" y="713706"/>
                </a:cubicBezTo>
                <a:cubicBezTo>
                  <a:pt x="491207" y="713706"/>
                  <a:pt x="453554" y="720552"/>
                  <a:pt x="405631" y="734244"/>
                </a:cubicBezTo>
                <a:lnTo>
                  <a:pt x="423602" y="485217"/>
                </a:lnTo>
                <a:cubicBezTo>
                  <a:pt x="442999" y="488070"/>
                  <a:pt x="458118" y="489496"/>
                  <a:pt x="468957" y="489496"/>
                </a:cubicBezTo>
                <a:cubicBezTo>
                  <a:pt x="514598" y="489496"/>
                  <a:pt x="552679" y="474948"/>
                  <a:pt x="583202" y="445852"/>
                </a:cubicBezTo>
                <a:cubicBezTo>
                  <a:pt x="613724" y="416756"/>
                  <a:pt x="628985" y="382241"/>
                  <a:pt x="628985" y="342305"/>
                </a:cubicBezTo>
                <a:cubicBezTo>
                  <a:pt x="628985" y="304081"/>
                  <a:pt x="617575" y="273559"/>
                  <a:pt x="594754" y="250739"/>
                </a:cubicBezTo>
                <a:cubicBezTo>
                  <a:pt x="571934" y="227918"/>
                  <a:pt x="540556" y="216508"/>
                  <a:pt x="500621" y="216508"/>
                </a:cubicBezTo>
                <a:cubicBezTo>
                  <a:pt x="459544" y="216508"/>
                  <a:pt x="426169" y="228917"/>
                  <a:pt x="400497" y="253734"/>
                </a:cubicBezTo>
                <a:cubicBezTo>
                  <a:pt x="374824" y="278551"/>
                  <a:pt x="357423" y="322052"/>
                  <a:pt x="348295" y="384237"/>
                </a:cubicBezTo>
                <a:lnTo>
                  <a:pt x="18827" y="325190"/>
                </a:lnTo>
                <a:cubicBezTo>
                  <a:pt x="46211" y="220216"/>
                  <a:pt x="98841" y="139775"/>
                  <a:pt x="176715" y="83865"/>
                </a:cubicBezTo>
                <a:cubicBezTo>
                  <a:pt x="254589" y="27955"/>
                  <a:pt x="364840" y="0"/>
                  <a:pt x="507467" y="0"/>
                </a:cubicBezTo>
                <a:close/>
              </a:path>
            </a:pathLst>
          </a:custGeom>
        </p:spPr>
      </p:pic>
      <p:sp>
        <p:nvSpPr>
          <p:cNvPr id="202" name="矩形 201">
            <a:extLst>
              <a:ext uri="{FF2B5EF4-FFF2-40B4-BE49-F238E27FC236}">
                <a16:creationId xmlns:a16="http://schemas.microsoft.com/office/drawing/2014/main" id="{B4842B43-6544-454B-8078-D730FC61DC69}"/>
              </a:ext>
            </a:extLst>
          </p:cNvPr>
          <p:cNvSpPr/>
          <p:nvPr/>
        </p:nvSpPr>
        <p:spPr>
          <a:xfrm>
            <a:off x="1503449" y="1916011"/>
            <a:ext cx="1680907" cy="2307772"/>
          </a:xfrm>
          <a:prstGeom prst="rect">
            <a:avLst/>
          </a:prstGeom>
          <a:blipFill>
            <a:blip r:embed="rId8">
              <a:extLst>
                <a:ext uri="{BEBA8EAE-BF5A-486C-A8C5-ECC9F3942E4B}">
                  <a14:imgProps>
                    <a14:imgLayer xmlns:d3p1="http://schemas.openxmlformats.org/officeDocument/2006/relationships" d3p1:embed="">
                      <a14:imgEffect>
                        <a14:brightnessContrast bright="20000" contrast="20000"/>
                      </a14:imgEffect>
                    </a14:imgLayer>
                  </a14:imgProps>
                </a:ext>
              </a:extLst>
            </a:blip>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351"/>
          </a:p>
        </p:txBody>
      </p:sp>
      <p:sp>
        <p:nvSpPr>
          <p:cNvPr id="203" name="矩形 202">
            <a:extLst>
              <a:ext uri="{FF2B5EF4-FFF2-40B4-BE49-F238E27FC236}">
                <a16:creationId xmlns:a16="http://schemas.microsoft.com/office/drawing/2014/main" id="{6B257FEA-02E5-49B6-B561-342624A9AC69}"/>
              </a:ext>
            </a:extLst>
          </p:cNvPr>
          <p:cNvSpPr/>
          <p:nvPr/>
        </p:nvSpPr>
        <p:spPr>
          <a:xfrm>
            <a:off x="3184356" y="1916011"/>
            <a:ext cx="2383095" cy="2307772"/>
          </a:xfrm>
          <a:prstGeom prst="rect">
            <a:avLst/>
          </a:prstGeom>
          <a:solidFill>
            <a:schemeClr val="bg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351"/>
          </a:p>
        </p:txBody>
      </p:sp>
      <p:sp>
        <p:nvSpPr>
          <p:cNvPr id="204" name="矩形 203">
            <a:extLst>
              <a:ext uri="{FF2B5EF4-FFF2-40B4-BE49-F238E27FC236}">
                <a16:creationId xmlns:a16="http://schemas.microsoft.com/office/drawing/2014/main" id="{B7E7E18B-626B-4018-90B8-17B4AA682FD2}"/>
              </a:ext>
            </a:extLst>
          </p:cNvPr>
          <p:cNvSpPr/>
          <p:nvPr/>
        </p:nvSpPr>
        <p:spPr>
          <a:xfrm>
            <a:off x="6670535" y="1916011"/>
            <a:ext cx="1680907" cy="2307772"/>
          </a:xfrm>
          <a:prstGeom prst="rect">
            <a:avLst/>
          </a:prstGeom>
          <a:blipFill>
            <a:blip r:embed="rId9">
              <a:extLst>
                <a:ext uri="{BEBA8EAE-BF5A-486C-A8C5-ECC9F3942E4B}">
                  <a14:imgProps>
                    <a14:imgLayer xmlns:d3p1="http://schemas.openxmlformats.org/officeDocument/2006/relationships" d3p1:embed="">
                      <a14:imgEffect>
                        <a14:brightnessContrast contrast="40000"/>
                      </a14:imgEffect>
                    </a14:imgLayer>
                  </a14:imgProps>
                </a:ext>
              </a:extLst>
            </a:blip>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351"/>
          </a:p>
        </p:txBody>
      </p:sp>
      <p:sp>
        <p:nvSpPr>
          <p:cNvPr id="205" name="矩形 204">
            <a:extLst>
              <a:ext uri="{FF2B5EF4-FFF2-40B4-BE49-F238E27FC236}">
                <a16:creationId xmlns:a16="http://schemas.microsoft.com/office/drawing/2014/main" id="{38EAE5BA-532F-4813-84F4-6276572DE13F}"/>
              </a:ext>
            </a:extLst>
          </p:cNvPr>
          <p:cNvSpPr/>
          <p:nvPr/>
        </p:nvSpPr>
        <p:spPr>
          <a:xfrm>
            <a:off x="8351441" y="1916011"/>
            <a:ext cx="2383095" cy="2307772"/>
          </a:xfrm>
          <a:prstGeom prst="rect">
            <a:avLst/>
          </a:prstGeom>
          <a:solidFill>
            <a:schemeClr val="bg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351"/>
          </a:p>
        </p:txBody>
      </p:sp>
      <p:sp>
        <p:nvSpPr>
          <p:cNvPr id="206" name="Title 20">
            <a:extLst>
              <a:ext uri="{FF2B5EF4-FFF2-40B4-BE49-F238E27FC236}">
                <a16:creationId xmlns:a16="http://schemas.microsoft.com/office/drawing/2014/main" id="{6300CA38-B7C2-416E-8F38-1D4FFF08DF61}"/>
              </a:ext>
            </a:extLst>
          </p:cNvPr>
          <p:cNvSpPr txBox="1"/>
          <p:nvPr/>
        </p:nvSpPr>
        <p:spPr>
          <a:xfrm>
            <a:off x="3515203" y="2316276"/>
            <a:ext cx="1769217" cy="650138"/>
          </a:xfrm>
          <a:prstGeom prst="rect">
            <a:avLst/>
          </a:prstGeom>
        </p:spPr>
        <p:txBody>
          <a:bodyPr anchor="ctr" bIns="0" lIns="121893" rIns="121893" rtlCol="0" tIns="0" vert="horz" wrap="square">
            <a:spAutoFit/>
          </a:bodyPr>
          <a:lstStyle>
            <a:lvl1pPr algn="ctr" defTabSz="457200" eaLnBrk="1" hangingPunct="1" latinLnBrk="0" rtl="0">
              <a:spcBef>
                <a:spcPct val="0"/>
              </a:spcBef>
              <a:buNone/>
              <a:defRPr kern="1200" sz="2900">
                <a:solidFill>
                  <a:schemeClr val="accent6"/>
                </a:solidFill>
                <a:latin typeface="Source Sans Pro ExtraLight"/>
                <a:ea typeface="+mj-ea"/>
                <a:cs typeface="Source Sans Pro ExtraLight"/>
              </a:defRPr>
            </a:lvl1pPr>
          </a:lstStyle>
          <a:p>
            <a:r>
              <a:rPr altLang="en-US" b="1" lang="zh-CN" sz="2133">
                <a:solidFill>
                  <a:schemeClr val="bg1"/>
                </a:solidFill>
                <a:latin typeface="+mn-ea"/>
                <a:ea typeface="+mn-ea"/>
                <a:cs typeface="Lato Regular"/>
              </a:rPr>
              <a:t>存在问题</a:t>
            </a:r>
          </a:p>
          <a:p>
            <a:r>
              <a:rPr altLang="en-US" b="1" lang="zh-CN" sz="2133">
                <a:solidFill>
                  <a:schemeClr val="bg1"/>
                </a:solidFill>
                <a:latin typeface="+mn-ea"/>
                <a:ea typeface="+mn-ea"/>
                <a:cs typeface="Lato Regular"/>
              </a:rPr>
              <a:t>……</a:t>
            </a:r>
          </a:p>
        </p:txBody>
      </p:sp>
      <p:sp>
        <p:nvSpPr>
          <p:cNvPr id="207" name="Title 20">
            <a:extLst>
              <a:ext uri="{FF2B5EF4-FFF2-40B4-BE49-F238E27FC236}">
                <a16:creationId xmlns:a16="http://schemas.microsoft.com/office/drawing/2014/main" id="{E466C391-345A-4DBD-877A-CB1D814AF539}"/>
              </a:ext>
            </a:extLst>
          </p:cNvPr>
          <p:cNvSpPr txBox="1"/>
          <p:nvPr/>
        </p:nvSpPr>
        <p:spPr>
          <a:xfrm>
            <a:off x="3398744" y="2903711"/>
            <a:ext cx="2002132" cy="1036065"/>
          </a:xfrm>
          <a:prstGeom prst="rect">
            <a:avLst/>
          </a:prstGeom>
        </p:spPr>
        <p:txBody>
          <a:bodyPr anchor="t" bIns="60947" lIns="121893" rIns="121893" rtlCol="0" tIns="60947" vert="horz" wrap="square">
            <a:spAutoFit/>
          </a:bodyPr>
          <a:lstStyle>
            <a:lvl1pPr algn="ctr" defTabSz="457200" eaLnBrk="1" hangingPunct="1" latinLnBrk="0" rtl="0">
              <a:spcBef>
                <a:spcPct val="0"/>
              </a:spcBef>
              <a:buNone/>
              <a:defRPr kern="1200" sz="2900">
                <a:solidFill>
                  <a:schemeClr val="accent6"/>
                </a:solidFill>
                <a:latin typeface="Source Sans Pro ExtraLight"/>
                <a:ea typeface="+mj-ea"/>
                <a:cs typeface="Source Sans Pro ExtraLight"/>
              </a:defRPr>
            </a:lvl1pPr>
          </a:lstStyle>
          <a:p>
            <a:pPr>
              <a:lnSpc>
                <a:spcPct val="150000"/>
              </a:lnSpc>
            </a:pPr>
            <a:r>
              <a:rPr altLang="en-US" lang="zh-CN" sz="1333">
                <a:solidFill>
                  <a:schemeClr val="bg1"/>
                </a:solidFill>
                <a:latin typeface="+mn-ea"/>
                <a:ea typeface="+mn-ea"/>
              </a:rPr>
              <a:t>这里可以添加主要内容这里可以添加主要内容这里可以添加主要内容</a:t>
            </a:r>
          </a:p>
        </p:txBody>
      </p:sp>
      <p:sp>
        <p:nvSpPr>
          <p:cNvPr id="208" name="Title 20">
            <a:extLst>
              <a:ext uri="{FF2B5EF4-FFF2-40B4-BE49-F238E27FC236}">
                <a16:creationId xmlns:a16="http://schemas.microsoft.com/office/drawing/2014/main" id="{57E20592-2C9E-4B91-94F7-A3013044B5E0}"/>
              </a:ext>
            </a:extLst>
          </p:cNvPr>
          <p:cNvSpPr txBox="1"/>
          <p:nvPr/>
        </p:nvSpPr>
        <p:spPr>
          <a:xfrm>
            <a:off x="8633900" y="2316276"/>
            <a:ext cx="1769217" cy="650138"/>
          </a:xfrm>
          <a:prstGeom prst="rect">
            <a:avLst/>
          </a:prstGeom>
        </p:spPr>
        <p:txBody>
          <a:bodyPr anchor="ctr" bIns="0" lIns="121893" rIns="121893" rtlCol="0" tIns="0" vert="horz" wrap="square">
            <a:spAutoFit/>
          </a:bodyPr>
          <a:lstStyle>
            <a:lvl1pPr algn="ctr" defTabSz="457200" eaLnBrk="1" hangingPunct="1" latinLnBrk="0" rtl="0">
              <a:spcBef>
                <a:spcPct val="0"/>
              </a:spcBef>
              <a:buNone/>
              <a:defRPr kern="1200" sz="2900">
                <a:solidFill>
                  <a:schemeClr val="accent6"/>
                </a:solidFill>
                <a:latin typeface="Source Sans Pro ExtraLight"/>
                <a:ea typeface="+mj-ea"/>
                <a:cs typeface="Source Sans Pro ExtraLight"/>
              </a:defRPr>
            </a:lvl1pPr>
          </a:lstStyle>
          <a:p>
            <a:r>
              <a:rPr altLang="en-US" b="1" lang="zh-CN" sz="2133">
                <a:solidFill>
                  <a:schemeClr val="bg1"/>
                </a:solidFill>
                <a:latin typeface="+mn-ea"/>
                <a:ea typeface="+mn-ea"/>
                <a:cs typeface="Lato Regular"/>
              </a:rPr>
              <a:t>改进措施</a:t>
            </a:r>
          </a:p>
          <a:p>
            <a:r>
              <a:rPr altLang="en-US" b="1" lang="zh-CN" sz="2133">
                <a:solidFill>
                  <a:schemeClr val="bg1"/>
                </a:solidFill>
                <a:latin typeface="+mn-ea"/>
                <a:ea typeface="+mn-ea"/>
                <a:cs typeface="Lato Regular"/>
              </a:rPr>
              <a:t>……</a:t>
            </a:r>
          </a:p>
        </p:txBody>
      </p:sp>
      <p:sp>
        <p:nvSpPr>
          <p:cNvPr id="209" name="Title 20">
            <a:extLst>
              <a:ext uri="{FF2B5EF4-FFF2-40B4-BE49-F238E27FC236}">
                <a16:creationId xmlns:a16="http://schemas.microsoft.com/office/drawing/2014/main" id="{CF4E868B-D037-47C4-8411-F786042B11D2}"/>
              </a:ext>
            </a:extLst>
          </p:cNvPr>
          <p:cNvSpPr txBox="1"/>
          <p:nvPr/>
        </p:nvSpPr>
        <p:spPr>
          <a:xfrm>
            <a:off x="8517441" y="2903711"/>
            <a:ext cx="2002132" cy="1036065"/>
          </a:xfrm>
          <a:prstGeom prst="rect">
            <a:avLst/>
          </a:prstGeom>
        </p:spPr>
        <p:txBody>
          <a:bodyPr anchor="t" bIns="60947" lIns="121893" rIns="121893" rtlCol="0" tIns="60947" vert="horz" wrap="square">
            <a:spAutoFit/>
          </a:bodyPr>
          <a:lstStyle>
            <a:lvl1pPr algn="ctr" defTabSz="457200" eaLnBrk="1" hangingPunct="1" latinLnBrk="0" rtl="0">
              <a:spcBef>
                <a:spcPct val="0"/>
              </a:spcBef>
              <a:buNone/>
              <a:defRPr kern="1200" sz="2900">
                <a:solidFill>
                  <a:schemeClr val="accent6"/>
                </a:solidFill>
                <a:latin typeface="Source Sans Pro ExtraLight"/>
                <a:ea typeface="+mj-ea"/>
                <a:cs typeface="Source Sans Pro ExtraLight"/>
              </a:defRPr>
            </a:lvl1pPr>
          </a:lstStyle>
          <a:p>
            <a:pPr>
              <a:lnSpc>
                <a:spcPct val="150000"/>
              </a:lnSpc>
            </a:pPr>
            <a:r>
              <a:rPr altLang="en-US" lang="zh-CN" sz="1333">
                <a:solidFill>
                  <a:schemeClr val="bg1"/>
                </a:solidFill>
                <a:latin typeface="+mn-ea"/>
                <a:ea typeface="+mn-ea"/>
              </a:rPr>
              <a:t>这里可以添加主要内容这里可以添加主要内容这里可以添加主要内容</a:t>
            </a:r>
          </a:p>
        </p:txBody>
      </p:sp>
      <p:sp>
        <p:nvSpPr>
          <p:cNvPr id="210" name="Title 20">
            <a:extLst>
              <a:ext uri="{FF2B5EF4-FFF2-40B4-BE49-F238E27FC236}">
                <a16:creationId xmlns:a16="http://schemas.microsoft.com/office/drawing/2014/main" id="{176E678C-ACC6-457E-88A8-25169092F39D}"/>
              </a:ext>
            </a:extLst>
          </p:cNvPr>
          <p:cNvSpPr txBox="1"/>
          <p:nvPr/>
        </p:nvSpPr>
        <p:spPr>
          <a:xfrm>
            <a:off x="1503451" y="4721409"/>
            <a:ext cx="1895295" cy="365760"/>
          </a:xfrm>
          <a:prstGeom prst="rect">
            <a:avLst/>
          </a:prstGeom>
        </p:spPr>
        <p:txBody>
          <a:bodyPr anchor="ctr" bIns="0" lIns="121893" rIns="121893" rtlCol="0" tIns="0" vert="horz" wrap="square">
            <a:spAutoFit/>
          </a:bodyPr>
          <a:lstStyle>
            <a:lvl1pPr algn="ctr" defTabSz="457200" eaLnBrk="1" hangingPunct="1" latinLnBrk="0" rtl="0">
              <a:spcBef>
                <a:spcPct val="0"/>
              </a:spcBef>
              <a:buNone/>
              <a:defRPr kern="1200" sz="2900">
                <a:solidFill>
                  <a:schemeClr val="accent6"/>
                </a:solidFill>
                <a:latin typeface="Source Sans Pro ExtraLight"/>
                <a:ea typeface="+mj-ea"/>
                <a:cs typeface="Source Sans Pro ExtraLight"/>
              </a:defRPr>
            </a:lvl1pPr>
          </a:lstStyle>
          <a:p>
            <a:pPr algn="l" indent="-380990" marL="380990">
              <a:buFont charset="2" panose="05000000000000000000" pitchFamily="2" typeface="Wingdings"/>
              <a:buChar char="n"/>
            </a:pPr>
            <a:r>
              <a:rPr altLang="en-US" b="1" lang="zh-CN" sz="2400">
                <a:solidFill>
                  <a:schemeClr val="tx1">
                    <a:lumMod val="85000"/>
                    <a:lumOff val="15000"/>
                  </a:schemeClr>
                </a:solidFill>
                <a:latin typeface="+mn-ea"/>
                <a:ea typeface="+mn-ea"/>
                <a:cs typeface="Lato Regular"/>
              </a:rPr>
              <a:t>经验总结</a:t>
            </a:r>
          </a:p>
        </p:txBody>
      </p:sp>
      <p:sp>
        <p:nvSpPr>
          <p:cNvPr id="211" name="Title 20">
            <a:extLst>
              <a:ext uri="{FF2B5EF4-FFF2-40B4-BE49-F238E27FC236}">
                <a16:creationId xmlns:a16="http://schemas.microsoft.com/office/drawing/2014/main" id="{AE7A3522-A093-4D39-ACDC-58B7B1CBA0F7}"/>
              </a:ext>
            </a:extLst>
          </p:cNvPr>
          <p:cNvSpPr txBox="1"/>
          <p:nvPr/>
        </p:nvSpPr>
        <p:spPr>
          <a:xfrm>
            <a:off x="1514587" y="4993466"/>
            <a:ext cx="10073539" cy="1036065"/>
          </a:xfrm>
          <a:prstGeom prst="rect">
            <a:avLst/>
          </a:prstGeom>
        </p:spPr>
        <p:txBody>
          <a:bodyPr anchor="t" bIns="60947" lIns="121893" rIns="121893" rtlCol="0" tIns="60947" vert="horz" wrap="square">
            <a:spAutoFit/>
          </a:bodyPr>
          <a:lstStyle>
            <a:lvl1pPr algn="ctr" defTabSz="457200" eaLnBrk="1" hangingPunct="1" latinLnBrk="0" rtl="0">
              <a:spcBef>
                <a:spcPct val="0"/>
              </a:spcBef>
              <a:buNone/>
              <a:defRPr kern="1200" sz="2900">
                <a:solidFill>
                  <a:schemeClr val="accent6"/>
                </a:solidFill>
                <a:latin typeface="Source Sans Pro ExtraLight"/>
                <a:ea typeface="+mj-ea"/>
                <a:cs typeface="Source Sans Pro ExtraLight"/>
              </a:defRPr>
            </a:lvl1pPr>
          </a:lstStyle>
          <a:p>
            <a:pPr algn="l">
              <a:lnSpc>
                <a:spcPct val="150000"/>
              </a:lnSpc>
            </a:pPr>
            <a:r>
              <a:rPr altLang="en-US" lang="zh-CN" sz="1333">
                <a:solidFill>
                  <a:schemeClr val="tx1">
                    <a:lumMod val="75000"/>
                    <a:lumOff val="25000"/>
                  </a:schemeClr>
                </a:solidFill>
                <a:latin typeface="+mn-ea"/>
                <a:ea typeface="+mn-ea"/>
              </a:rPr>
              <a:t>这里可以添加主要内容这里可以添加主要内容这里可以添加主要内容这里可以添加主要内容这里可以添加主要内容这里可以添加主要内容这里可以添加主要内容这里可以添加主要内容这里可以添加主要内容这里可以添加主要内容这里可以添加主要内容这里可以添加主要内容这里可以添加主要内容这里可以添加主要内容这里可以添加主要内容</a:t>
            </a:r>
          </a:p>
        </p:txBody>
      </p:sp>
      <p:sp>
        <p:nvSpPr>
          <p:cNvPr id="213" name="图文框 212">
            <a:extLst>
              <a:ext uri="{FF2B5EF4-FFF2-40B4-BE49-F238E27FC236}">
                <a16:creationId xmlns:a16="http://schemas.microsoft.com/office/drawing/2014/main" id="{05D255A1-CD80-45B0-AF75-45D38B3D1561}"/>
              </a:ext>
            </a:extLst>
          </p:cNvPr>
          <p:cNvSpPr/>
          <p:nvPr/>
        </p:nvSpPr>
        <p:spPr>
          <a:xfrm>
            <a:off x="1514587" y="1806633"/>
            <a:ext cx="4147177" cy="2547588"/>
          </a:xfrm>
          <a:prstGeom prst="frame">
            <a:avLst>
              <a:gd fmla="val 5125" name="adj1"/>
            </a:avLst>
          </a:prstGeom>
          <a:solidFill>
            <a:srgbClr val="FF626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solidFill>
                <a:schemeClr val="tx1"/>
              </a:solidFill>
            </a:endParaRPr>
          </a:p>
        </p:txBody>
      </p:sp>
      <p:sp>
        <p:nvSpPr>
          <p:cNvPr id="214" name="图文框 213">
            <a:extLst>
              <a:ext uri="{FF2B5EF4-FFF2-40B4-BE49-F238E27FC236}">
                <a16:creationId xmlns:a16="http://schemas.microsoft.com/office/drawing/2014/main" id="{83FE57C3-B900-4382-81E7-A597EE0CC68D}"/>
              </a:ext>
            </a:extLst>
          </p:cNvPr>
          <p:cNvSpPr/>
          <p:nvPr/>
        </p:nvSpPr>
        <p:spPr>
          <a:xfrm>
            <a:off x="6591209" y="1806633"/>
            <a:ext cx="4147177" cy="2547588"/>
          </a:xfrm>
          <a:prstGeom prst="frame">
            <a:avLst>
              <a:gd fmla="val 5125" name="adj1"/>
            </a:avLst>
          </a:prstGeom>
          <a:solidFill>
            <a:srgbClr val="60A8A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solidFill>
                <a:schemeClr val="tx1"/>
              </a:solidFill>
            </a:endParaRPr>
          </a:p>
        </p:txBody>
      </p:sp>
    </p:spTree>
    <p:extLst>
      <p:ext uri="{BB962C8B-B14F-4D97-AF65-F5344CB8AC3E}">
        <p14:creationId val="3389699402"/>
      </p:ext>
    </p:extLst>
  </p:cSld>
  <p:clrMapOvr>
    <a:masterClrMapping/>
  </p:clrMapOvr>
  <mc:AlternateContent>
    <mc:Choice Requires="p14">
      <p:transition p14:dur="1500" spd="slow">
        <p:random/>
      </p:transition>
    </mc:Choice>
    <mc:Fallback>
      <p:transition spd="slow">
        <p:random/>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decel="100000" fill="hold" grpId="0" id="5" nodeType="withEffect" presetClass="entr" presetID="50" presetSubtype="0">
                                  <p:stCondLst>
                                    <p:cond delay="0"/>
                                  </p:stCondLst>
                                  <p:childTnLst>
                                    <p:set>
                                      <p:cBhvr>
                                        <p:cTn dur="1" fill="hold" id="6">
                                          <p:stCondLst>
                                            <p:cond delay="0"/>
                                          </p:stCondLst>
                                        </p:cTn>
                                        <p:tgtEl>
                                          <p:spTgt spid="10"/>
                                        </p:tgtEl>
                                        <p:attrNameLst>
                                          <p:attrName>style.visibility</p:attrName>
                                        </p:attrNameLst>
                                      </p:cBhvr>
                                      <p:to>
                                        <p:strVal val="visible"/>
                                      </p:to>
                                    </p:set>
                                    <p:anim calcmode="lin" valueType="num">
                                      <p:cBhvr>
                                        <p:cTn dur="1000" fill="hold" id="7"/>
                                        <p:tgtEl>
                                          <p:spTgt spid="10"/>
                                        </p:tgtEl>
                                        <p:attrNameLst>
                                          <p:attrName>ppt_w</p:attrName>
                                        </p:attrNameLst>
                                      </p:cBhvr>
                                      <p:tavLst>
                                        <p:tav tm="0">
                                          <p:val>
                                            <p:strVal val="#ppt_w+.3"/>
                                          </p:val>
                                        </p:tav>
                                        <p:tav tm="100000">
                                          <p:val>
                                            <p:strVal val="#ppt_w"/>
                                          </p:val>
                                        </p:tav>
                                      </p:tavLst>
                                    </p:anim>
                                    <p:anim calcmode="lin" valueType="num">
                                      <p:cBhvr>
                                        <p:cTn dur="1000" fill="hold" id="8"/>
                                        <p:tgtEl>
                                          <p:spTgt spid="10"/>
                                        </p:tgtEl>
                                        <p:attrNameLst>
                                          <p:attrName>ppt_h</p:attrName>
                                        </p:attrNameLst>
                                      </p:cBhvr>
                                      <p:tavLst>
                                        <p:tav tm="0">
                                          <p:val>
                                            <p:strVal val="#ppt_h"/>
                                          </p:val>
                                        </p:tav>
                                        <p:tav tm="100000">
                                          <p:val>
                                            <p:strVal val="#ppt_h"/>
                                          </p:val>
                                        </p:tav>
                                      </p:tavLst>
                                    </p:anim>
                                    <p:animEffect filter="fade" transition="in">
                                      <p:cBhvr>
                                        <p:cTn dur="1000" id="9"/>
                                        <p:tgtEl>
                                          <p:spTgt spid="10"/>
                                        </p:tgtEl>
                                      </p:cBhvr>
                                    </p:animEffect>
                                  </p:childTnLst>
                                </p:cTn>
                              </p:par>
                              <p:par>
                                <p:cTn fill="hold" id="10" nodeType="withEffect" presetClass="entr" presetID="53" presetSubtype="0">
                                  <p:stCondLst>
                                    <p:cond delay="250"/>
                                  </p:stCondLst>
                                  <p:childTnLst>
                                    <p:set>
                                      <p:cBhvr>
                                        <p:cTn dur="1" fill="hold" id="11">
                                          <p:stCondLst>
                                            <p:cond delay="0"/>
                                          </p:stCondLst>
                                        </p:cTn>
                                        <p:tgtEl>
                                          <p:spTgt spid="15"/>
                                        </p:tgtEl>
                                        <p:attrNameLst>
                                          <p:attrName>style.visibility</p:attrName>
                                        </p:attrNameLst>
                                      </p:cBhvr>
                                      <p:to>
                                        <p:strVal val="visible"/>
                                      </p:to>
                                    </p:set>
                                    <p:anim calcmode="lin" valueType="num">
                                      <p:cBhvr>
                                        <p:cTn dur="500" fill="hold" id="12"/>
                                        <p:tgtEl>
                                          <p:spTgt spid="15"/>
                                        </p:tgtEl>
                                        <p:attrNameLst>
                                          <p:attrName>ppt_w</p:attrName>
                                        </p:attrNameLst>
                                      </p:cBhvr>
                                      <p:tavLst>
                                        <p:tav tm="0">
                                          <p:val>
                                            <p:fltVal val="0"/>
                                          </p:val>
                                        </p:tav>
                                        <p:tav tm="100000">
                                          <p:val>
                                            <p:strVal val="#ppt_w"/>
                                          </p:val>
                                        </p:tav>
                                      </p:tavLst>
                                    </p:anim>
                                    <p:anim calcmode="lin" valueType="num">
                                      <p:cBhvr>
                                        <p:cTn dur="500" fill="hold" id="13"/>
                                        <p:tgtEl>
                                          <p:spTgt spid="15"/>
                                        </p:tgtEl>
                                        <p:attrNameLst>
                                          <p:attrName>ppt_h</p:attrName>
                                        </p:attrNameLst>
                                      </p:cBhvr>
                                      <p:tavLst>
                                        <p:tav tm="0">
                                          <p:val>
                                            <p:fltVal val="0"/>
                                          </p:val>
                                        </p:tav>
                                        <p:tav tm="100000">
                                          <p:val>
                                            <p:strVal val="#ppt_h"/>
                                          </p:val>
                                        </p:tav>
                                      </p:tavLst>
                                    </p:anim>
                                    <p:animEffect filter="fade" transition="in">
                                      <p:cBhvr>
                                        <p:cTn dur="500" id="14"/>
                                        <p:tgtEl>
                                          <p:spTgt spid="15"/>
                                        </p:tgtEl>
                                      </p:cBhvr>
                                    </p:animEffect>
                                  </p:childTnLst>
                                </p:cTn>
                              </p:par>
                              <p:par>
                                <p:cTn fill="hold" id="15" nodeType="withEffect" presetClass="entr" presetID="53" presetSubtype="0">
                                  <p:stCondLst>
                                    <p:cond delay="250"/>
                                  </p:stCondLst>
                                  <p:childTnLst>
                                    <p:set>
                                      <p:cBhvr>
                                        <p:cTn dur="1" fill="hold" id="16">
                                          <p:stCondLst>
                                            <p:cond delay="0"/>
                                          </p:stCondLst>
                                        </p:cTn>
                                        <p:tgtEl>
                                          <p:spTgt spid="16"/>
                                        </p:tgtEl>
                                        <p:attrNameLst>
                                          <p:attrName>style.visibility</p:attrName>
                                        </p:attrNameLst>
                                      </p:cBhvr>
                                      <p:to>
                                        <p:strVal val="visible"/>
                                      </p:to>
                                    </p:set>
                                    <p:anim calcmode="lin" valueType="num">
                                      <p:cBhvr>
                                        <p:cTn dur="500" fill="hold" id="17"/>
                                        <p:tgtEl>
                                          <p:spTgt spid="16"/>
                                        </p:tgtEl>
                                        <p:attrNameLst>
                                          <p:attrName>ppt_w</p:attrName>
                                        </p:attrNameLst>
                                      </p:cBhvr>
                                      <p:tavLst>
                                        <p:tav tm="0">
                                          <p:val>
                                            <p:fltVal val="0"/>
                                          </p:val>
                                        </p:tav>
                                        <p:tav tm="100000">
                                          <p:val>
                                            <p:strVal val="#ppt_w"/>
                                          </p:val>
                                        </p:tav>
                                      </p:tavLst>
                                    </p:anim>
                                    <p:anim calcmode="lin" valueType="num">
                                      <p:cBhvr>
                                        <p:cTn dur="500" fill="hold" id="18"/>
                                        <p:tgtEl>
                                          <p:spTgt spid="16"/>
                                        </p:tgtEl>
                                        <p:attrNameLst>
                                          <p:attrName>ppt_h</p:attrName>
                                        </p:attrNameLst>
                                      </p:cBhvr>
                                      <p:tavLst>
                                        <p:tav tm="0">
                                          <p:val>
                                            <p:fltVal val="0"/>
                                          </p:val>
                                        </p:tav>
                                        <p:tav tm="100000">
                                          <p:val>
                                            <p:strVal val="#ppt_h"/>
                                          </p:val>
                                        </p:tav>
                                      </p:tavLst>
                                    </p:anim>
                                    <p:animEffect filter="fade" transition="in">
                                      <p:cBhvr>
                                        <p:cTn dur="500" id="19"/>
                                        <p:tgtEl>
                                          <p:spTgt spid="16"/>
                                        </p:tgtEl>
                                      </p:cBhvr>
                                    </p:animEffect>
                                  </p:childTnLst>
                                </p:cTn>
                              </p:par>
                              <p:par>
                                <p:cTn fill="hold" id="20" nodeType="withEffect" presetClass="entr" presetID="22" presetSubtype="8">
                                  <p:stCondLst>
                                    <p:cond delay="750"/>
                                  </p:stCondLst>
                                  <p:childTnLst>
                                    <p:set>
                                      <p:cBhvr>
                                        <p:cTn dur="1" fill="hold" id="21">
                                          <p:stCondLst>
                                            <p:cond delay="0"/>
                                          </p:stCondLst>
                                        </p:cTn>
                                        <p:tgtEl>
                                          <p:spTgt spid="13"/>
                                        </p:tgtEl>
                                        <p:attrNameLst>
                                          <p:attrName>style.visibility</p:attrName>
                                        </p:attrNameLst>
                                      </p:cBhvr>
                                      <p:to>
                                        <p:strVal val="visible"/>
                                      </p:to>
                                    </p:set>
                                    <p:animEffect filter="wipe(left)" transition="in">
                                      <p:cBhvr>
                                        <p:cTn dur="250" id="22"/>
                                        <p:tgtEl>
                                          <p:spTgt spid="13"/>
                                        </p:tgtEl>
                                      </p:cBhvr>
                                    </p:animEffect>
                                  </p:childTnLst>
                                </p:cTn>
                              </p:par>
                              <p:par>
                                <p:cTn fill="hold" id="23" nodeType="withEffect" presetClass="entr" presetID="22" presetSubtype="2">
                                  <p:stCondLst>
                                    <p:cond delay="750"/>
                                  </p:stCondLst>
                                  <p:childTnLst>
                                    <p:set>
                                      <p:cBhvr>
                                        <p:cTn dur="1" fill="hold" id="24">
                                          <p:stCondLst>
                                            <p:cond delay="0"/>
                                          </p:stCondLst>
                                        </p:cTn>
                                        <p:tgtEl>
                                          <p:spTgt spid="18"/>
                                        </p:tgtEl>
                                        <p:attrNameLst>
                                          <p:attrName>style.visibility</p:attrName>
                                        </p:attrNameLst>
                                      </p:cBhvr>
                                      <p:to>
                                        <p:strVal val="visible"/>
                                      </p:to>
                                    </p:set>
                                    <p:animEffect filter="wipe(right)" transition="in">
                                      <p:cBhvr>
                                        <p:cTn dur="250" id="25"/>
                                        <p:tgtEl>
                                          <p:spTgt spid="18"/>
                                        </p:tgtEl>
                                      </p:cBhvr>
                                    </p:animEffect>
                                  </p:childTnLst>
                                </p:cTn>
                              </p:par>
                            </p:childTnLst>
                          </p:cTn>
                        </p:par>
                        <p:par>
                          <p:cTn fill="hold" id="26" nodeType="afterGroup">
                            <p:stCondLst>
                              <p:cond delay="1000"/>
                            </p:stCondLst>
                            <p:childTnLst>
                              <p:par>
                                <p:cTn fill="hold" grpId="0" id="27" nodeType="afterEffect" presetClass="entr" presetID="14" presetSubtype="10">
                                  <p:stCondLst>
                                    <p:cond delay="0"/>
                                  </p:stCondLst>
                                  <p:childTnLst>
                                    <p:set>
                                      <p:cBhvr>
                                        <p:cTn dur="1" fill="hold" id="28">
                                          <p:stCondLst>
                                            <p:cond delay="0"/>
                                          </p:stCondLst>
                                        </p:cTn>
                                        <p:tgtEl>
                                          <p:spTgt spid="203"/>
                                        </p:tgtEl>
                                        <p:attrNameLst>
                                          <p:attrName>style.visibility</p:attrName>
                                        </p:attrNameLst>
                                      </p:cBhvr>
                                      <p:to>
                                        <p:strVal val="visible"/>
                                      </p:to>
                                    </p:set>
                                    <p:animEffect filter="randombar(horizontal)" transition="in">
                                      <p:cBhvr>
                                        <p:cTn dur="500" id="29"/>
                                        <p:tgtEl>
                                          <p:spTgt spid="203"/>
                                        </p:tgtEl>
                                      </p:cBhvr>
                                    </p:animEffect>
                                  </p:childTnLst>
                                </p:cTn>
                              </p:par>
                              <p:par>
                                <p:cTn fill="hold" grpId="0" id="30" nodeType="withEffect" presetClass="entr" presetID="14" presetSubtype="10">
                                  <p:stCondLst>
                                    <p:cond delay="0"/>
                                  </p:stCondLst>
                                  <p:childTnLst>
                                    <p:set>
                                      <p:cBhvr>
                                        <p:cTn dur="1" fill="hold" id="31">
                                          <p:stCondLst>
                                            <p:cond delay="0"/>
                                          </p:stCondLst>
                                        </p:cTn>
                                        <p:tgtEl>
                                          <p:spTgt spid="202"/>
                                        </p:tgtEl>
                                        <p:attrNameLst>
                                          <p:attrName>style.visibility</p:attrName>
                                        </p:attrNameLst>
                                      </p:cBhvr>
                                      <p:to>
                                        <p:strVal val="visible"/>
                                      </p:to>
                                    </p:set>
                                    <p:animEffect filter="randombar(horizontal)" transition="in">
                                      <p:cBhvr>
                                        <p:cTn dur="500" id="32"/>
                                        <p:tgtEl>
                                          <p:spTgt spid="202"/>
                                        </p:tgtEl>
                                      </p:cBhvr>
                                    </p:animEffect>
                                  </p:childTnLst>
                                </p:cTn>
                              </p:par>
                              <p:par>
                                <p:cTn fill="hold" grpId="0" id="33" nodeType="withEffect" presetClass="entr" presetID="14" presetSubtype="10">
                                  <p:stCondLst>
                                    <p:cond delay="0"/>
                                  </p:stCondLst>
                                  <p:childTnLst>
                                    <p:set>
                                      <p:cBhvr>
                                        <p:cTn dur="1" fill="hold" id="34">
                                          <p:stCondLst>
                                            <p:cond delay="0"/>
                                          </p:stCondLst>
                                        </p:cTn>
                                        <p:tgtEl>
                                          <p:spTgt spid="213"/>
                                        </p:tgtEl>
                                        <p:attrNameLst>
                                          <p:attrName>style.visibility</p:attrName>
                                        </p:attrNameLst>
                                      </p:cBhvr>
                                      <p:to>
                                        <p:strVal val="visible"/>
                                      </p:to>
                                    </p:set>
                                    <p:animEffect filter="randombar(horizontal)" transition="in">
                                      <p:cBhvr>
                                        <p:cTn dur="500" id="35"/>
                                        <p:tgtEl>
                                          <p:spTgt spid="213"/>
                                        </p:tgtEl>
                                      </p:cBhvr>
                                    </p:animEffect>
                                  </p:childTnLst>
                                </p:cTn>
                              </p:par>
                            </p:childTnLst>
                          </p:cTn>
                        </p:par>
                        <p:par>
                          <p:cTn fill="hold" id="36" nodeType="afterGroup">
                            <p:stCondLst>
                              <p:cond delay="1500"/>
                            </p:stCondLst>
                            <p:childTnLst>
                              <p:par>
                                <p:cTn fill="hold" grpId="0" id="37" nodeType="afterEffect" presetClass="entr" presetID="10" presetSubtype="0">
                                  <p:stCondLst>
                                    <p:cond delay="0"/>
                                  </p:stCondLst>
                                  <p:childTnLst>
                                    <p:set>
                                      <p:cBhvr>
                                        <p:cTn dur="1" fill="hold" id="38">
                                          <p:stCondLst>
                                            <p:cond delay="0"/>
                                          </p:stCondLst>
                                        </p:cTn>
                                        <p:tgtEl>
                                          <p:spTgt spid="206"/>
                                        </p:tgtEl>
                                        <p:attrNameLst>
                                          <p:attrName>style.visibility</p:attrName>
                                        </p:attrNameLst>
                                      </p:cBhvr>
                                      <p:to>
                                        <p:strVal val="visible"/>
                                      </p:to>
                                    </p:set>
                                    <p:animEffect filter="fade" transition="in">
                                      <p:cBhvr>
                                        <p:cTn dur="500" id="39"/>
                                        <p:tgtEl>
                                          <p:spTgt spid="206"/>
                                        </p:tgtEl>
                                      </p:cBhvr>
                                    </p:animEffect>
                                  </p:childTnLst>
                                </p:cTn>
                              </p:par>
                              <p:par>
                                <p:cTn fill="hold" grpId="0" id="40" nodeType="withEffect" presetClass="entr" presetID="10" presetSubtype="0">
                                  <p:stCondLst>
                                    <p:cond delay="0"/>
                                  </p:stCondLst>
                                  <p:childTnLst>
                                    <p:set>
                                      <p:cBhvr>
                                        <p:cTn dur="1" fill="hold" id="41">
                                          <p:stCondLst>
                                            <p:cond delay="0"/>
                                          </p:stCondLst>
                                        </p:cTn>
                                        <p:tgtEl>
                                          <p:spTgt spid="207"/>
                                        </p:tgtEl>
                                        <p:attrNameLst>
                                          <p:attrName>style.visibility</p:attrName>
                                        </p:attrNameLst>
                                      </p:cBhvr>
                                      <p:to>
                                        <p:strVal val="visible"/>
                                      </p:to>
                                    </p:set>
                                    <p:animEffect filter="fade" transition="in">
                                      <p:cBhvr>
                                        <p:cTn dur="500" id="42"/>
                                        <p:tgtEl>
                                          <p:spTgt spid="207"/>
                                        </p:tgtEl>
                                      </p:cBhvr>
                                    </p:animEffect>
                                  </p:childTnLst>
                                </p:cTn>
                              </p:par>
                            </p:childTnLst>
                          </p:cTn>
                        </p:par>
                        <p:par>
                          <p:cTn fill="hold" id="43" nodeType="afterGroup">
                            <p:stCondLst>
                              <p:cond delay="2000"/>
                            </p:stCondLst>
                            <p:childTnLst>
                              <p:par>
                                <p:cTn fill="hold" grpId="0" id="44" nodeType="afterEffect" presetClass="entr" presetID="14" presetSubtype="10">
                                  <p:stCondLst>
                                    <p:cond delay="0"/>
                                  </p:stCondLst>
                                  <p:childTnLst>
                                    <p:set>
                                      <p:cBhvr>
                                        <p:cTn dur="1" fill="hold" id="45">
                                          <p:stCondLst>
                                            <p:cond delay="0"/>
                                          </p:stCondLst>
                                        </p:cTn>
                                        <p:tgtEl>
                                          <p:spTgt spid="204"/>
                                        </p:tgtEl>
                                        <p:attrNameLst>
                                          <p:attrName>style.visibility</p:attrName>
                                        </p:attrNameLst>
                                      </p:cBhvr>
                                      <p:to>
                                        <p:strVal val="visible"/>
                                      </p:to>
                                    </p:set>
                                    <p:animEffect filter="randombar(horizontal)" transition="in">
                                      <p:cBhvr>
                                        <p:cTn dur="500" id="46"/>
                                        <p:tgtEl>
                                          <p:spTgt spid="204"/>
                                        </p:tgtEl>
                                      </p:cBhvr>
                                    </p:animEffect>
                                  </p:childTnLst>
                                </p:cTn>
                              </p:par>
                              <p:par>
                                <p:cTn fill="hold" grpId="0" id="47" nodeType="withEffect" presetClass="entr" presetID="14" presetSubtype="10">
                                  <p:stCondLst>
                                    <p:cond delay="0"/>
                                  </p:stCondLst>
                                  <p:childTnLst>
                                    <p:set>
                                      <p:cBhvr>
                                        <p:cTn dur="1" fill="hold" id="48">
                                          <p:stCondLst>
                                            <p:cond delay="0"/>
                                          </p:stCondLst>
                                        </p:cTn>
                                        <p:tgtEl>
                                          <p:spTgt spid="205"/>
                                        </p:tgtEl>
                                        <p:attrNameLst>
                                          <p:attrName>style.visibility</p:attrName>
                                        </p:attrNameLst>
                                      </p:cBhvr>
                                      <p:to>
                                        <p:strVal val="visible"/>
                                      </p:to>
                                    </p:set>
                                    <p:animEffect filter="randombar(horizontal)" transition="in">
                                      <p:cBhvr>
                                        <p:cTn dur="500" id="49"/>
                                        <p:tgtEl>
                                          <p:spTgt spid="205"/>
                                        </p:tgtEl>
                                      </p:cBhvr>
                                    </p:animEffect>
                                  </p:childTnLst>
                                </p:cTn>
                              </p:par>
                              <p:par>
                                <p:cTn fill="hold" grpId="0" id="50" nodeType="withEffect" presetClass="entr" presetID="14" presetSubtype="10">
                                  <p:stCondLst>
                                    <p:cond delay="0"/>
                                  </p:stCondLst>
                                  <p:childTnLst>
                                    <p:set>
                                      <p:cBhvr>
                                        <p:cTn dur="1" fill="hold" id="51">
                                          <p:stCondLst>
                                            <p:cond delay="0"/>
                                          </p:stCondLst>
                                        </p:cTn>
                                        <p:tgtEl>
                                          <p:spTgt spid="214"/>
                                        </p:tgtEl>
                                        <p:attrNameLst>
                                          <p:attrName>style.visibility</p:attrName>
                                        </p:attrNameLst>
                                      </p:cBhvr>
                                      <p:to>
                                        <p:strVal val="visible"/>
                                      </p:to>
                                    </p:set>
                                    <p:animEffect filter="randombar(horizontal)" transition="in">
                                      <p:cBhvr>
                                        <p:cTn dur="500" id="52"/>
                                        <p:tgtEl>
                                          <p:spTgt spid="214"/>
                                        </p:tgtEl>
                                      </p:cBhvr>
                                    </p:animEffect>
                                  </p:childTnLst>
                                </p:cTn>
                              </p:par>
                            </p:childTnLst>
                          </p:cTn>
                        </p:par>
                        <p:par>
                          <p:cTn fill="hold" id="53" nodeType="afterGroup">
                            <p:stCondLst>
                              <p:cond delay="2500"/>
                            </p:stCondLst>
                            <p:childTnLst>
                              <p:par>
                                <p:cTn fill="hold" grpId="0" id="54" nodeType="afterEffect" presetClass="entr" presetID="10" presetSubtype="0">
                                  <p:stCondLst>
                                    <p:cond delay="0"/>
                                  </p:stCondLst>
                                  <p:childTnLst>
                                    <p:set>
                                      <p:cBhvr>
                                        <p:cTn dur="1" fill="hold" id="55">
                                          <p:stCondLst>
                                            <p:cond delay="0"/>
                                          </p:stCondLst>
                                        </p:cTn>
                                        <p:tgtEl>
                                          <p:spTgt spid="208"/>
                                        </p:tgtEl>
                                        <p:attrNameLst>
                                          <p:attrName>style.visibility</p:attrName>
                                        </p:attrNameLst>
                                      </p:cBhvr>
                                      <p:to>
                                        <p:strVal val="visible"/>
                                      </p:to>
                                    </p:set>
                                    <p:animEffect filter="fade" transition="in">
                                      <p:cBhvr>
                                        <p:cTn dur="500" id="56"/>
                                        <p:tgtEl>
                                          <p:spTgt spid="208"/>
                                        </p:tgtEl>
                                      </p:cBhvr>
                                    </p:animEffect>
                                  </p:childTnLst>
                                </p:cTn>
                              </p:par>
                              <p:par>
                                <p:cTn fill="hold" grpId="0" id="57" nodeType="withEffect" presetClass="entr" presetID="10" presetSubtype="0">
                                  <p:stCondLst>
                                    <p:cond delay="0"/>
                                  </p:stCondLst>
                                  <p:childTnLst>
                                    <p:set>
                                      <p:cBhvr>
                                        <p:cTn dur="1" fill="hold" id="58">
                                          <p:stCondLst>
                                            <p:cond delay="0"/>
                                          </p:stCondLst>
                                        </p:cTn>
                                        <p:tgtEl>
                                          <p:spTgt spid="209"/>
                                        </p:tgtEl>
                                        <p:attrNameLst>
                                          <p:attrName>style.visibility</p:attrName>
                                        </p:attrNameLst>
                                      </p:cBhvr>
                                      <p:to>
                                        <p:strVal val="visible"/>
                                      </p:to>
                                    </p:set>
                                    <p:animEffect filter="fade" transition="in">
                                      <p:cBhvr>
                                        <p:cTn dur="500" id="59"/>
                                        <p:tgtEl>
                                          <p:spTgt spid="209"/>
                                        </p:tgtEl>
                                      </p:cBhvr>
                                    </p:animEffect>
                                  </p:childTnLst>
                                </p:cTn>
                              </p:par>
                            </p:childTnLst>
                          </p:cTn>
                        </p:par>
                        <p:par>
                          <p:cTn fill="hold" id="60" nodeType="afterGroup">
                            <p:stCondLst>
                              <p:cond delay="3000"/>
                            </p:stCondLst>
                            <p:childTnLst>
                              <p:par>
                                <p:cTn fill="hold" grpId="0" id="61" nodeType="afterEffect" presetClass="entr" presetID="14" presetSubtype="10">
                                  <p:stCondLst>
                                    <p:cond delay="0"/>
                                  </p:stCondLst>
                                  <p:childTnLst>
                                    <p:set>
                                      <p:cBhvr>
                                        <p:cTn dur="1" fill="hold" id="62">
                                          <p:stCondLst>
                                            <p:cond delay="0"/>
                                          </p:stCondLst>
                                        </p:cTn>
                                        <p:tgtEl>
                                          <p:spTgt spid="210"/>
                                        </p:tgtEl>
                                        <p:attrNameLst>
                                          <p:attrName>style.visibility</p:attrName>
                                        </p:attrNameLst>
                                      </p:cBhvr>
                                      <p:to>
                                        <p:strVal val="visible"/>
                                      </p:to>
                                    </p:set>
                                    <p:animEffect filter="randombar(horizontal)" transition="in">
                                      <p:cBhvr>
                                        <p:cTn dur="500" id="63"/>
                                        <p:tgtEl>
                                          <p:spTgt spid="210"/>
                                        </p:tgtEl>
                                      </p:cBhvr>
                                    </p:animEffect>
                                  </p:childTnLst>
                                </p:cTn>
                              </p:par>
                              <p:par>
                                <p:cTn fill="hold" grpId="0" id="64" nodeType="withEffect" presetClass="entr" presetID="14" presetSubtype="10">
                                  <p:stCondLst>
                                    <p:cond delay="0"/>
                                  </p:stCondLst>
                                  <p:childTnLst>
                                    <p:set>
                                      <p:cBhvr>
                                        <p:cTn dur="1" fill="hold" id="65">
                                          <p:stCondLst>
                                            <p:cond delay="0"/>
                                          </p:stCondLst>
                                        </p:cTn>
                                        <p:tgtEl>
                                          <p:spTgt spid="211"/>
                                        </p:tgtEl>
                                        <p:attrNameLst>
                                          <p:attrName>style.visibility</p:attrName>
                                        </p:attrNameLst>
                                      </p:cBhvr>
                                      <p:to>
                                        <p:strVal val="visible"/>
                                      </p:to>
                                    </p:set>
                                    <p:animEffect filter="randombar(horizontal)" transition="in">
                                      <p:cBhvr>
                                        <p:cTn dur="500" id="66"/>
                                        <p:tgtEl>
                                          <p:spTgt spid="211"/>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10"/>
      <p:bldP grpId="0" spid="202"/>
      <p:bldP grpId="0" spid="203"/>
      <p:bldP grpId="0" spid="204"/>
      <p:bldP grpId="0" spid="205"/>
      <p:bldP grpId="0" spid="206"/>
      <p:bldP grpId="0" spid="207"/>
      <p:bldP grpId="0" spid="208"/>
      <p:bldP grpId="0" spid="209"/>
      <p:bldP grpId="0" spid="210"/>
      <p:bldP grpId="0" spid="211"/>
      <p:bldP grpId="0" spid="213"/>
      <p:bldP grpId="0" spid="214"/>
    </p:bldLst>
  </p:timing>
</p:sld>
</file>

<file path=ppt/slides/slide19.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pic>
        <p:nvPicPr>
          <p:cNvPr id="52" name="图形 51">
            <a:extLst>
              <a:ext uri="{FF2B5EF4-FFF2-40B4-BE49-F238E27FC236}">
                <a16:creationId xmlns:a16="http://schemas.microsoft.com/office/drawing/2014/main" id="{8D33FEF6-9F37-4458-AA3E-4C458A179BF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flipV="1">
            <a:off x="59107" y="4827095"/>
            <a:ext cx="1870413" cy="1956409"/>
          </a:xfrm>
          <a:prstGeom prst="rect">
            <a:avLst/>
          </a:prstGeom>
        </p:spPr>
      </p:pic>
      <p:pic>
        <p:nvPicPr>
          <p:cNvPr id="53" name="图形 52">
            <a:extLst>
              <a:ext uri="{FF2B5EF4-FFF2-40B4-BE49-F238E27FC236}">
                <a16:creationId xmlns:a16="http://schemas.microsoft.com/office/drawing/2014/main" id="{2B0BF704-574C-4B05-806E-D359C2544A7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051181" y="40578"/>
            <a:ext cx="2065140" cy="1630373"/>
          </a:xfrm>
          <a:prstGeom prst="rect">
            <a:avLst/>
          </a:prstGeom>
        </p:spPr>
      </p:pic>
      <p:pic>
        <p:nvPicPr>
          <p:cNvPr id="18" name="图片 17">
            <a:extLst>
              <a:ext uri="{FF2B5EF4-FFF2-40B4-BE49-F238E27FC236}">
                <a16:creationId xmlns:a16="http://schemas.microsoft.com/office/drawing/2014/main" id="{01B58B04-61DF-4368-9E5B-1A9430F90136}"/>
              </a:ext>
            </a:extLst>
          </p:cNvPr>
          <p:cNvPicPr>
            <a:picLocks noChangeAspect="1"/>
          </p:cNvPicPr>
          <p:nvPr/>
        </p:nvPicPr>
        <p:blipFill>
          <a:blip r:embed="rId7">
            <a:extLst>
              <a:ext uri="{28A0092B-C50C-407E-A947-70E740481C1C}">
                <a14:useLocalDpi val="0"/>
              </a:ext>
            </a:extLst>
          </a:blip>
          <a:srcRect b="9410" l="12695" r="15432" t="13963"/>
          <a:stretch>
            <a:fillRect/>
          </a:stretch>
        </p:blipFill>
        <p:spPr>
          <a:xfrm rot="5400000">
            <a:off x="2925434" y="-1362528"/>
            <a:ext cx="6195993" cy="9583056"/>
          </a:xfrm>
          <a:prstGeom prst="rect">
            <a:avLst/>
          </a:prstGeom>
          <a:effectLst>
            <a:outerShdw algn="t" blurRad="152400" dir="5400000" dist="76200" rotWithShape="0">
              <a:prstClr val="black">
                <a:alpha val="40000"/>
              </a:prstClr>
            </a:outerShdw>
          </a:effectLst>
        </p:spPr>
      </p:pic>
      <p:sp>
        <p:nvSpPr>
          <p:cNvPr id="14" name="文本框 13">
            <a:extLst>
              <a:ext uri="{FF2B5EF4-FFF2-40B4-BE49-F238E27FC236}">
                <a16:creationId xmlns:a16="http://schemas.microsoft.com/office/drawing/2014/main" id="{3AAB08FD-929D-4210-86B9-92132AA71D62}"/>
              </a:ext>
            </a:extLst>
          </p:cNvPr>
          <p:cNvSpPr txBox="1"/>
          <p:nvPr/>
        </p:nvSpPr>
        <p:spPr>
          <a:xfrm>
            <a:off x="1244600" y="3157664"/>
            <a:ext cx="9702800" cy="1554480"/>
          </a:xfrm>
          <a:prstGeom prst="rect">
            <a:avLst/>
          </a:prstGeom>
          <a:noFill/>
        </p:spPr>
        <p:txBody>
          <a:bodyPr rtlCol="0" wrap="square">
            <a:spAutoFit/>
          </a:bodyPr>
          <a:lstStyle/>
          <a:p>
            <a:pPr algn="ctr"/>
            <a:r>
              <a:rPr altLang="en-US" b="1" lang="zh-CN" spc="-150" sz="9600">
                <a:solidFill>
                  <a:schemeClr val="tx1">
                    <a:lumMod val="75000"/>
                    <a:lumOff val="25000"/>
                  </a:schemeClr>
                </a:solidFill>
                <a:latin charset="-122" panose="02000500000000000000" pitchFamily="2" typeface="方正手迹-小欢卡通体"/>
                <a:ea charset="-122" panose="02000500000000000000" pitchFamily="2" typeface="方正手迹-小欢卡通体"/>
              </a:rPr>
              <a:t>未来工作计划</a:t>
            </a:r>
          </a:p>
        </p:txBody>
      </p:sp>
      <p:grpSp>
        <p:nvGrpSpPr>
          <p:cNvPr id="2" name="组合 1">
            <a:extLst>
              <a:ext uri="{FF2B5EF4-FFF2-40B4-BE49-F238E27FC236}">
                <a16:creationId xmlns:a16="http://schemas.microsoft.com/office/drawing/2014/main" id="{838B7507-BC27-4394-A9B9-4F3FCB597C1B}"/>
              </a:ext>
            </a:extLst>
          </p:cNvPr>
          <p:cNvGrpSpPr/>
          <p:nvPr/>
        </p:nvGrpSpPr>
        <p:grpSpPr>
          <a:xfrm>
            <a:off x="4926015" y="4766828"/>
            <a:ext cx="2339970" cy="482600"/>
            <a:chOff x="4926015" y="4766828"/>
            <a:chExt cx="2339970" cy="482600"/>
          </a:xfrm>
        </p:grpSpPr>
        <p:sp>
          <p:nvSpPr>
            <p:cNvPr id="15" name="矩形 14">
              <a:extLst>
                <a:ext uri="{FF2B5EF4-FFF2-40B4-BE49-F238E27FC236}">
                  <a16:creationId xmlns:a16="http://schemas.microsoft.com/office/drawing/2014/main" id="{76128341-D5BE-4727-98FA-EEEF15553AE5}"/>
                </a:ext>
              </a:extLst>
            </p:cNvPr>
            <p:cNvSpPr/>
            <p:nvPr/>
          </p:nvSpPr>
          <p:spPr>
            <a:xfrm>
              <a:off x="4926015" y="4766828"/>
              <a:ext cx="1169985" cy="482600"/>
            </a:xfrm>
            <a:prstGeom prst="rect">
              <a:avLst/>
            </a:prstGeom>
            <a:solidFill>
              <a:srgbClr val="FF626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2000">
                <a:solidFill>
                  <a:srgbClr val="00416B"/>
                </a:solidFill>
                <a:latin charset="-122" panose="02000500000000000000" pitchFamily="2" typeface="方正雅士黑 简"/>
                <a:ea charset="-122" panose="02000500000000000000" pitchFamily="2" typeface="方正雅士黑 简"/>
              </a:endParaRPr>
            </a:p>
          </p:txBody>
        </p:sp>
        <p:sp>
          <p:nvSpPr>
            <p:cNvPr id="16" name="矩形 15">
              <a:extLst>
                <a:ext uri="{FF2B5EF4-FFF2-40B4-BE49-F238E27FC236}">
                  <a16:creationId xmlns:a16="http://schemas.microsoft.com/office/drawing/2014/main" id="{EB775F2C-CA06-4532-900A-BFA261DBEEB0}"/>
                </a:ext>
              </a:extLst>
            </p:cNvPr>
            <p:cNvSpPr/>
            <p:nvPr/>
          </p:nvSpPr>
          <p:spPr>
            <a:xfrm>
              <a:off x="6096000" y="4766828"/>
              <a:ext cx="1169985" cy="482600"/>
            </a:xfrm>
            <a:prstGeom prst="rect">
              <a:avLst/>
            </a:prstGeom>
            <a:solidFill>
              <a:srgbClr val="60A8A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2000">
                <a:solidFill>
                  <a:srgbClr val="00416B"/>
                </a:solidFill>
                <a:latin charset="-122" panose="02000500000000000000" pitchFamily="2" typeface="方正雅士黑 简"/>
                <a:ea charset="-122" panose="02000500000000000000" pitchFamily="2" typeface="方正雅士黑 简"/>
              </a:endParaRPr>
            </a:p>
          </p:txBody>
        </p:sp>
      </p:grpSp>
      <p:sp>
        <p:nvSpPr>
          <p:cNvPr id="17" name="矩形 16">
            <a:extLst>
              <a:ext uri="{FF2B5EF4-FFF2-40B4-BE49-F238E27FC236}">
                <a16:creationId xmlns:a16="http://schemas.microsoft.com/office/drawing/2014/main" id="{013E49E3-785E-448C-8679-9E330C4A1944}"/>
              </a:ext>
            </a:extLst>
          </p:cNvPr>
          <p:cNvSpPr/>
          <p:nvPr/>
        </p:nvSpPr>
        <p:spPr>
          <a:xfrm>
            <a:off x="5090161" y="4783176"/>
            <a:ext cx="2011680" cy="457200"/>
          </a:xfrm>
          <a:prstGeom prst="rect">
            <a:avLst/>
          </a:prstGeom>
        </p:spPr>
        <p:txBody>
          <a:bodyPr wrap="none">
            <a:spAutoFit/>
          </a:bodyPr>
          <a:lstStyle/>
          <a:p>
            <a:pPr algn="ctr"/>
            <a:r>
              <a:rPr altLang="zh-CN" lang="en-US" sz="2400">
                <a:solidFill>
                  <a:schemeClr val="bg1"/>
                </a:solidFill>
                <a:latin charset="-122" panose="02000500000000000000" pitchFamily="2" typeface="方正雅士黑 简"/>
                <a:ea charset="-122" panose="02000500000000000000" pitchFamily="2" typeface="方正雅士黑 简"/>
              </a:rPr>
              <a:t>PART    FOUR</a:t>
            </a:r>
          </a:p>
        </p:txBody>
      </p:sp>
      <p:pic>
        <p:nvPicPr>
          <p:cNvPr id="37" name="图形 36">
            <a:extLst>
              <a:ext uri="{FF2B5EF4-FFF2-40B4-BE49-F238E27FC236}">
                <a16:creationId xmlns:a16="http://schemas.microsoft.com/office/drawing/2014/main" id="{1922C27C-412F-48EA-86A1-63AB411C8C2D}"/>
              </a:ext>
            </a:extLst>
          </p:cNvPr>
          <p:cNvPicPr>
            <a:picLocks noChangeAspect="1"/>
          </p:cNvPicPr>
          <p:nvPr/>
        </p:nvPicPr>
        <p:blipFill>
          <a:blip r:embed="rId8">
            <a:extLst>
              <a:ext uri="{96DAC541-7B7A-43D3-8B79-37D633B846F1}">
                <asvg:svgBlip xmlns:asvg="http://schemas.microsoft.com/office/drawing/2016/SVG/main" r:embed="rId9"/>
              </a:ext>
            </a:extLst>
          </a:blip>
          <a:srcRect b="22696" l="25200" r="27996" t="18077"/>
          <a:stretch>
            <a:fillRect/>
          </a:stretch>
        </p:blipFill>
        <p:spPr>
          <a:xfrm>
            <a:off x="5077152" y="1770899"/>
            <a:ext cx="1025136" cy="1297252"/>
          </a:xfrm>
          <a:custGeom>
            <a:rect b="b" l="l" r="r" t="t"/>
            <a:pathLst>
              <a:path h="1868444" w="1476514">
                <a:moveTo>
                  <a:pt x="750582" y="0"/>
                </a:moveTo>
                <a:cubicBezTo>
                  <a:pt x="872187" y="0"/>
                  <a:pt x="972018" y="14995"/>
                  <a:pt x="1050075" y="44986"/>
                </a:cubicBezTo>
                <a:cubicBezTo>
                  <a:pt x="1128132" y="74976"/>
                  <a:pt x="1191811" y="114005"/>
                  <a:pt x="1241110" y="162072"/>
                </a:cubicBezTo>
                <a:cubicBezTo>
                  <a:pt x="1290409" y="210138"/>
                  <a:pt x="1329233" y="260670"/>
                  <a:pt x="1357580" y="313667"/>
                </a:cubicBezTo>
                <a:cubicBezTo>
                  <a:pt x="1385927" y="366664"/>
                  <a:pt x="1408728" y="428493"/>
                  <a:pt x="1425982" y="499156"/>
                </a:cubicBezTo>
                <a:cubicBezTo>
                  <a:pt x="1459670" y="633907"/>
                  <a:pt x="1476514" y="774410"/>
                  <a:pt x="1476514" y="920665"/>
                </a:cubicBezTo>
                <a:cubicBezTo>
                  <a:pt x="1476514" y="1248505"/>
                  <a:pt x="1421053" y="1488429"/>
                  <a:pt x="1310129" y="1640435"/>
                </a:cubicBezTo>
                <a:cubicBezTo>
                  <a:pt x="1199206" y="1792441"/>
                  <a:pt x="1008171" y="1868444"/>
                  <a:pt x="737025" y="1868444"/>
                </a:cubicBezTo>
                <a:cubicBezTo>
                  <a:pt x="585018" y="1868444"/>
                  <a:pt x="462181" y="1844205"/>
                  <a:pt x="368512" y="1795728"/>
                </a:cubicBezTo>
                <a:cubicBezTo>
                  <a:pt x="274844" y="1747250"/>
                  <a:pt x="198019" y="1676177"/>
                  <a:pt x="138038" y="1582508"/>
                </a:cubicBezTo>
                <a:cubicBezTo>
                  <a:pt x="94490" y="1515954"/>
                  <a:pt x="60597" y="1424956"/>
                  <a:pt x="36358" y="1309513"/>
                </a:cubicBezTo>
                <a:cubicBezTo>
                  <a:pt x="12119" y="1194071"/>
                  <a:pt x="0" y="1066509"/>
                  <a:pt x="0" y="926827"/>
                </a:cubicBezTo>
                <a:cubicBezTo>
                  <a:pt x="0" y="583375"/>
                  <a:pt x="61829" y="343041"/>
                  <a:pt x="185488" y="205825"/>
                </a:cubicBezTo>
                <a:cubicBezTo>
                  <a:pt x="309148" y="68608"/>
                  <a:pt x="497512" y="0"/>
                  <a:pt x="750582" y="0"/>
                </a:cubicBezTo>
                <a:close/>
                <a:moveTo>
                  <a:pt x="733327" y="334003"/>
                </a:moveTo>
                <a:cubicBezTo>
                  <a:pt x="650340" y="334003"/>
                  <a:pt x="590359" y="376113"/>
                  <a:pt x="553385" y="460332"/>
                </a:cubicBezTo>
                <a:cubicBezTo>
                  <a:pt x="516410" y="544552"/>
                  <a:pt x="497923" y="700461"/>
                  <a:pt x="497923" y="928060"/>
                </a:cubicBezTo>
                <a:cubicBezTo>
                  <a:pt x="497923" y="1158123"/>
                  <a:pt x="518259" y="1315265"/>
                  <a:pt x="558931" y="1399485"/>
                </a:cubicBezTo>
                <a:cubicBezTo>
                  <a:pt x="599603" y="1483704"/>
                  <a:pt x="658556" y="1525814"/>
                  <a:pt x="735792" y="1525814"/>
                </a:cubicBezTo>
                <a:cubicBezTo>
                  <a:pt x="786735" y="1525814"/>
                  <a:pt x="830899" y="1507943"/>
                  <a:pt x="868284" y="1472201"/>
                </a:cubicBezTo>
                <a:cubicBezTo>
                  <a:pt x="905669" y="1436459"/>
                  <a:pt x="933195" y="1379970"/>
                  <a:pt x="950860" y="1302735"/>
                </a:cubicBezTo>
                <a:cubicBezTo>
                  <a:pt x="968526" y="1225499"/>
                  <a:pt x="977359" y="1105126"/>
                  <a:pt x="977359" y="941617"/>
                </a:cubicBezTo>
                <a:cubicBezTo>
                  <a:pt x="977359" y="701694"/>
                  <a:pt x="957023" y="540444"/>
                  <a:pt x="916351" y="457868"/>
                </a:cubicBezTo>
                <a:cubicBezTo>
                  <a:pt x="875679" y="375291"/>
                  <a:pt x="814671" y="334003"/>
                  <a:pt x="733327" y="334003"/>
                </a:cubicBezTo>
                <a:close/>
              </a:path>
            </a:pathLst>
          </a:custGeom>
        </p:spPr>
      </p:pic>
      <p:cxnSp>
        <p:nvCxnSpPr>
          <p:cNvPr id="41" name="直接连接符 40">
            <a:extLst>
              <a:ext uri="{FF2B5EF4-FFF2-40B4-BE49-F238E27FC236}">
                <a16:creationId xmlns:a16="http://schemas.microsoft.com/office/drawing/2014/main" id="{E636E03A-FE62-4C2C-A59C-E8FD958F8D13}"/>
              </a:ext>
            </a:extLst>
          </p:cNvPr>
          <p:cNvCxnSpPr/>
          <p:nvPr/>
        </p:nvCxnSpPr>
        <p:spPr>
          <a:xfrm>
            <a:off x="411695" y="2518913"/>
            <a:ext cx="983411" cy="0"/>
          </a:xfrm>
          <a:prstGeom prst="line">
            <a:avLst/>
          </a:prstGeom>
          <a:ln cap="rnd" w="38100">
            <a:solidFill>
              <a:schemeClr val="bg1"/>
            </a:solidFill>
            <a:round/>
          </a:ln>
        </p:spPr>
        <p:style>
          <a:lnRef idx="1">
            <a:schemeClr val="accent1"/>
          </a:lnRef>
          <a:fillRef idx="0">
            <a:schemeClr val="accent1"/>
          </a:fillRef>
          <a:effectRef idx="0">
            <a:schemeClr val="accent1"/>
          </a:effectRef>
          <a:fontRef idx="minor">
            <a:schemeClr val="tx1"/>
          </a:fontRef>
        </p:style>
      </p:cxnSp>
      <p:cxnSp>
        <p:nvCxnSpPr>
          <p:cNvPr id="42" name="直接连接符 41">
            <a:extLst>
              <a:ext uri="{FF2B5EF4-FFF2-40B4-BE49-F238E27FC236}">
                <a16:creationId xmlns:a16="http://schemas.microsoft.com/office/drawing/2014/main" id="{95F08B9C-16B6-4569-B702-38B1AF5AF488}"/>
              </a:ext>
            </a:extLst>
          </p:cNvPr>
          <p:cNvCxnSpPr/>
          <p:nvPr/>
        </p:nvCxnSpPr>
        <p:spPr>
          <a:xfrm>
            <a:off x="1101913" y="2271473"/>
            <a:ext cx="379561" cy="0"/>
          </a:xfrm>
          <a:prstGeom prst="line">
            <a:avLst/>
          </a:prstGeom>
          <a:ln cap="rnd" w="38100">
            <a:solidFill>
              <a:schemeClr val="bg1"/>
            </a:solidFill>
            <a:round/>
          </a:ln>
        </p:spPr>
        <p:style>
          <a:lnRef idx="1">
            <a:schemeClr val="accent1"/>
          </a:lnRef>
          <a:fillRef idx="0">
            <a:schemeClr val="accent1"/>
          </a:fillRef>
          <a:effectRef idx="0">
            <a:schemeClr val="accent1"/>
          </a:effectRef>
          <a:fontRef idx="minor">
            <a:schemeClr val="tx1"/>
          </a:fontRef>
        </p:style>
      </p:cxnSp>
      <p:pic>
        <p:nvPicPr>
          <p:cNvPr id="54" name="图形 53">
            <a:extLst>
              <a:ext uri="{FF2B5EF4-FFF2-40B4-BE49-F238E27FC236}">
                <a16:creationId xmlns:a16="http://schemas.microsoft.com/office/drawing/2014/main" id="{13D02E48-3DEE-4265-A5E9-DA6886F9CFD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30955" y="763694"/>
            <a:ext cx="268506" cy="268506"/>
          </a:xfrm>
          <a:prstGeom prst="rect">
            <a:avLst/>
          </a:prstGeom>
        </p:spPr>
      </p:pic>
      <p:pic>
        <p:nvPicPr>
          <p:cNvPr id="55" name="图形 54">
            <a:extLst>
              <a:ext uri="{FF2B5EF4-FFF2-40B4-BE49-F238E27FC236}">
                <a16:creationId xmlns:a16="http://schemas.microsoft.com/office/drawing/2014/main" id="{D8F8FC5F-39E0-413A-A0E1-834248523C3C}"/>
              </a:ext>
            </a:extLst>
          </p:cNvPr>
          <p:cNvPicPr>
            <a:picLocks noChangeAspect="1"/>
          </p:cNvPicPr>
          <p:nvPr/>
        </p:nvPicPr>
        <p:blipFill>
          <a:blip r:embed="rId10">
            <a:extLst>
              <a:ext uri="{96DAC541-7B7A-43D3-8B79-37D633B846F1}">
                <asvg:svgBlip xmlns:asvg="http://schemas.microsoft.com/office/drawing/2016/SVG/main" r:embed="rId12"/>
              </a:ext>
            </a:extLst>
          </a:blip>
          <a:stretch>
            <a:fillRect/>
          </a:stretch>
        </p:blipFill>
        <p:spPr>
          <a:xfrm>
            <a:off x="11086082" y="6011689"/>
            <a:ext cx="246232" cy="246232"/>
          </a:xfrm>
          <a:prstGeom prst="rect">
            <a:avLst/>
          </a:prstGeom>
        </p:spPr>
      </p:pic>
      <p:cxnSp>
        <p:nvCxnSpPr>
          <p:cNvPr id="56" name="直接连接符 55">
            <a:extLst>
              <a:ext uri="{FF2B5EF4-FFF2-40B4-BE49-F238E27FC236}">
                <a16:creationId xmlns:a16="http://schemas.microsoft.com/office/drawing/2014/main" id="{19633C08-5B20-4E2F-8F2E-815875B31679}"/>
              </a:ext>
            </a:extLst>
          </p:cNvPr>
          <p:cNvCxnSpPr/>
          <p:nvPr/>
        </p:nvCxnSpPr>
        <p:spPr>
          <a:xfrm>
            <a:off x="10736186" y="4572796"/>
            <a:ext cx="983411" cy="0"/>
          </a:xfrm>
          <a:prstGeom prst="line">
            <a:avLst/>
          </a:prstGeom>
          <a:ln cap="rnd" w="38100">
            <a:solidFill>
              <a:schemeClr val="bg1"/>
            </a:solidFill>
            <a:round/>
          </a:ln>
        </p:spPr>
        <p:style>
          <a:lnRef idx="1">
            <a:schemeClr val="accent1"/>
          </a:lnRef>
          <a:fillRef idx="0">
            <a:schemeClr val="accent1"/>
          </a:fillRef>
          <a:effectRef idx="0">
            <a:schemeClr val="accent1"/>
          </a:effectRef>
          <a:fontRef idx="minor">
            <a:schemeClr val="tx1"/>
          </a:fontRef>
        </p:style>
      </p:cxnSp>
      <p:cxnSp>
        <p:nvCxnSpPr>
          <p:cNvPr id="57" name="直接连接符 56">
            <a:extLst>
              <a:ext uri="{FF2B5EF4-FFF2-40B4-BE49-F238E27FC236}">
                <a16:creationId xmlns:a16="http://schemas.microsoft.com/office/drawing/2014/main" id="{E7261DA9-E5D1-475F-A769-B1177D9364B2}"/>
              </a:ext>
            </a:extLst>
          </p:cNvPr>
          <p:cNvCxnSpPr/>
          <p:nvPr/>
        </p:nvCxnSpPr>
        <p:spPr>
          <a:xfrm>
            <a:off x="11426404" y="4325356"/>
            <a:ext cx="379561" cy="0"/>
          </a:xfrm>
          <a:prstGeom prst="line">
            <a:avLst/>
          </a:prstGeom>
          <a:ln cap="rnd" w="38100">
            <a:solidFill>
              <a:schemeClr val="bg1"/>
            </a:solidFill>
            <a:round/>
          </a:ln>
        </p:spPr>
        <p:style>
          <a:lnRef idx="1">
            <a:schemeClr val="accent1"/>
          </a:lnRef>
          <a:fillRef idx="0">
            <a:schemeClr val="accent1"/>
          </a:fillRef>
          <a:effectRef idx="0">
            <a:schemeClr val="accent1"/>
          </a:effectRef>
          <a:fontRef idx="minor">
            <a:schemeClr val="tx1"/>
          </a:fontRef>
        </p:style>
      </p:cxnSp>
      <p:grpSp>
        <p:nvGrpSpPr>
          <p:cNvPr id="63" name="组合 62">
            <a:extLst>
              <a:ext uri="{FF2B5EF4-FFF2-40B4-BE49-F238E27FC236}">
                <a16:creationId xmlns:a16="http://schemas.microsoft.com/office/drawing/2014/main" id="{8AD69468-B53A-4849-A0EA-E60DD2D66E1D}"/>
              </a:ext>
            </a:extLst>
          </p:cNvPr>
          <p:cNvGrpSpPr/>
          <p:nvPr/>
        </p:nvGrpSpPr>
        <p:grpSpPr>
          <a:xfrm>
            <a:off x="4310626" y="1648268"/>
            <a:ext cx="758330" cy="1509396"/>
            <a:chOff x="4355021" y="1468708"/>
            <a:chExt cx="758330" cy="1509396"/>
          </a:xfrm>
        </p:grpSpPr>
        <p:sp>
          <p:nvSpPr>
            <p:cNvPr id="58" name="星形: 五角 57">
              <a:extLst>
                <a:ext uri="{FF2B5EF4-FFF2-40B4-BE49-F238E27FC236}">
                  <a16:creationId xmlns:a16="http://schemas.microsoft.com/office/drawing/2014/main" id="{954F6521-7C96-4022-A877-6F6F92D8C137}"/>
                </a:ext>
              </a:extLst>
            </p:cNvPr>
            <p:cNvSpPr/>
            <p:nvPr/>
          </p:nvSpPr>
          <p:spPr>
            <a:xfrm>
              <a:off x="4652433" y="2517186"/>
              <a:ext cx="460918" cy="460918"/>
            </a:xfrm>
            <a:prstGeom prst="star5">
              <a:avLst/>
            </a:prstGeom>
            <a:solidFill>
              <a:srgbClr val="FF626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60" name="星形: 五角 59">
              <a:extLst>
                <a:ext uri="{FF2B5EF4-FFF2-40B4-BE49-F238E27FC236}">
                  <a16:creationId xmlns:a16="http://schemas.microsoft.com/office/drawing/2014/main" id="{68CACEF3-4258-4B14-9C2B-D2CB02B9AC7E}"/>
                </a:ext>
              </a:extLst>
            </p:cNvPr>
            <p:cNvSpPr/>
            <p:nvPr/>
          </p:nvSpPr>
          <p:spPr>
            <a:xfrm>
              <a:off x="4355021" y="2208794"/>
              <a:ext cx="320445" cy="320445"/>
            </a:xfrm>
            <a:prstGeom prst="star5">
              <a:avLst/>
            </a:prstGeom>
            <a:solidFill>
              <a:srgbClr val="60A8A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61" name="星形: 五角 60">
              <a:extLst>
                <a:ext uri="{FF2B5EF4-FFF2-40B4-BE49-F238E27FC236}">
                  <a16:creationId xmlns:a16="http://schemas.microsoft.com/office/drawing/2014/main" id="{94563166-AC75-47DA-83AB-8F7760639102}"/>
                </a:ext>
              </a:extLst>
            </p:cNvPr>
            <p:cNvSpPr/>
            <p:nvPr/>
          </p:nvSpPr>
          <p:spPr>
            <a:xfrm>
              <a:off x="4431095" y="1794975"/>
              <a:ext cx="228299" cy="228299"/>
            </a:xfrm>
            <a:prstGeom prst="star5">
              <a:avLst/>
            </a:prstGeom>
            <a:solidFill>
              <a:srgbClr val="FFC73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62" name="星形: 五角 61">
              <a:extLst>
                <a:ext uri="{FF2B5EF4-FFF2-40B4-BE49-F238E27FC236}">
                  <a16:creationId xmlns:a16="http://schemas.microsoft.com/office/drawing/2014/main" id="{08C48CBA-C2D1-46B1-9CC5-8F9D9CD271DD}"/>
                </a:ext>
              </a:extLst>
            </p:cNvPr>
            <p:cNvSpPr/>
            <p:nvPr/>
          </p:nvSpPr>
          <p:spPr>
            <a:xfrm>
              <a:off x="4771591" y="1468708"/>
              <a:ext cx="160111" cy="160111"/>
            </a:xfrm>
            <a:prstGeom prst="star5">
              <a:avLst/>
            </a:prstGeom>
            <a:solidFill>
              <a:srgbClr val="00456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grpSp>
      <p:grpSp>
        <p:nvGrpSpPr>
          <p:cNvPr id="75" name="组合 74">
            <a:extLst>
              <a:ext uri="{FF2B5EF4-FFF2-40B4-BE49-F238E27FC236}">
                <a16:creationId xmlns:a16="http://schemas.microsoft.com/office/drawing/2014/main" id="{733A3385-D462-478D-A653-6745B30FBDE3}"/>
              </a:ext>
            </a:extLst>
          </p:cNvPr>
          <p:cNvGrpSpPr/>
          <p:nvPr/>
        </p:nvGrpSpPr>
        <p:grpSpPr>
          <a:xfrm flipH="1">
            <a:off x="7205710" y="1648268"/>
            <a:ext cx="758330" cy="1509396"/>
            <a:chOff x="4355021" y="1468708"/>
            <a:chExt cx="758330" cy="1509396"/>
          </a:xfrm>
        </p:grpSpPr>
        <p:sp>
          <p:nvSpPr>
            <p:cNvPr id="76" name="星形: 五角 75">
              <a:extLst>
                <a:ext uri="{FF2B5EF4-FFF2-40B4-BE49-F238E27FC236}">
                  <a16:creationId xmlns:a16="http://schemas.microsoft.com/office/drawing/2014/main" id="{2D1F972A-604C-4581-9AE8-0CD88F41C244}"/>
                </a:ext>
              </a:extLst>
            </p:cNvPr>
            <p:cNvSpPr/>
            <p:nvPr/>
          </p:nvSpPr>
          <p:spPr>
            <a:xfrm>
              <a:off x="4652433" y="2517186"/>
              <a:ext cx="460918" cy="460918"/>
            </a:xfrm>
            <a:prstGeom prst="star5">
              <a:avLst/>
            </a:prstGeom>
            <a:solidFill>
              <a:srgbClr val="FF626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77" name="星形: 五角 76">
              <a:extLst>
                <a:ext uri="{FF2B5EF4-FFF2-40B4-BE49-F238E27FC236}">
                  <a16:creationId xmlns:a16="http://schemas.microsoft.com/office/drawing/2014/main" id="{1E62B4AF-C5E3-4C40-9B39-B6B2CC30AB7D}"/>
                </a:ext>
              </a:extLst>
            </p:cNvPr>
            <p:cNvSpPr/>
            <p:nvPr/>
          </p:nvSpPr>
          <p:spPr>
            <a:xfrm>
              <a:off x="4355021" y="2208794"/>
              <a:ext cx="320445" cy="320445"/>
            </a:xfrm>
            <a:prstGeom prst="star5">
              <a:avLst/>
            </a:prstGeom>
            <a:solidFill>
              <a:srgbClr val="60A8A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78" name="星形: 五角 77">
              <a:extLst>
                <a:ext uri="{FF2B5EF4-FFF2-40B4-BE49-F238E27FC236}">
                  <a16:creationId xmlns:a16="http://schemas.microsoft.com/office/drawing/2014/main" id="{96ACDF28-8D51-4EAA-BCA8-C9B791D850D7}"/>
                </a:ext>
              </a:extLst>
            </p:cNvPr>
            <p:cNvSpPr/>
            <p:nvPr/>
          </p:nvSpPr>
          <p:spPr>
            <a:xfrm>
              <a:off x="4431095" y="1794975"/>
              <a:ext cx="228299" cy="228299"/>
            </a:xfrm>
            <a:prstGeom prst="star5">
              <a:avLst/>
            </a:prstGeom>
            <a:solidFill>
              <a:srgbClr val="FFC73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79" name="星形: 五角 78">
              <a:extLst>
                <a:ext uri="{FF2B5EF4-FFF2-40B4-BE49-F238E27FC236}">
                  <a16:creationId xmlns:a16="http://schemas.microsoft.com/office/drawing/2014/main" id="{3B7B9B4F-2F72-4E18-8E56-918C8D8A059E}"/>
                </a:ext>
              </a:extLst>
            </p:cNvPr>
            <p:cNvSpPr/>
            <p:nvPr/>
          </p:nvSpPr>
          <p:spPr>
            <a:xfrm>
              <a:off x="4771591" y="1468708"/>
              <a:ext cx="160111" cy="160111"/>
            </a:xfrm>
            <a:prstGeom prst="star5">
              <a:avLst/>
            </a:prstGeom>
            <a:solidFill>
              <a:srgbClr val="00456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grpSp>
      <p:pic>
        <p:nvPicPr>
          <p:cNvPr id="33" name="图形 32">
            <a:extLst>
              <a:ext uri="{FF2B5EF4-FFF2-40B4-BE49-F238E27FC236}">
                <a16:creationId xmlns:a16="http://schemas.microsoft.com/office/drawing/2014/main" id="{691936AE-9F41-48DB-9097-2D72D1EDA095}"/>
              </a:ext>
            </a:extLst>
          </p:cNvPr>
          <p:cNvPicPr>
            <a:picLocks noChangeAspect="1"/>
          </p:cNvPicPr>
          <p:nvPr/>
        </p:nvPicPr>
        <p:blipFill>
          <a:blip r:embed="rId13">
            <a:extLst>
              <a:ext uri="{96DAC541-7B7A-43D3-8B79-37D633B846F1}">
                <asvg:svgBlip xmlns:asvg="http://schemas.microsoft.com/office/drawing/2016/SVG/main" r:embed="rId14"/>
              </a:ext>
            </a:extLst>
          </a:blip>
          <a:srcRect b="12361" l="2082" r="12030" t="8841"/>
          <a:stretch>
            <a:fillRect/>
          </a:stretch>
        </p:blipFill>
        <p:spPr>
          <a:xfrm>
            <a:off x="6113274" y="1818997"/>
            <a:ext cx="1096230" cy="1275941"/>
          </a:xfrm>
          <a:custGeom>
            <a:rect b="b" l="l" r="r" t="t"/>
            <a:pathLst>
              <a:path h="1275941" w="1096230">
                <a:moveTo>
                  <a:pt x="634975" y="0"/>
                </a:moveTo>
                <a:lnTo>
                  <a:pt x="938770" y="0"/>
                </a:lnTo>
                <a:lnTo>
                  <a:pt x="938770" y="771042"/>
                </a:lnTo>
                <a:lnTo>
                  <a:pt x="1096230" y="771042"/>
                </a:lnTo>
                <a:lnTo>
                  <a:pt x="1096230" y="1041463"/>
                </a:lnTo>
                <a:lnTo>
                  <a:pt x="938770" y="1041463"/>
                </a:lnTo>
                <a:lnTo>
                  <a:pt x="938770" y="1275941"/>
                </a:lnTo>
                <a:lnTo>
                  <a:pt x="634975" y="1275941"/>
                </a:lnTo>
                <a:lnTo>
                  <a:pt x="634975" y="1041463"/>
                </a:lnTo>
                <a:lnTo>
                  <a:pt x="0" y="1041463"/>
                </a:lnTo>
                <a:lnTo>
                  <a:pt x="0" y="754782"/>
                </a:lnTo>
                <a:lnTo>
                  <a:pt x="634975" y="0"/>
                </a:lnTo>
                <a:close/>
                <a:moveTo>
                  <a:pt x="634975" y="376228"/>
                </a:moveTo>
                <a:lnTo>
                  <a:pt x="299463" y="771042"/>
                </a:lnTo>
                <a:lnTo>
                  <a:pt x="634975" y="771042"/>
                </a:lnTo>
                <a:lnTo>
                  <a:pt x="634975" y="376228"/>
                </a:lnTo>
                <a:close/>
              </a:path>
            </a:pathLst>
          </a:custGeom>
        </p:spPr>
      </p:pic>
    </p:spTree>
    <p:extLst>
      <p:ext uri="{BB962C8B-B14F-4D97-AF65-F5344CB8AC3E}">
        <p14:creationId val="1385468208"/>
      </p:ext>
    </p:extLst>
  </p:cSld>
  <p:clrMapOvr>
    <a:masterClrMapping/>
  </p:clrMapOvr>
  <mc:AlternateContent>
    <mc:Choice Requires="p14">
      <p:transition p14:dur="1500" spd="slow">
        <p:random/>
      </p:transition>
    </mc:Choice>
    <mc:Fallback>
      <p:transition spd="slow">
        <p:random/>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id="5" nodeType="withEffect" presetClass="entr" presetID="2" presetSubtype="9">
                                  <p:stCondLst>
                                    <p:cond delay="0"/>
                                  </p:stCondLst>
                                  <p:childTnLst>
                                    <p:set>
                                      <p:cBhvr>
                                        <p:cTn dur="1" fill="hold" id="6">
                                          <p:stCondLst>
                                            <p:cond delay="0"/>
                                          </p:stCondLst>
                                        </p:cTn>
                                        <p:tgtEl>
                                          <p:spTgt spid="37"/>
                                        </p:tgtEl>
                                        <p:attrNameLst>
                                          <p:attrName>style.visibility</p:attrName>
                                        </p:attrNameLst>
                                      </p:cBhvr>
                                      <p:to>
                                        <p:strVal val="visible"/>
                                      </p:to>
                                    </p:set>
                                    <p:anim calcmode="lin" valueType="num">
                                      <p:cBhvr additive="base">
                                        <p:cTn dur="1250" fill="hold" id="7"/>
                                        <p:tgtEl>
                                          <p:spTgt spid="37"/>
                                        </p:tgtEl>
                                        <p:attrNameLst>
                                          <p:attrName>ppt_x</p:attrName>
                                        </p:attrNameLst>
                                      </p:cBhvr>
                                      <p:tavLst>
                                        <p:tav tm="0">
                                          <p:val>
                                            <p:strVal val="0-#ppt_w/2"/>
                                          </p:val>
                                        </p:tav>
                                        <p:tav tm="100000">
                                          <p:val>
                                            <p:strVal val="#ppt_x"/>
                                          </p:val>
                                        </p:tav>
                                      </p:tavLst>
                                    </p:anim>
                                    <p:anim calcmode="lin" valueType="num">
                                      <p:cBhvr additive="base">
                                        <p:cTn dur="1250" fill="hold" id="8"/>
                                        <p:tgtEl>
                                          <p:spTgt spid="37"/>
                                        </p:tgtEl>
                                        <p:attrNameLst>
                                          <p:attrName>ppt_y</p:attrName>
                                        </p:attrNameLst>
                                      </p:cBhvr>
                                      <p:tavLst>
                                        <p:tav tm="0">
                                          <p:val>
                                            <p:strVal val="0-#ppt_h/2"/>
                                          </p:val>
                                        </p:tav>
                                        <p:tav tm="100000">
                                          <p:val>
                                            <p:strVal val="#ppt_y"/>
                                          </p:val>
                                        </p:tav>
                                      </p:tavLst>
                                    </p:anim>
                                  </p:childTnLst>
                                </p:cTn>
                              </p:par>
                              <p:par>
                                <p:cTn fill="hold" id="9" nodeType="withEffect" presetClass="entr" presetID="2" presetSubtype="3">
                                  <p:stCondLst>
                                    <p:cond delay="0"/>
                                  </p:stCondLst>
                                  <p:childTnLst>
                                    <p:set>
                                      <p:cBhvr>
                                        <p:cTn dur="1" fill="hold" id="10">
                                          <p:stCondLst>
                                            <p:cond delay="0"/>
                                          </p:stCondLst>
                                        </p:cTn>
                                        <p:tgtEl>
                                          <p:spTgt spid="33"/>
                                        </p:tgtEl>
                                        <p:attrNameLst>
                                          <p:attrName>style.visibility</p:attrName>
                                        </p:attrNameLst>
                                      </p:cBhvr>
                                      <p:to>
                                        <p:strVal val="visible"/>
                                      </p:to>
                                    </p:set>
                                    <p:anim calcmode="lin" valueType="num">
                                      <p:cBhvr additive="base">
                                        <p:cTn dur="1250" fill="hold" id="11"/>
                                        <p:tgtEl>
                                          <p:spTgt spid="33"/>
                                        </p:tgtEl>
                                        <p:attrNameLst>
                                          <p:attrName>ppt_x</p:attrName>
                                        </p:attrNameLst>
                                      </p:cBhvr>
                                      <p:tavLst>
                                        <p:tav tm="0">
                                          <p:val>
                                            <p:strVal val="1+#ppt_w/2"/>
                                          </p:val>
                                        </p:tav>
                                        <p:tav tm="100000">
                                          <p:val>
                                            <p:strVal val="#ppt_x"/>
                                          </p:val>
                                        </p:tav>
                                      </p:tavLst>
                                    </p:anim>
                                    <p:anim calcmode="lin" valueType="num">
                                      <p:cBhvr additive="base">
                                        <p:cTn dur="1250" fill="hold" id="12"/>
                                        <p:tgtEl>
                                          <p:spTgt spid="33"/>
                                        </p:tgtEl>
                                        <p:attrNameLst>
                                          <p:attrName>ppt_y</p:attrName>
                                        </p:attrNameLst>
                                      </p:cBhvr>
                                      <p:tavLst>
                                        <p:tav tm="0">
                                          <p:val>
                                            <p:strVal val="0-#ppt_h/2"/>
                                          </p:val>
                                        </p:tav>
                                        <p:tav tm="100000">
                                          <p:val>
                                            <p:strVal val="#ppt_y"/>
                                          </p:val>
                                        </p:tav>
                                      </p:tavLst>
                                    </p:anim>
                                  </p:childTnLst>
                                </p:cTn>
                              </p:par>
                            </p:childTnLst>
                          </p:cTn>
                        </p:par>
                        <p:par>
                          <p:cTn fill="hold" id="13" nodeType="afterGroup">
                            <p:stCondLst>
                              <p:cond delay="1250"/>
                            </p:stCondLst>
                            <p:childTnLst>
                              <p:par>
                                <p:cTn fill="hold" id="14" nodeType="afterEffect" presetClass="entr" presetID="22" presetSubtype="4">
                                  <p:stCondLst>
                                    <p:cond delay="0"/>
                                  </p:stCondLst>
                                  <p:childTnLst>
                                    <p:set>
                                      <p:cBhvr>
                                        <p:cTn dur="1" fill="hold" id="15">
                                          <p:stCondLst>
                                            <p:cond delay="0"/>
                                          </p:stCondLst>
                                        </p:cTn>
                                        <p:tgtEl>
                                          <p:spTgt spid="63"/>
                                        </p:tgtEl>
                                        <p:attrNameLst>
                                          <p:attrName>style.visibility</p:attrName>
                                        </p:attrNameLst>
                                      </p:cBhvr>
                                      <p:to>
                                        <p:strVal val="visible"/>
                                      </p:to>
                                    </p:set>
                                    <p:animEffect filter="wipe(down)" transition="in">
                                      <p:cBhvr>
                                        <p:cTn dur="500" id="16"/>
                                        <p:tgtEl>
                                          <p:spTgt spid="63"/>
                                        </p:tgtEl>
                                      </p:cBhvr>
                                    </p:animEffect>
                                  </p:childTnLst>
                                </p:cTn>
                              </p:par>
                              <p:par>
                                <p:cTn fill="hold" id="17" nodeType="withEffect" presetClass="entr" presetID="22" presetSubtype="4">
                                  <p:stCondLst>
                                    <p:cond delay="0"/>
                                  </p:stCondLst>
                                  <p:childTnLst>
                                    <p:set>
                                      <p:cBhvr>
                                        <p:cTn dur="1" fill="hold" id="18">
                                          <p:stCondLst>
                                            <p:cond delay="0"/>
                                          </p:stCondLst>
                                        </p:cTn>
                                        <p:tgtEl>
                                          <p:spTgt spid="75"/>
                                        </p:tgtEl>
                                        <p:attrNameLst>
                                          <p:attrName>style.visibility</p:attrName>
                                        </p:attrNameLst>
                                      </p:cBhvr>
                                      <p:to>
                                        <p:strVal val="visible"/>
                                      </p:to>
                                    </p:set>
                                    <p:animEffect filter="wipe(down)" transition="in">
                                      <p:cBhvr>
                                        <p:cTn dur="500" id="19"/>
                                        <p:tgtEl>
                                          <p:spTgt spid="75"/>
                                        </p:tgtEl>
                                      </p:cBhvr>
                                    </p:animEffect>
                                  </p:childTnLst>
                                </p:cTn>
                              </p:par>
                            </p:childTnLst>
                          </p:cTn>
                        </p:par>
                        <p:par>
                          <p:cTn fill="hold" id="20" nodeType="afterGroup">
                            <p:stCondLst>
                              <p:cond delay="1750"/>
                            </p:stCondLst>
                            <p:childTnLst>
                              <p:par>
                                <p:cTn fill="hold" grpId="0" id="21" nodeType="afterEffect" presetClass="entr" presetID="56" presetSubtype="0">
                                  <p:stCondLst>
                                    <p:cond delay="0"/>
                                  </p:stCondLst>
                                  <p:iterate type="lt">
                                    <p:tmPct val="13333"/>
                                  </p:iterate>
                                  <p:childTnLst>
                                    <p:set>
                                      <p:cBhvr>
                                        <p:cTn dur="1" fill="hold" id="22">
                                          <p:stCondLst>
                                            <p:cond delay="0"/>
                                          </p:stCondLst>
                                        </p:cTn>
                                        <p:tgtEl>
                                          <p:spTgt spid="14"/>
                                        </p:tgtEl>
                                        <p:attrNameLst>
                                          <p:attrName>style.visibility</p:attrName>
                                        </p:attrNameLst>
                                      </p:cBhvr>
                                      <p:to>
                                        <p:strVal val="visible"/>
                                      </p:to>
                                    </p:set>
                                    <p:anim by="(-#ppt_w*2)" calcmode="lin" valueType="num">
                                      <p:cBhvr rctx="PPT">
                                        <p:cTn autoRev="1" dur="375" fill="hold" id="23">
                                          <p:stCondLst>
                                            <p:cond delay="0"/>
                                          </p:stCondLst>
                                        </p:cTn>
                                        <p:tgtEl>
                                          <p:spTgt spid="14"/>
                                        </p:tgtEl>
                                        <p:attrNameLst>
                                          <p:attrName>ppt_w</p:attrName>
                                        </p:attrNameLst>
                                      </p:cBhvr>
                                    </p:anim>
                                    <p:anim by="(#ppt_w*0.50)" calcmode="lin" valueType="num">
                                      <p:cBhvr>
                                        <p:cTn autoRev="1" decel="50000" dur="375" fill="hold" id="24">
                                          <p:stCondLst>
                                            <p:cond delay="0"/>
                                          </p:stCondLst>
                                        </p:cTn>
                                        <p:tgtEl>
                                          <p:spTgt spid="14"/>
                                        </p:tgtEl>
                                        <p:attrNameLst>
                                          <p:attrName>ppt_x</p:attrName>
                                        </p:attrNameLst>
                                      </p:cBhvr>
                                    </p:anim>
                                    <p:anim calcmode="lin" from="(-#ppt_h/2)" to="(#ppt_y)" valueType="num">
                                      <p:cBhvr>
                                        <p:cTn dur="750" fill="hold" id="25">
                                          <p:stCondLst>
                                            <p:cond delay="0"/>
                                          </p:stCondLst>
                                        </p:cTn>
                                        <p:tgtEl>
                                          <p:spTgt spid="14"/>
                                        </p:tgtEl>
                                        <p:attrNameLst>
                                          <p:attrName>ppt_y</p:attrName>
                                        </p:attrNameLst>
                                      </p:cBhvr>
                                    </p:anim>
                                    <p:animRot by="21600000">
                                      <p:cBhvr>
                                        <p:cTn dur="750" fill="hold" id="26">
                                          <p:stCondLst>
                                            <p:cond delay="0"/>
                                          </p:stCondLst>
                                        </p:cTn>
                                        <p:tgtEl>
                                          <p:spTgt spid="14"/>
                                        </p:tgtEl>
                                        <p:attrNameLst>
                                          <p:attrName>r</p:attrName>
                                        </p:attrNameLst>
                                      </p:cBhvr>
                                    </p:animRot>
                                  </p:childTnLst>
                                </p:cTn>
                              </p:par>
                            </p:childTnLst>
                          </p:cTn>
                        </p:par>
                        <p:par>
                          <p:cTn fill="hold" id="27" nodeType="afterGroup">
                            <p:stCondLst>
                              <p:cond delay="2500"/>
                            </p:stCondLst>
                            <p:childTnLst>
                              <p:par>
                                <p:cTn fill="hold" grpId="1" id="28" nodeType="afterEffect" presetClass="emph" presetID="26" presetSubtype="0">
                                  <p:stCondLst>
                                    <p:cond delay="0"/>
                                  </p:stCondLst>
                                  <p:iterate type="lt">
                                    <p:tmPct val="10000"/>
                                  </p:iterate>
                                  <p:childTnLst>
                                    <p:animEffect filter="fade" transition="out">
                                      <p:cBhvr>
                                        <p:cTn dur="500" id="29" tmFilter="0, 0; .2, .5; .8, .5; 1, 0"/>
                                        <p:tgtEl>
                                          <p:spTgt spid="14"/>
                                        </p:tgtEl>
                                      </p:cBhvr>
                                    </p:animEffect>
                                    <p:animScale>
                                      <p:cBhvr>
                                        <p:cTn autoRev="1" dur="250" fill="hold" id="30"/>
                                        <p:tgtEl>
                                          <p:spTgt spid="14"/>
                                        </p:tgtEl>
                                      </p:cBhvr>
                                      <p:by x="105000" y="105000"/>
                                    </p:animScale>
                                  </p:childTnLst>
                                </p:cTn>
                              </p:par>
                            </p:childTnLst>
                          </p:cTn>
                        </p:par>
                        <p:par>
                          <p:cTn fill="hold" id="31" nodeType="afterGroup">
                            <p:stCondLst>
                              <p:cond delay="3000"/>
                            </p:stCondLst>
                            <p:childTnLst>
                              <p:par>
                                <p:cTn fill="hold" id="32" nodeType="afterEffect" presetClass="entr" presetID="16" presetSubtype="21">
                                  <p:stCondLst>
                                    <p:cond delay="0"/>
                                  </p:stCondLst>
                                  <p:childTnLst>
                                    <p:set>
                                      <p:cBhvr>
                                        <p:cTn dur="1" fill="hold" id="33">
                                          <p:stCondLst>
                                            <p:cond delay="0"/>
                                          </p:stCondLst>
                                        </p:cTn>
                                        <p:tgtEl>
                                          <p:spTgt spid="2"/>
                                        </p:tgtEl>
                                        <p:attrNameLst>
                                          <p:attrName>style.visibility</p:attrName>
                                        </p:attrNameLst>
                                      </p:cBhvr>
                                      <p:to>
                                        <p:strVal val="visible"/>
                                      </p:to>
                                    </p:set>
                                    <p:animEffect filter="barn(inVertical)" transition="in">
                                      <p:cBhvr>
                                        <p:cTn dur="500" id="34"/>
                                        <p:tgtEl>
                                          <p:spTgt spid="2"/>
                                        </p:tgtEl>
                                      </p:cBhvr>
                                    </p:animEffect>
                                  </p:childTnLst>
                                </p:cTn>
                              </p:par>
                              <p:par>
                                <p:cTn fill="hold" grpId="0" id="35" nodeType="withEffect" presetClass="entr" presetID="16" presetSubtype="37">
                                  <p:stCondLst>
                                    <p:cond delay="0"/>
                                  </p:stCondLst>
                                  <p:childTnLst>
                                    <p:set>
                                      <p:cBhvr>
                                        <p:cTn dur="1" fill="hold" id="36">
                                          <p:stCondLst>
                                            <p:cond delay="0"/>
                                          </p:stCondLst>
                                        </p:cTn>
                                        <p:tgtEl>
                                          <p:spTgt spid="17"/>
                                        </p:tgtEl>
                                        <p:attrNameLst>
                                          <p:attrName>style.visibility</p:attrName>
                                        </p:attrNameLst>
                                      </p:cBhvr>
                                      <p:to>
                                        <p:strVal val="visible"/>
                                      </p:to>
                                    </p:set>
                                    <p:animEffect filter="barn(outVertical)" transition="in">
                                      <p:cBhvr>
                                        <p:cTn dur="500" id="37"/>
                                        <p:tgtEl>
                                          <p:spTgt spid="17"/>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14"/>
      <p:bldP grpId="1" spid="14"/>
      <p:bldP grpId="0" spid="17"/>
    </p:bldLst>
  </p:timing>
</p:sld>
</file>

<file path=ppt/slides/slide2.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6" name="矩形 5">
            <a:extLst>
              <a:ext uri="{FF2B5EF4-FFF2-40B4-BE49-F238E27FC236}">
                <a16:creationId xmlns:a16="http://schemas.microsoft.com/office/drawing/2014/main" id="{4E9DDF95-C13C-4C2F-98FA-BA6DF0A643F6}"/>
              </a:ext>
            </a:extLst>
          </p:cNvPr>
          <p:cNvSpPr/>
          <p:nvPr/>
        </p:nvSpPr>
        <p:spPr>
          <a:xfrm>
            <a:off x="0" y="0"/>
            <a:ext cx="3645927" cy="6858000"/>
          </a:xfrm>
          <a:prstGeom prst="rect">
            <a:avLst/>
          </a:prstGeom>
          <a:solidFill>
            <a:srgbClr val="A0CBD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7" name="矩形 6">
            <a:extLst>
              <a:ext uri="{FF2B5EF4-FFF2-40B4-BE49-F238E27FC236}">
                <a16:creationId xmlns:a16="http://schemas.microsoft.com/office/drawing/2014/main" id="{6AAD9E68-964B-476D-BD2F-D973751F83F0}"/>
              </a:ext>
            </a:extLst>
          </p:cNvPr>
          <p:cNvSpPr/>
          <p:nvPr/>
        </p:nvSpPr>
        <p:spPr>
          <a:xfrm>
            <a:off x="3645927" y="0"/>
            <a:ext cx="8546073" cy="6858000"/>
          </a:xfrm>
          <a:prstGeom prst="rect">
            <a:avLst/>
          </a:prstGeom>
          <a:solidFill>
            <a:srgbClr val="FAD3D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13" name="矩形: 圆角 12">
            <a:extLst>
              <a:ext uri="{FF2B5EF4-FFF2-40B4-BE49-F238E27FC236}">
                <a16:creationId xmlns:a16="http://schemas.microsoft.com/office/drawing/2014/main" id="{2392C822-3930-40D4-A6E1-218B19530898}"/>
              </a:ext>
            </a:extLst>
          </p:cNvPr>
          <p:cNvSpPr/>
          <p:nvPr/>
        </p:nvSpPr>
        <p:spPr>
          <a:xfrm>
            <a:off x="3645927" y="191067"/>
            <a:ext cx="8336523" cy="6480628"/>
          </a:xfrm>
          <a:prstGeom prst="roundRect">
            <a:avLst>
              <a:gd fmla="val 3785" name="adj"/>
            </a:avLst>
          </a:prstGeom>
          <a:solidFill>
            <a:schemeClr val="bg1"/>
          </a:solidFill>
          <a:ln w="20320">
            <a:solidFill>
              <a:srgbClr val="8E8E8E"/>
            </a:solidFill>
          </a:ln>
          <a:effectLst>
            <a:outerShdw algn="tl" blurRad="139700" dir="2700000" dist="381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pic>
        <p:nvPicPr>
          <p:cNvPr id="14" name="图片 13">
            <a:extLst>
              <a:ext uri="{FF2B5EF4-FFF2-40B4-BE49-F238E27FC236}">
                <a16:creationId xmlns:a16="http://schemas.microsoft.com/office/drawing/2014/main" id="{1B50A14D-2544-4414-8AEB-25EF28F27027}"/>
              </a:ext>
            </a:extLst>
          </p:cNvPr>
          <p:cNvPicPr>
            <a:picLocks noChangeAspect="1"/>
          </p:cNvPicPr>
          <p:nvPr/>
        </p:nvPicPr>
        <p:blipFill>
          <a:blip r:embed="rId3">
            <a:extLst>
              <a:ext uri="{28A0092B-C50C-407E-A947-70E740481C1C}">
                <a14:useLocalDpi val="0"/>
              </a:ext>
            </a:extLst>
          </a:blip>
          <a:srcRect b="33610" l="12695" r="52504" t="28208"/>
          <a:stretch>
            <a:fillRect/>
          </a:stretch>
        </p:blipFill>
        <p:spPr>
          <a:xfrm>
            <a:off x="2921006" y="596900"/>
            <a:ext cx="3405971" cy="5562600"/>
          </a:xfrm>
          <a:prstGeom prst="rect">
            <a:avLst/>
          </a:prstGeom>
          <a:effectLst/>
        </p:spPr>
      </p:pic>
      <p:pic>
        <p:nvPicPr>
          <p:cNvPr id="8" name="图形 7">
            <a:extLst>
              <a:ext uri="{FF2B5EF4-FFF2-40B4-BE49-F238E27FC236}">
                <a16:creationId xmlns:a16="http://schemas.microsoft.com/office/drawing/2014/main" id="{D494B95E-A927-4EA7-9787-3E90F7E4E508}"/>
              </a:ext>
            </a:extLst>
          </p:cNvPr>
          <p:cNvPicPr>
            <a:picLocks noChangeAspect="1"/>
          </p:cNvPicPr>
          <p:nvPr/>
        </p:nvPicPr>
        <p:blipFill>
          <a:blip r:embed="rId4">
            <a:extLst>
              <a:ext uri="{96DAC541-7B7A-43D3-8B79-37D633B846F1}">
                <asvg:svgBlip xmlns:asvg="http://schemas.microsoft.com/office/drawing/2016/SVG/main" r:embed="rId5"/>
              </a:ext>
            </a:extLst>
          </a:blip>
          <a:srcRect b="5167" l="7384" r="26979" t="2999"/>
          <a:stretch>
            <a:fillRect/>
          </a:stretch>
        </p:blipFill>
        <p:spPr>
          <a:xfrm>
            <a:off x="5470367" y="1346815"/>
            <a:ext cx="339868" cy="603266"/>
          </a:xfrm>
          <a:custGeom>
            <a:rect b="b" l="l" r="r" t="t"/>
            <a:pathLst>
              <a:path h="1837631" w="1035286">
                <a:moveTo>
                  <a:pt x="619939" y="0"/>
                </a:moveTo>
                <a:lnTo>
                  <a:pt x="1035286" y="0"/>
                </a:lnTo>
                <a:lnTo>
                  <a:pt x="1035286" y="1837632"/>
                </a:lnTo>
                <a:lnTo>
                  <a:pt x="527503" y="1837632"/>
                </a:lnTo>
                <a:lnTo>
                  <a:pt x="527503" y="633496"/>
                </a:lnTo>
                <a:cubicBezTo>
                  <a:pt x="445337" y="695942"/>
                  <a:pt x="365842" y="746474"/>
                  <a:pt x="289017" y="785092"/>
                </a:cubicBezTo>
                <a:cubicBezTo>
                  <a:pt x="212192" y="823710"/>
                  <a:pt x="115853" y="860684"/>
                  <a:pt x="0" y="896015"/>
                </a:cubicBezTo>
                <a:lnTo>
                  <a:pt x="0" y="484366"/>
                </a:lnTo>
                <a:cubicBezTo>
                  <a:pt x="170904" y="429315"/>
                  <a:pt x="303602" y="363172"/>
                  <a:pt x="398092" y="285936"/>
                </a:cubicBezTo>
                <a:cubicBezTo>
                  <a:pt x="492582" y="208701"/>
                  <a:pt x="566531" y="113389"/>
                  <a:pt x="619939" y="0"/>
                </a:cubicBezTo>
                <a:close/>
              </a:path>
            </a:pathLst>
          </a:custGeom>
        </p:spPr>
      </p:pic>
      <p:sp>
        <p:nvSpPr>
          <p:cNvPr id="9" name="文本框 8">
            <a:extLst>
              <a:ext uri="{FF2B5EF4-FFF2-40B4-BE49-F238E27FC236}">
                <a16:creationId xmlns:a16="http://schemas.microsoft.com/office/drawing/2014/main" id="{5812ABB1-6D03-47ED-80F2-BEC53269F752}"/>
              </a:ext>
            </a:extLst>
          </p:cNvPr>
          <p:cNvSpPr txBox="1"/>
          <p:nvPr/>
        </p:nvSpPr>
        <p:spPr>
          <a:xfrm>
            <a:off x="6039326" y="1321763"/>
            <a:ext cx="4202414" cy="579120"/>
          </a:xfrm>
          <a:prstGeom prst="rect">
            <a:avLst/>
          </a:prstGeom>
          <a:noFill/>
        </p:spPr>
        <p:txBody>
          <a:bodyPr rtlCol="0" wrap="square">
            <a:spAutoFit/>
          </a:bodyPr>
          <a:lstStyle>
            <a:defPPr>
              <a:defRPr lang="zh-CN"/>
            </a:defPPr>
            <a:lvl1pPr algn="ctr">
              <a:defRPr sz="3600">
                <a:solidFill>
                  <a:schemeClr val="tx1">
                    <a:lumMod val="85000"/>
                    <a:lumOff val="15000"/>
                  </a:schemeClr>
                </a:solidFill>
                <a:latin charset="-122" panose="02000500000000000000" pitchFamily="2" typeface="方正雅士黑 简"/>
                <a:ea charset="-122" panose="02000500000000000000" pitchFamily="2" typeface="方正雅士黑 简"/>
              </a:defRPr>
            </a:lvl1pPr>
          </a:lstStyle>
          <a:p>
            <a:pPr algn="l"/>
            <a:r>
              <a:rPr altLang="zh-CN" lang="en-US" spc="300" sz="3200"/>
              <a:t>·目标完成情况</a:t>
            </a:r>
          </a:p>
        </p:txBody>
      </p:sp>
      <p:sp>
        <p:nvSpPr>
          <p:cNvPr id="10" name="矩形 9">
            <a:extLst>
              <a:ext uri="{FF2B5EF4-FFF2-40B4-BE49-F238E27FC236}">
                <a16:creationId xmlns:a16="http://schemas.microsoft.com/office/drawing/2014/main" id="{382F3FE9-C66D-43C5-AC91-E450615115F5}"/>
              </a:ext>
            </a:extLst>
          </p:cNvPr>
          <p:cNvSpPr/>
          <p:nvPr/>
        </p:nvSpPr>
        <p:spPr>
          <a:xfrm>
            <a:off x="700545" y="-3530"/>
            <a:ext cx="2449830" cy="2834640"/>
          </a:xfrm>
          <a:prstGeom prst="rect">
            <a:avLst/>
          </a:prstGeom>
        </p:spPr>
        <p:txBody>
          <a:bodyPr wrap="none">
            <a:spAutoFit/>
          </a:bodyPr>
          <a:lstStyle/>
          <a:p>
            <a:r>
              <a:rPr altLang="en-US" lang="zh-CN" spc="-150" sz="18000">
                <a:solidFill>
                  <a:schemeClr val="bg1"/>
                </a:solidFill>
                <a:latin charset="-122" panose="02000500000000000000" pitchFamily="2" typeface="方正手迹-小欢卡通体"/>
                <a:ea charset="-122" panose="02000500000000000000" pitchFamily="2" typeface="方正手迹-小欢卡通体"/>
              </a:rPr>
              <a:t>目</a:t>
            </a:r>
          </a:p>
        </p:txBody>
      </p:sp>
      <p:sp>
        <p:nvSpPr>
          <p:cNvPr id="11" name="矩形 10">
            <a:extLst>
              <a:ext uri="{FF2B5EF4-FFF2-40B4-BE49-F238E27FC236}">
                <a16:creationId xmlns:a16="http://schemas.microsoft.com/office/drawing/2014/main" id="{8ED7D6BA-80C1-4581-BEBC-5171927AB9F4}"/>
              </a:ext>
            </a:extLst>
          </p:cNvPr>
          <p:cNvSpPr/>
          <p:nvPr/>
        </p:nvSpPr>
        <p:spPr>
          <a:xfrm>
            <a:off x="912141" y="2011636"/>
            <a:ext cx="2068830" cy="2377440"/>
          </a:xfrm>
          <a:prstGeom prst="rect">
            <a:avLst/>
          </a:prstGeom>
        </p:spPr>
        <p:txBody>
          <a:bodyPr wrap="none">
            <a:spAutoFit/>
          </a:bodyPr>
          <a:lstStyle/>
          <a:p>
            <a:r>
              <a:rPr altLang="en-US" lang="zh-CN" spc="-150" sz="15000">
                <a:solidFill>
                  <a:schemeClr val="bg1"/>
                </a:solidFill>
                <a:latin charset="-122" panose="02000500000000000000" pitchFamily="2" typeface="方正手迹-小欢卡通体"/>
                <a:ea charset="-122" panose="02000500000000000000" pitchFamily="2" typeface="方正手迹-小欢卡通体"/>
              </a:rPr>
              <a:t>录</a:t>
            </a:r>
          </a:p>
        </p:txBody>
      </p:sp>
      <p:sp>
        <p:nvSpPr>
          <p:cNvPr id="12" name="文本框 11">
            <a:extLst>
              <a:ext uri="{FF2B5EF4-FFF2-40B4-BE49-F238E27FC236}">
                <a16:creationId xmlns:a16="http://schemas.microsoft.com/office/drawing/2014/main" id="{C94B21F7-1412-47FD-BA17-6E31953DADD1}"/>
              </a:ext>
            </a:extLst>
          </p:cNvPr>
          <p:cNvSpPr txBox="1"/>
          <p:nvPr/>
        </p:nvSpPr>
        <p:spPr>
          <a:xfrm rot="5400000">
            <a:off x="-1265370" y="3542137"/>
            <a:ext cx="4475325" cy="822960"/>
          </a:xfrm>
          <a:prstGeom prst="rect">
            <a:avLst/>
          </a:prstGeom>
          <a:noFill/>
        </p:spPr>
        <p:txBody>
          <a:bodyPr rtlCol="0" wrap="square">
            <a:spAutoFit/>
          </a:bodyPr>
          <a:lstStyle/>
          <a:p>
            <a:r>
              <a:rPr altLang="zh-CN" lang="en-US" sz="4800">
                <a:solidFill>
                  <a:schemeClr val="bg1"/>
                </a:solidFill>
                <a:latin charset="0" panose="020b0a04020102020204" pitchFamily="34" typeface="Arial Black"/>
              </a:rPr>
              <a:t>contents</a:t>
            </a:r>
          </a:p>
        </p:txBody>
      </p:sp>
      <p:grpSp>
        <p:nvGrpSpPr>
          <p:cNvPr id="16" name="组合 15">
            <a:extLst>
              <a:ext uri="{FF2B5EF4-FFF2-40B4-BE49-F238E27FC236}">
                <a16:creationId xmlns:a16="http://schemas.microsoft.com/office/drawing/2014/main" id="{D1C1BB29-F170-45EC-818B-DA8705E35F08}"/>
              </a:ext>
            </a:extLst>
          </p:cNvPr>
          <p:cNvGrpSpPr/>
          <p:nvPr/>
        </p:nvGrpSpPr>
        <p:grpSpPr>
          <a:xfrm>
            <a:off x="86834" y="5037066"/>
            <a:ext cx="3349543" cy="1851336"/>
            <a:chOff x="1773535" y="2559857"/>
            <a:chExt cx="5406331" cy="2988154"/>
          </a:xfrm>
        </p:grpSpPr>
        <p:pic>
          <p:nvPicPr>
            <p:cNvPr id="17" name="图形 16">
              <a:extLst>
                <a:ext uri="{FF2B5EF4-FFF2-40B4-BE49-F238E27FC236}">
                  <a16:creationId xmlns:a16="http://schemas.microsoft.com/office/drawing/2014/main" id="{99829B22-C63C-4AB3-BB77-2CDC56870E2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773535" y="2578217"/>
              <a:ext cx="1811141" cy="2297714"/>
            </a:xfrm>
            <a:prstGeom prst="rect">
              <a:avLst/>
            </a:prstGeom>
          </p:spPr>
        </p:pic>
        <p:pic>
          <p:nvPicPr>
            <p:cNvPr id="18" name="图形 17">
              <a:extLst>
                <a:ext uri="{FF2B5EF4-FFF2-40B4-BE49-F238E27FC236}">
                  <a16:creationId xmlns:a16="http://schemas.microsoft.com/office/drawing/2014/main" id="{FF855D05-759E-4C40-969E-B65F53837ED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335933" y="2588013"/>
              <a:ext cx="2959999" cy="2959998"/>
            </a:xfrm>
            <a:prstGeom prst="rect">
              <a:avLst/>
            </a:prstGeom>
          </p:spPr>
        </p:pic>
        <p:pic>
          <p:nvPicPr>
            <p:cNvPr id="19" name="图形 18">
              <a:extLst>
                <a:ext uri="{FF2B5EF4-FFF2-40B4-BE49-F238E27FC236}">
                  <a16:creationId xmlns:a16="http://schemas.microsoft.com/office/drawing/2014/main" id="{CB2CB223-0D50-4A4D-A4CF-609A789E9BD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961149" y="2559857"/>
              <a:ext cx="1811144" cy="2297714"/>
            </a:xfrm>
            <a:prstGeom prst="rect">
              <a:avLst/>
            </a:prstGeom>
          </p:spPr>
        </p:pic>
        <p:pic>
          <p:nvPicPr>
            <p:cNvPr id="20" name="图形 19">
              <a:extLst>
                <a:ext uri="{FF2B5EF4-FFF2-40B4-BE49-F238E27FC236}">
                  <a16:creationId xmlns:a16="http://schemas.microsoft.com/office/drawing/2014/main" id="{1DB2403B-865A-48F7-B110-D594E3F8EB2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679410" y="3176863"/>
              <a:ext cx="2500456" cy="1973331"/>
            </a:xfrm>
            <a:prstGeom prst="rect">
              <a:avLst/>
            </a:prstGeom>
          </p:spPr>
        </p:pic>
      </p:grpSp>
      <p:pic>
        <p:nvPicPr>
          <p:cNvPr id="21" name="图片 20">
            <a:extLst>
              <a:ext uri="{FF2B5EF4-FFF2-40B4-BE49-F238E27FC236}">
                <a16:creationId xmlns:a16="http://schemas.microsoft.com/office/drawing/2014/main" id="{48B8E1E2-7D75-4C1B-908C-7C9A5858BDA9}"/>
              </a:ext>
            </a:extLst>
          </p:cNvPr>
          <p:cNvPicPr>
            <a:picLocks noChangeAspect="1"/>
          </p:cNvPicPr>
          <p:nvPr/>
        </p:nvPicPr>
        <p:blipFill>
          <a:blip r:embed="rId14"/>
          <a:srcRect l="56738"/>
          <a:stretch>
            <a:fillRect/>
          </a:stretch>
        </p:blipFill>
        <p:spPr>
          <a:xfrm rot="19728996">
            <a:off x="1252901" y="4423808"/>
            <a:ext cx="1770851" cy="1207572"/>
          </a:xfrm>
          <a:prstGeom prst="rect">
            <a:avLst/>
          </a:prstGeom>
        </p:spPr>
      </p:pic>
      <p:pic>
        <p:nvPicPr>
          <p:cNvPr id="22" name="图形 21">
            <a:extLst>
              <a:ext uri="{FF2B5EF4-FFF2-40B4-BE49-F238E27FC236}">
                <a16:creationId xmlns:a16="http://schemas.microsoft.com/office/drawing/2014/main" id="{DCFDDBF6-077C-45A4-8601-63A0D34CDFB5}"/>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754311" y="1287769"/>
            <a:ext cx="268506" cy="268506"/>
          </a:xfrm>
          <a:prstGeom prst="rect">
            <a:avLst/>
          </a:prstGeom>
        </p:spPr>
      </p:pic>
      <p:sp>
        <p:nvSpPr>
          <p:cNvPr id="2" name="矩形 1">
            <a:extLst>
              <a:ext uri="{FF2B5EF4-FFF2-40B4-BE49-F238E27FC236}">
                <a16:creationId xmlns:a16="http://schemas.microsoft.com/office/drawing/2014/main" id="{E3B7EAC6-E3EE-49F0-B12B-0990F1389EDF}"/>
              </a:ext>
            </a:extLst>
          </p:cNvPr>
          <p:cNvSpPr/>
          <p:nvPr/>
        </p:nvSpPr>
        <p:spPr>
          <a:xfrm>
            <a:off x="6490176" y="1789675"/>
            <a:ext cx="3272155" cy="304800"/>
          </a:xfrm>
          <a:prstGeom prst="rect">
            <a:avLst/>
          </a:prstGeom>
        </p:spPr>
        <p:txBody>
          <a:bodyPr wrap="none">
            <a:spAutoFit/>
          </a:bodyPr>
          <a:lstStyle/>
          <a:p>
            <a:r>
              <a:rPr altLang="zh-CN" lang="en-US" sz="1400">
                <a:solidFill>
                  <a:schemeClr val="bg1">
                    <a:lumMod val="85000"/>
                  </a:schemeClr>
                </a:solidFill>
              </a:rPr>
              <a:t>Click To Add A Detailed Text Description</a:t>
            </a:r>
          </a:p>
        </p:txBody>
      </p:sp>
      <p:sp>
        <p:nvSpPr>
          <p:cNvPr id="24" name="文本框 23">
            <a:extLst>
              <a:ext uri="{FF2B5EF4-FFF2-40B4-BE49-F238E27FC236}">
                <a16:creationId xmlns:a16="http://schemas.microsoft.com/office/drawing/2014/main" id="{BA27853C-A02E-4022-A7B2-76E173B2C370}"/>
              </a:ext>
            </a:extLst>
          </p:cNvPr>
          <p:cNvSpPr txBox="1"/>
          <p:nvPr/>
        </p:nvSpPr>
        <p:spPr>
          <a:xfrm>
            <a:off x="6039326" y="2478228"/>
            <a:ext cx="4202414" cy="579120"/>
          </a:xfrm>
          <a:prstGeom prst="rect">
            <a:avLst/>
          </a:prstGeom>
          <a:noFill/>
        </p:spPr>
        <p:txBody>
          <a:bodyPr rtlCol="0" wrap="square">
            <a:spAutoFit/>
          </a:bodyPr>
          <a:lstStyle>
            <a:defPPr>
              <a:defRPr lang="zh-CN"/>
            </a:defPPr>
            <a:lvl1pPr algn="ctr">
              <a:defRPr sz="3600">
                <a:solidFill>
                  <a:schemeClr val="tx1">
                    <a:lumMod val="85000"/>
                    <a:lumOff val="15000"/>
                  </a:schemeClr>
                </a:solidFill>
                <a:latin charset="-122" panose="02000500000000000000" pitchFamily="2" typeface="方正雅士黑 简"/>
                <a:ea charset="-122" panose="02000500000000000000" pitchFamily="2" typeface="方正雅士黑 简"/>
              </a:defRPr>
            </a:lvl1pPr>
          </a:lstStyle>
          <a:p>
            <a:pPr algn="l"/>
            <a:r>
              <a:rPr altLang="zh-CN" lang="en-US" spc="300" sz="3200"/>
              <a:t>·工作成果展示</a:t>
            </a:r>
          </a:p>
        </p:txBody>
      </p:sp>
      <p:sp>
        <p:nvSpPr>
          <p:cNvPr id="25" name="矩形 24">
            <a:extLst>
              <a:ext uri="{FF2B5EF4-FFF2-40B4-BE49-F238E27FC236}">
                <a16:creationId xmlns:a16="http://schemas.microsoft.com/office/drawing/2014/main" id="{2D1BD47F-2378-4591-BDB1-A1A7F1C767DE}"/>
              </a:ext>
            </a:extLst>
          </p:cNvPr>
          <p:cNvSpPr/>
          <p:nvPr/>
        </p:nvSpPr>
        <p:spPr>
          <a:xfrm>
            <a:off x="6490176" y="2946140"/>
            <a:ext cx="3272155" cy="304800"/>
          </a:xfrm>
          <a:prstGeom prst="rect">
            <a:avLst/>
          </a:prstGeom>
        </p:spPr>
        <p:txBody>
          <a:bodyPr wrap="none">
            <a:spAutoFit/>
          </a:bodyPr>
          <a:lstStyle/>
          <a:p>
            <a:r>
              <a:rPr altLang="zh-CN" lang="en-US" sz="1400">
                <a:solidFill>
                  <a:schemeClr val="bg1">
                    <a:lumMod val="85000"/>
                  </a:schemeClr>
                </a:solidFill>
              </a:rPr>
              <a:t>Click To Add A Detailed Text Description</a:t>
            </a:r>
          </a:p>
        </p:txBody>
      </p:sp>
      <p:sp>
        <p:nvSpPr>
          <p:cNvPr id="27" name="文本框 26">
            <a:extLst>
              <a:ext uri="{FF2B5EF4-FFF2-40B4-BE49-F238E27FC236}">
                <a16:creationId xmlns:a16="http://schemas.microsoft.com/office/drawing/2014/main" id="{9B677814-AE20-4DFE-9FD3-9ED1A0CD7D99}"/>
              </a:ext>
            </a:extLst>
          </p:cNvPr>
          <p:cNvSpPr txBox="1"/>
          <p:nvPr/>
        </p:nvSpPr>
        <p:spPr>
          <a:xfrm>
            <a:off x="6039326" y="3610206"/>
            <a:ext cx="4202414" cy="579120"/>
          </a:xfrm>
          <a:prstGeom prst="rect">
            <a:avLst/>
          </a:prstGeom>
          <a:noFill/>
        </p:spPr>
        <p:txBody>
          <a:bodyPr rtlCol="0" wrap="square">
            <a:spAutoFit/>
          </a:bodyPr>
          <a:lstStyle>
            <a:defPPr>
              <a:defRPr lang="zh-CN"/>
            </a:defPPr>
            <a:lvl1pPr algn="ctr">
              <a:defRPr sz="3600">
                <a:solidFill>
                  <a:schemeClr val="tx1">
                    <a:lumMod val="85000"/>
                    <a:lumOff val="15000"/>
                  </a:schemeClr>
                </a:solidFill>
                <a:latin charset="-122" panose="02000500000000000000" pitchFamily="2" typeface="方正雅士黑 简"/>
                <a:ea charset="-122" panose="02000500000000000000" pitchFamily="2" typeface="方正雅士黑 简"/>
              </a:defRPr>
            </a:lvl1pPr>
          </a:lstStyle>
          <a:p>
            <a:pPr algn="l"/>
            <a:r>
              <a:rPr altLang="zh-CN" lang="en-US" spc="300" sz="3200"/>
              <a:t>·工作经验总结</a:t>
            </a:r>
          </a:p>
        </p:txBody>
      </p:sp>
      <p:sp>
        <p:nvSpPr>
          <p:cNvPr id="28" name="矩形 27">
            <a:extLst>
              <a:ext uri="{FF2B5EF4-FFF2-40B4-BE49-F238E27FC236}">
                <a16:creationId xmlns:a16="http://schemas.microsoft.com/office/drawing/2014/main" id="{F542EE93-CE16-4842-A644-2557B0C1D3F8}"/>
              </a:ext>
            </a:extLst>
          </p:cNvPr>
          <p:cNvSpPr/>
          <p:nvPr/>
        </p:nvSpPr>
        <p:spPr>
          <a:xfrm>
            <a:off x="6490176" y="4078119"/>
            <a:ext cx="3272155" cy="304800"/>
          </a:xfrm>
          <a:prstGeom prst="rect">
            <a:avLst/>
          </a:prstGeom>
        </p:spPr>
        <p:txBody>
          <a:bodyPr wrap="none">
            <a:spAutoFit/>
          </a:bodyPr>
          <a:lstStyle/>
          <a:p>
            <a:r>
              <a:rPr altLang="zh-CN" lang="en-US" sz="1400">
                <a:solidFill>
                  <a:schemeClr val="bg1">
                    <a:lumMod val="85000"/>
                  </a:schemeClr>
                </a:solidFill>
              </a:rPr>
              <a:t>Click To Add A Detailed Text Description</a:t>
            </a:r>
          </a:p>
        </p:txBody>
      </p:sp>
      <p:sp>
        <p:nvSpPr>
          <p:cNvPr id="30" name="文本框 29">
            <a:extLst>
              <a:ext uri="{FF2B5EF4-FFF2-40B4-BE49-F238E27FC236}">
                <a16:creationId xmlns:a16="http://schemas.microsoft.com/office/drawing/2014/main" id="{D1C73648-EFA2-4FCC-AD39-7EF2708BE910}"/>
              </a:ext>
            </a:extLst>
          </p:cNvPr>
          <p:cNvSpPr txBox="1"/>
          <p:nvPr/>
        </p:nvSpPr>
        <p:spPr>
          <a:xfrm>
            <a:off x="6039326" y="4723130"/>
            <a:ext cx="4202414" cy="579120"/>
          </a:xfrm>
          <a:prstGeom prst="rect">
            <a:avLst/>
          </a:prstGeom>
          <a:noFill/>
        </p:spPr>
        <p:txBody>
          <a:bodyPr rtlCol="0" wrap="square">
            <a:spAutoFit/>
          </a:bodyPr>
          <a:lstStyle>
            <a:defPPr>
              <a:defRPr lang="zh-CN"/>
            </a:defPPr>
            <a:lvl1pPr algn="ctr">
              <a:defRPr sz="3600">
                <a:solidFill>
                  <a:schemeClr val="tx1">
                    <a:lumMod val="85000"/>
                    <a:lumOff val="15000"/>
                  </a:schemeClr>
                </a:solidFill>
                <a:latin charset="-122" panose="02000500000000000000" pitchFamily="2" typeface="方正雅士黑 简"/>
                <a:ea charset="-122" panose="02000500000000000000" pitchFamily="2" typeface="方正雅士黑 简"/>
              </a:defRPr>
            </a:lvl1pPr>
          </a:lstStyle>
          <a:p>
            <a:pPr algn="l"/>
            <a:r>
              <a:rPr altLang="zh-CN" lang="en-US" spc="300" sz="3200"/>
              <a:t>·未来工作计划</a:t>
            </a:r>
          </a:p>
        </p:txBody>
      </p:sp>
      <p:sp>
        <p:nvSpPr>
          <p:cNvPr id="31" name="矩形 30">
            <a:extLst>
              <a:ext uri="{FF2B5EF4-FFF2-40B4-BE49-F238E27FC236}">
                <a16:creationId xmlns:a16="http://schemas.microsoft.com/office/drawing/2014/main" id="{D131D8CF-0F43-4460-ADDB-068C21B1EE7C}"/>
              </a:ext>
            </a:extLst>
          </p:cNvPr>
          <p:cNvSpPr/>
          <p:nvPr/>
        </p:nvSpPr>
        <p:spPr>
          <a:xfrm>
            <a:off x="6490176" y="5191041"/>
            <a:ext cx="3272155" cy="304800"/>
          </a:xfrm>
          <a:prstGeom prst="rect">
            <a:avLst/>
          </a:prstGeom>
        </p:spPr>
        <p:txBody>
          <a:bodyPr wrap="none">
            <a:spAutoFit/>
          </a:bodyPr>
          <a:lstStyle/>
          <a:p>
            <a:r>
              <a:rPr altLang="zh-CN" lang="en-US" sz="1400">
                <a:solidFill>
                  <a:schemeClr val="bg1">
                    <a:lumMod val="85000"/>
                  </a:schemeClr>
                </a:solidFill>
              </a:rPr>
              <a:t>Click To Add A Detailed Text Description</a:t>
            </a:r>
          </a:p>
        </p:txBody>
      </p:sp>
      <p:pic>
        <p:nvPicPr>
          <p:cNvPr id="32" name="图形 31">
            <a:extLst>
              <a:ext uri="{FF2B5EF4-FFF2-40B4-BE49-F238E27FC236}">
                <a16:creationId xmlns:a16="http://schemas.microsoft.com/office/drawing/2014/main" id="{B6D2BE5F-76FC-42B4-A6C6-5E8CADBE3FAF}"/>
              </a:ext>
            </a:extLst>
          </p:cNvPr>
          <p:cNvPicPr>
            <a:picLocks noChangeAspect="1"/>
          </p:cNvPicPr>
          <p:nvPr/>
        </p:nvPicPr>
        <p:blipFill>
          <a:blip r:embed="rId10">
            <a:extLst>
              <a:ext uri="{96DAC541-7B7A-43D3-8B79-37D633B846F1}">
                <asvg:svgBlip xmlns:asvg="http://schemas.microsoft.com/office/drawing/2016/SVG/main" r:embed="rId17"/>
              </a:ext>
            </a:extLst>
          </a:blip>
          <a:stretch>
            <a:fillRect/>
          </a:stretch>
        </p:blipFill>
        <p:spPr>
          <a:xfrm>
            <a:off x="5426504" y="2426647"/>
            <a:ext cx="534174" cy="731169"/>
          </a:xfrm>
          <a:prstGeom prst="rect">
            <a:avLst/>
          </a:prstGeom>
        </p:spPr>
      </p:pic>
      <p:pic>
        <p:nvPicPr>
          <p:cNvPr id="33" name="图形 32">
            <a:extLst>
              <a:ext uri="{FF2B5EF4-FFF2-40B4-BE49-F238E27FC236}">
                <a16:creationId xmlns:a16="http://schemas.microsoft.com/office/drawing/2014/main" id="{992BBF98-659D-488A-B7C7-DAC0CD175D19}"/>
              </a:ext>
            </a:extLst>
          </p:cNvPr>
          <p:cNvPicPr>
            <a:picLocks noChangeAspect="1"/>
          </p:cNvPicPr>
          <p:nvPr/>
        </p:nvPicPr>
        <p:blipFill>
          <a:blip r:embed="rId18">
            <a:extLst>
              <a:ext uri="{96DAC541-7B7A-43D3-8B79-37D633B846F1}">
                <asvg:svgBlip xmlns:asvg="http://schemas.microsoft.com/office/drawing/2016/SVG/main" r:embed="rId19"/>
              </a:ext>
            </a:extLst>
          </a:blip>
          <a:srcRect b="5670" l="19172" r="22017" t="1040"/>
          <a:stretch>
            <a:fillRect/>
          </a:stretch>
        </p:blipFill>
        <p:spPr>
          <a:xfrm>
            <a:off x="5498794" y="3599253"/>
            <a:ext cx="444837" cy="585321"/>
          </a:xfrm>
          <a:custGeom>
            <a:rect b="b" l="l" r="r" t="t"/>
            <a:pathLst>
              <a:path h="1297335" w="1036327">
                <a:moveTo>
                  <a:pt x="507467" y="0"/>
                </a:moveTo>
                <a:cubicBezTo>
                  <a:pt x="671202" y="0"/>
                  <a:pt x="789583" y="30522"/>
                  <a:pt x="862608" y="91567"/>
                </a:cubicBezTo>
                <a:cubicBezTo>
                  <a:pt x="935633" y="152611"/>
                  <a:pt x="972145" y="229345"/>
                  <a:pt x="972145" y="321767"/>
                </a:cubicBezTo>
                <a:cubicBezTo>
                  <a:pt x="972145" y="375965"/>
                  <a:pt x="957312" y="425029"/>
                  <a:pt x="927646" y="468958"/>
                </a:cubicBezTo>
                <a:cubicBezTo>
                  <a:pt x="897979" y="512887"/>
                  <a:pt x="853194" y="551396"/>
                  <a:pt x="793291" y="584486"/>
                </a:cubicBezTo>
                <a:cubicBezTo>
                  <a:pt x="841784" y="596466"/>
                  <a:pt x="878867" y="610444"/>
                  <a:pt x="904540" y="626418"/>
                </a:cubicBezTo>
                <a:cubicBezTo>
                  <a:pt x="946187" y="652091"/>
                  <a:pt x="978564" y="685894"/>
                  <a:pt x="1001669" y="727826"/>
                </a:cubicBezTo>
                <a:cubicBezTo>
                  <a:pt x="1024775" y="769758"/>
                  <a:pt x="1036328" y="819820"/>
                  <a:pt x="1036328" y="878012"/>
                </a:cubicBezTo>
                <a:cubicBezTo>
                  <a:pt x="1036328" y="951037"/>
                  <a:pt x="1017215" y="1021067"/>
                  <a:pt x="978991" y="1088102"/>
                </a:cubicBezTo>
                <a:cubicBezTo>
                  <a:pt x="940767" y="1155136"/>
                  <a:pt x="885713" y="1206767"/>
                  <a:pt x="813829" y="1242994"/>
                </a:cubicBezTo>
                <a:cubicBezTo>
                  <a:pt x="741945" y="1279222"/>
                  <a:pt x="647526" y="1297335"/>
                  <a:pt x="530572" y="1297335"/>
                </a:cubicBezTo>
                <a:cubicBezTo>
                  <a:pt x="416471" y="1297335"/>
                  <a:pt x="326473" y="1283928"/>
                  <a:pt x="260580" y="1257114"/>
                </a:cubicBezTo>
                <a:cubicBezTo>
                  <a:pt x="194686" y="1230301"/>
                  <a:pt x="140488" y="1191078"/>
                  <a:pt x="97985" y="1139447"/>
                </a:cubicBezTo>
                <a:cubicBezTo>
                  <a:pt x="55482" y="1087816"/>
                  <a:pt x="22820" y="1022921"/>
                  <a:pt x="0" y="944761"/>
                </a:cubicBezTo>
                <a:lnTo>
                  <a:pt x="348295" y="898550"/>
                </a:lnTo>
                <a:cubicBezTo>
                  <a:pt x="361987" y="968723"/>
                  <a:pt x="383239" y="1017359"/>
                  <a:pt x="412049" y="1044458"/>
                </a:cubicBezTo>
                <a:cubicBezTo>
                  <a:pt x="440860" y="1071557"/>
                  <a:pt x="477515" y="1085106"/>
                  <a:pt x="522015" y="1085106"/>
                </a:cubicBezTo>
                <a:cubicBezTo>
                  <a:pt x="568796" y="1085106"/>
                  <a:pt x="607734" y="1067991"/>
                  <a:pt x="638826" y="1033761"/>
                </a:cubicBezTo>
                <a:cubicBezTo>
                  <a:pt x="669919" y="999530"/>
                  <a:pt x="685465" y="953890"/>
                  <a:pt x="685465" y="896839"/>
                </a:cubicBezTo>
                <a:cubicBezTo>
                  <a:pt x="685465" y="838647"/>
                  <a:pt x="670489" y="793577"/>
                  <a:pt x="640538" y="761628"/>
                </a:cubicBezTo>
                <a:cubicBezTo>
                  <a:pt x="610586" y="729680"/>
                  <a:pt x="569937" y="713706"/>
                  <a:pt x="518592" y="713706"/>
                </a:cubicBezTo>
                <a:cubicBezTo>
                  <a:pt x="491207" y="713706"/>
                  <a:pt x="453554" y="720552"/>
                  <a:pt x="405631" y="734244"/>
                </a:cubicBezTo>
                <a:lnTo>
                  <a:pt x="423602" y="485217"/>
                </a:lnTo>
                <a:cubicBezTo>
                  <a:pt x="442999" y="488070"/>
                  <a:pt x="458118" y="489496"/>
                  <a:pt x="468957" y="489496"/>
                </a:cubicBezTo>
                <a:cubicBezTo>
                  <a:pt x="514598" y="489496"/>
                  <a:pt x="552679" y="474948"/>
                  <a:pt x="583202" y="445852"/>
                </a:cubicBezTo>
                <a:cubicBezTo>
                  <a:pt x="613724" y="416756"/>
                  <a:pt x="628985" y="382241"/>
                  <a:pt x="628985" y="342305"/>
                </a:cubicBezTo>
                <a:cubicBezTo>
                  <a:pt x="628985" y="304081"/>
                  <a:pt x="617575" y="273559"/>
                  <a:pt x="594754" y="250739"/>
                </a:cubicBezTo>
                <a:cubicBezTo>
                  <a:pt x="571934" y="227918"/>
                  <a:pt x="540556" y="216508"/>
                  <a:pt x="500621" y="216508"/>
                </a:cubicBezTo>
                <a:cubicBezTo>
                  <a:pt x="459544" y="216508"/>
                  <a:pt x="426169" y="228917"/>
                  <a:pt x="400497" y="253734"/>
                </a:cubicBezTo>
                <a:cubicBezTo>
                  <a:pt x="374824" y="278551"/>
                  <a:pt x="357423" y="322052"/>
                  <a:pt x="348295" y="384237"/>
                </a:cubicBezTo>
                <a:lnTo>
                  <a:pt x="18827" y="325190"/>
                </a:lnTo>
                <a:cubicBezTo>
                  <a:pt x="46211" y="220216"/>
                  <a:pt x="98841" y="139775"/>
                  <a:pt x="176715" y="83865"/>
                </a:cubicBezTo>
                <a:cubicBezTo>
                  <a:pt x="254589" y="27955"/>
                  <a:pt x="364840" y="0"/>
                  <a:pt x="507467" y="0"/>
                </a:cubicBezTo>
                <a:close/>
              </a:path>
            </a:pathLst>
          </a:custGeom>
        </p:spPr>
      </p:pic>
      <p:pic>
        <p:nvPicPr>
          <p:cNvPr id="34" name="图形 33">
            <a:extLst>
              <a:ext uri="{FF2B5EF4-FFF2-40B4-BE49-F238E27FC236}">
                <a16:creationId xmlns:a16="http://schemas.microsoft.com/office/drawing/2014/main" id="{0011A79B-9548-434D-B6E0-32F708DD9F27}"/>
              </a:ext>
            </a:extLst>
          </p:cNvPr>
          <p:cNvPicPr>
            <a:picLocks noChangeAspect="1"/>
          </p:cNvPicPr>
          <p:nvPr/>
        </p:nvPicPr>
        <p:blipFill>
          <a:blip r:embed="rId20">
            <a:extLst>
              <a:ext uri="{96DAC541-7B7A-43D3-8B79-37D633B846F1}">
                <asvg:svgBlip xmlns:asvg="http://schemas.microsoft.com/office/drawing/2016/SVG/main" r:embed="rId21"/>
              </a:ext>
            </a:extLst>
          </a:blip>
          <a:srcRect b="12361" l="2082" r="12030" t="8841"/>
          <a:stretch>
            <a:fillRect/>
          </a:stretch>
        </p:blipFill>
        <p:spPr>
          <a:xfrm>
            <a:off x="5470367" y="4761906"/>
            <a:ext cx="469096" cy="545998"/>
          </a:xfrm>
          <a:custGeom>
            <a:rect b="b" l="l" r="r" t="t"/>
            <a:pathLst>
              <a:path h="1275941" w="1096230">
                <a:moveTo>
                  <a:pt x="634975" y="0"/>
                </a:moveTo>
                <a:lnTo>
                  <a:pt x="938770" y="0"/>
                </a:lnTo>
                <a:lnTo>
                  <a:pt x="938770" y="771042"/>
                </a:lnTo>
                <a:lnTo>
                  <a:pt x="1096230" y="771042"/>
                </a:lnTo>
                <a:lnTo>
                  <a:pt x="1096230" y="1041463"/>
                </a:lnTo>
                <a:lnTo>
                  <a:pt x="938770" y="1041463"/>
                </a:lnTo>
                <a:lnTo>
                  <a:pt x="938770" y="1275941"/>
                </a:lnTo>
                <a:lnTo>
                  <a:pt x="634975" y="1275941"/>
                </a:lnTo>
                <a:lnTo>
                  <a:pt x="634975" y="1041463"/>
                </a:lnTo>
                <a:lnTo>
                  <a:pt x="0" y="1041463"/>
                </a:lnTo>
                <a:lnTo>
                  <a:pt x="0" y="754782"/>
                </a:lnTo>
                <a:lnTo>
                  <a:pt x="634975" y="0"/>
                </a:lnTo>
                <a:close/>
                <a:moveTo>
                  <a:pt x="634975" y="376228"/>
                </a:moveTo>
                <a:lnTo>
                  <a:pt x="299463" y="771042"/>
                </a:lnTo>
                <a:lnTo>
                  <a:pt x="634975" y="771042"/>
                </a:lnTo>
                <a:lnTo>
                  <a:pt x="634975" y="376228"/>
                </a:lnTo>
                <a:close/>
              </a:path>
            </a:pathLst>
          </a:custGeom>
        </p:spPr>
      </p:pic>
      <p:cxnSp>
        <p:nvCxnSpPr>
          <p:cNvPr id="4" name="直接连接符 3">
            <a:extLst>
              <a:ext uri="{FF2B5EF4-FFF2-40B4-BE49-F238E27FC236}">
                <a16:creationId xmlns:a16="http://schemas.microsoft.com/office/drawing/2014/main" id="{BA3BC38C-CE99-4627-830C-7466BFD18C2D}"/>
              </a:ext>
            </a:extLst>
          </p:cNvPr>
          <p:cNvCxnSpPr/>
          <p:nvPr/>
        </p:nvCxnSpPr>
        <p:spPr>
          <a:xfrm>
            <a:off x="5321012" y="2140994"/>
            <a:ext cx="5211634"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5" name="直接连接符 34">
            <a:extLst>
              <a:ext uri="{FF2B5EF4-FFF2-40B4-BE49-F238E27FC236}">
                <a16:creationId xmlns:a16="http://schemas.microsoft.com/office/drawing/2014/main" id="{9E2BABD0-86DB-421D-A28F-71C0844E62A9}"/>
              </a:ext>
            </a:extLst>
          </p:cNvPr>
          <p:cNvCxnSpPr/>
          <p:nvPr/>
        </p:nvCxnSpPr>
        <p:spPr>
          <a:xfrm>
            <a:off x="5321012" y="3261565"/>
            <a:ext cx="5211634"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6" name="直接连接符 35">
            <a:extLst>
              <a:ext uri="{FF2B5EF4-FFF2-40B4-BE49-F238E27FC236}">
                <a16:creationId xmlns:a16="http://schemas.microsoft.com/office/drawing/2014/main" id="{B0A191FF-1FCC-468D-B9E2-404E5CCC2DE9}"/>
              </a:ext>
            </a:extLst>
          </p:cNvPr>
          <p:cNvCxnSpPr/>
          <p:nvPr/>
        </p:nvCxnSpPr>
        <p:spPr>
          <a:xfrm>
            <a:off x="5321012" y="4382136"/>
            <a:ext cx="5211634"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7" name="直接连接符 36">
            <a:extLst>
              <a:ext uri="{FF2B5EF4-FFF2-40B4-BE49-F238E27FC236}">
                <a16:creationId xmlns:a16="http://schemas.microsoft.com/office/drawing/2014/main" id="{E2149C08-9738-4CFE-9A92-8F833511F00E}"/>
              </a:ext>
            </a:extLst>
          </p:cNvPr>
          <p:cNvCxnSpPr/>
          <p:nvPr/>
        </p:nvCxnSpPr>
        <p:spPr>
          <a:xfrm>
            <a:off x="5321012" y="5502707"/>
            <a:ext cx="5211634"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val="440954421"/>
      </p:ext>
    </p:extLst>
  </p:cSld>
  <p:clrMapOvr>
    <a:masterClrMapping/>
  </p:clrMapOvr>
  <mc:AlternateContent>
    <mc:Choice Requires="p14">
      <p:transition p14:dur="1500" spd="slow">
        <p:random/>
      </p:transition>
    </mc:Choice>
    <mc:Fallback>
      <p:transition spd="slow">
        <p:random/>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grpId="0" id="5" nodeType="withEffect" presetClass="entr" presetID="2" presetSubtype="9">
                                  <p:stCondLst>
                                    <p:cond delay="0"/>
                                  </p:stCondLst>
                                  <p:childTnLst>
                                    <p:set>
                                      <p:cBhvr>
                                        <p:cTn dur="1" fill="hold" id="6">
                                          <p:stCondLst>
                                            <p:cond delay="0"/>
                                          </p:stCondLst>
                                        </p:cTn>
                                        <p:tgtEl>
                                          <p:spTgt spid="10"/>
                                        </p:tgtEl>
                                        <p:attrNameLst>
                                          <p:attrName>style.visibility</p:attrName>
                                        </p:attrNameLst>
                                      </p:cBhvr>
                                      <p:to>
                                        <p:strVal val="visible"/>
                                      </p:to>
                                    </p:set>
                                    <p:anim calcmode="lin" valueType="num">
                                      <p:cBhvr additive="base">
                                        <p:cTn dur="1500" fill="hold" id="7"/>
                                        <p:tgtEl>
                                          <p:spTgt spid="10"/>
                                        </p:tgtEl>
                                        <p:attrNameLst>
                                          <p:attrName>ppt_x</p:attrName>
                                        </p:attrNameLst>
                                      </p:cBhvr>
                                      <p:tavLst>
                                        <p:tav tm="0">
                                          <p:val>
                                            <p:strVal val="0-#ppt_w/2"/>
                                          </p:val>
                                        </p:tav>
                                        <p:tav tm="100000">
                                          <p:val>
                                            <p:strVal val="#ppt_x"/>
                                          </p:val>
                                        </p:tav>
                                      </p:tavLst>
                                    </p:anim>
                                    <p:anim calcmode="lin" valueType="num">
                                      <p:cBhvr additive="base">
                                        <p:cTn dur="1500" fill="hold" id="8"/>
                                        <p:tgtEl>
                                          <p:spTgt spid="10"/>
                                        </p:tgtEl>
                                        <p:attrNameLst>
                                          <p:attrName>ppt_y</p:attrName>
                                        </p:attrNameLst>
                                      </p:cBhvr>
                                      <p:tavLst>
                                        <p:tav tm="0">
                                          <p:val>
                                            <p:strVal val="0-#ppt_h/2"/>
                                          </p:val>
                                        </p:tav>
                                        <p:tav tm="100000">
                                          <p:val>
                                            <p:strVal val="#ppt_y"/>
                                          </p:val>
                                        </p:tav>
                                      </p:tavLst>
                                    </p:anim>
                                  </p:childTnLst>
                                </p:cTn>
                              </p:par>
                              <p:par>
                                <p:cTn decel="100000" fill="hold" grpId="1" id="9" nodeType="withEffect" presetClass="entr" presetID="49" presetSubtype="0">
                                  <p:stCondLst>
                                    <p:cond delay="0"/>
                                  </p:stCondLst>
                                  <p:childTnLst>
                                    <p:set>
                                      <p:cBhvr>
                                        <p:cTn dur="1" fill="hold" id="10">
                                          <p:stCondLst>
                                            <p:cond delay="0"/>
                                          </p:stCondLst>
                                        </p:cTn>
                                        <p:tgtEl>
                                          <p:spTgt spid="10"/>
                                        </p:tgtEl>
                                        <p:attrNameLst>
                                          <p:attrName>style.visibility</p:attrName>
                                        </p:attrNameLst>
                                      </p:cBhvr>
                                      <p:to>
                                        <p:strVal val="visible"/>
                                      </p:to>
                                    </p:set>
                                    <p:anim calcmode="lin" valueType="num">
                                      <p:cBhvr>
                                        <p:cTn dur="1250" fill="hold" id="11"/>
                                        <p:tgtEl>
                                          <p:spTgt spid="10"/>
                                        </p:tgtEl>
                                        <p:attrNameLst>
                                          <p:attrName>ppt_w</p:attrName>
                                        </p:attrNameLst>
                                      </p:cBhvr>
                                      <p:tavLst>
                                        <p:tav tm="0">
                                          <p:val>
                                            <p:fltVal val="0"/>
                                          </p:val>
                                        </p:tav>
                                        <p:tav tm="100000">
                                          <p:val>
                                            <p:strVal val="#ppt_w"/>
                                          </p:val>
                                        </p:tav>
                                      </p:tavLst>
                                    </p:anim>
                                    <p:anim calcmode="lin" valueType="num">
                                      <p:cBhvr>
                                        <p:cTn dur="1250" fill="hold" id="12"/>
                                        <p:tgtEl>
                                          <p:spTgt spid="10"/>
                                        </p:tgtEl>
                                        <p:attrNameLst>
                                          <p:attrName>ppt_h</p:attrName>
                                        </p:attrNameLst>
                                      </p:cBhvr>
                                      <p:tavLst>
                                        <p:tav tm="0">
                                          <p:val>
                                            <p:fltVal val="0"/>
                                          </p:val>
                                        </p:tav>
                                        <p:tav tm="100000">
                                          <p:val>
                                            <p:strVal val="#ppt_h"/>
                                          </p:val>
                                        </p:tav>
                                      </p:tavLst>
                                    </p:anim>
                                    <p:anim calcmode="lin" valueType="num">
                                      <p:cBhvr>
                                        <p:cTn dur="1250" fill="hold" id="13"/>
                                        <p:tgtEl>
                                          <p:spTgt spid="10"/>
                                        </p:tgtEl>
                                        <p:attrNameLst>
                                          <p:attrName>style.rotation</p:attrName>
                                        </p:attrNameLst>
                                      </p:cBhvr>
                                      <p:tavLst>
                                        <p:tav tm="0">
                                          <p:val>
                                            <p:fltVal val="360"/>
                                          </p:val>
                                        </p:tav>
                                        <p:tav tm="100000">
                                          <p:val>
                                            <p:fltVal val="0"/>
                                          </p:val>
                                        </p:tav>
                                      </p:tavLst>
                                    </p:anim>
                                    <p:animEffect filter="fade" transition="in">
                                      <p:cBhvr>
                                        <p:cTn dur="1250" id="14"/>
                                        <p:tgtEl>
                                          <p:spTgt spid="10"/>
                                        </p:tgtEl>
                                      </p:cBhvr>
                                    </p:animEffect>
                                  </p:childTnLst>
                                </p:cTn>
                              </p:par>
                              <p:par>
                                <p:cTn fill="hold" grpId="0" id="15" nodeType="withEffect" presetClass="entr" presetID="2" presetSubtype="9">
                                  <p:stCondLst>
                                    <p:cond delay="250"/>
                                  </p:stCondLst>
                                  <p:childTnLst>
                                    <p:set>
                                      <p:cBhvr>
                                        <p:cTn dur="1" fill="hold" id="16">
                                          <p:stCondLst>
                                            <p:cond delay="0"/>
                                          </p:stCondLst>
                                        </p:cTn>
                                        <p:tgtEl>
                                          <p:spTgt spid="11"/>
                                        </p:tgtEl>
                                        <p:attrNameLst>
                                          <p:attrName>style.visibility</p:attrName>
                                        </p:attrNameLst>
                                      </p:cBhvr>
                                      <p:to>
                                        <p:strVal val="visible"/>
                                      </p:to>
                                    </p:set>
                                    <p:anim calcmode="lin" valueType="num">
                                      <p:cBhvr additive="base">
                                        <p:cTn dur="1500" fill="hold" id="17"/>
                                        <p:tgtEl>
                                          <p:spTgt spid="11"/>
                                        </p:tgtEl>
                                        <p:attrNameLst>
                                          <p:attrName>ppt_x</p:attrName>
                                        </p:attrNameLst>
                                      </p:cBhvr>
                                      <p:tavLst>
                                        <p:tav tm="0">
                                          <p:val>
                                            <p:strVal val="0-#ppt_w/2"/>
                                          </p:val>
                                        </p:tav>
                                        <p:tav tm="100000">
                                          <p:val>
                                            <p:strVal val="#ppt_x"/>
                                          </p:val>
                                        </p:tav>
                                      </p:tavLst>
                                    </p:anim>
                                    <p:anim calcmode="lin" valueType="num">
                                      <p:cBhvr additive="base">
                                        <p:cTn dur="1500" fill="hold" id="18"/>
                                        <p:tgtEl>
                                          <p:spTgt spid="11"/>
                                        </p:tgtEl>
                                        <p:attrNameLst>
                                          <p:attrName>ppt_y</p:attrName>
                                        </p:attrNameLst>
                                      </p:cBhvr>
                                      <p:tavLst>
                                        <p:tav tm="0">
                                          <p:val>
                                            <p:strVal val="0-#ppt_h/2"/>
                                          </p:val>
                                        </p:tav>
                                        <p:tav tm="100000">
                                          <p:val>
                                            <p:strVal val="#ppt_y"/>
                                          </p:val>
                                        </p:tav>
                                      </p:tavLst>
                                    </p:anim>
                                  </p:childTnLst>
                                </p:cTn>
                              </p:par>
                              <p:par>
                                <p:cTn decel="100000" fill="hold" grpId="1" id="19" nodeType="withEffect" presetClass="entr" presetID="49" presetSubtype="0">
                                  <p:stCondLst>
                                    <p:cond delay="250"/>
                                  </p:stCondLst>
                                  <p:childTnLst>
                                    <p:set>
                                      <p:cBhvr>
                                        <p:cTn dur="1" fill="hold" id="20">
                                          <p:stCondLst>
                                            <p:cond delay="0"/>
                                          </p:stCondLst>
                                        </p:cTn>
                                        <p:tgtEl>
                                          <p:spTgt spid="11"/>
                                        </p:tgtEl>
                                        <p:attrNameLst>
                                          <p:attrName>style.visibility</p:attrName>
                                        </p:attrNameLst>
                                      </p:cBhvr>
                                      <p:to>
                                        <p:strVal val="visible"/>
                                      </p:to>
                                    </p:set>
                                    <p:anim calcmode="lin" valueType="num">
                                      <p:cBhvr>
                                        <p:cTn dur="1250" fill="hold" id="21"/>
                                        <p:tgtEl>
                                          <p:spTgt spid="11"/>
                                        </p:tgtEl>
                                        <p:attrNameLst>
                                          <p:attrName>ppt_w</p:attrName>
                                        </p:attrNameLst>
                                      </p:cBhvr>
                                      <p:tavLst>
                                        <p:tav tm="0">
                                          <p:val>
                                            <p:fltVal val="0"/>
                                          </p:val>
                                        </p:tav>
                                        <p:tav tm="100000">
                                          <p:val>
                                            <p:strVal val="#ppt_w"/>
                                          </p:val>
                                        </p:tav>
                                      </p:tavLst>
                                    </p:anim>
                                    <p:anim calcmode="lin" valueType="num">
                                      <p:cBhvr>
                                        <p:cTn dur="1250" fill="hold" id="22"/>
                                        <p:tgtEl>
                                          <p:spTgt spid="11"/>
                                        </p:tgtEl>
                                        <p:attrNameLst>
                                          <p:attrName>ppt_h</p:attrName>
                                        </p:attrNameLst>
                                      </p:cBhvr>
                                      <p:tavLst>
                                        <p:tav tm="0">
                                          <p:val>
                                            <p:fltVal val="0"/>
                                          </p:val>
                                        </p:tav>
                                        <p:tav tm="100000">
                                          <p:val>
                                            <p:strVal val="#ppt_h"/>
                                          </p:val>
                                        </p:tav>
                                      </p:tavLst>
                                    </p:anim>
                                    <p:anim calcmode="lin" valueType="num">
                                      <p:cBhvr>
                                        <p:cTn dur="1250" fill="hold" id="23"/>
                                        <p:tgtEl>
                                          <p:spTgt spid="11"/>
                                        </p:tgtEl>
                                        <p:attrNameLst>
                                          <p:attrName>style.rotation</p:attrName>
                                        </p:attrNameLst>
                                      </p:cBhvr>
                                      <p:tavLst>
                                        <p:tav tm="0">
                                          <p:val>
                                            <p:fltVal val="360"/>
                                          </p:val>
                                        </p:tav>
                                        <p:tav tm="100000">
                                          <p:val>
                                            <p:fltVal val="0"/>
                                          </p:val>
                                        </p:tav>
                                      </p:tavLst>
                                    </p:anim>
                                    <p:animEffect filter="fade" transition="in">
                                      <p:cBhvr>
                                        <p:cTn dur="1250" id="24"/>
                                        <p:tgtEl>
                                          <p:spTgt spid="11"/>
                                        </p:tgtEl>
                                      </p:cBhvr>
                                    </p:animEffect>
                                  </p:childTnLst>
                                </p:cTn>
                              </p:par>
                            </p:childTnLst>
                          </p:cTn>
                        </p:par>
                        <p:par>
                          <p:cTn fill="hold" id="25" nodeType="afterGroup">
                            <p:stCondLst>
                              <p:cond delay="1750"/>
                            </p:stCondLst>
                            <p:childTnLst>
                              <p:par>
                                <p:cTn fill="hold" grpId="0" id="26" nodeType="afterEffect" presetClass="entr" presetID="2" presetSubtype="1">
                                  <p:stCondLst>
                                    <p:cond delay="0"/>
                                  </p:stCondLst>
                                  <p:iterate type="lt">
                                    <p:tmPct val="10000"/>
                                  </p:iterate>
                                  <p:childTnLst>
                                    <p:set>
                                      <p:cBhvr>
                                        <p:cTn dur="1" fill="hold" id="27">
                                          <p:stCondLst>
                                            <p:cond delay="0"/>
                                          </p:stCondLst>
                                        </p:cTn>
                                        <p:tgtEl>
                                          <p:spTgt spid="12"/>
                                        </p:tgtEl>
                                        <p:attrNameLst>
                                          <p:attrName>style.visibility</p:attrName>
                                        </p:attrNameLst>
                                      </p:cBhvr>
                                      <p:to>
                                        <p:strVal val="visible"/>
                                      </p:to>
                                    </p:set>
                                    <p:anim calcmode="lin" valueType="num">
                                      <p:cBhvr additive="base">
                                        <p:cTn dur="500" fill="hold" id="28"/>
                                        <p:tgtEl>
                                          <p:spTgt spid="12"/>
                                        </p:tgtEl>
                                        <p:attrNameLst>
                                          <p:attrName>ppt_x</p:attrName>
                                        </p:attrNameLst>
                                      </p:cBhvr>
                                      <p:tavLst>
                                        <p:tav tm="0">
                                          <p:val>
                                            <p:strVal val="#ppt_x"/>
                                          </p:val>
                                        </p:tav>
                                        <p:tav tm="100000">
                                          <p:val>
                                            <p:strVal val="#ppt_x"/>
                                          </p:val>
                                        </p:tav>
                                      </p:tavLst>
                                    </p:anim>
                                    <p:anim calcmode="lin" valueType="num">
                                      <p:cBhvr additive="base">
                                        <p:cTn dur="500" fill="hold" id="29"/>
                                        <p:tgtEl>
                                          <p:spTgt spid="12"/>
                                        </p:tgtEl>
                                        <p:attrNameLst>
                                          <p:attrName>ppt_y</p:attrName>
                                        </p:attrNameLst>
                                      </p:cBhvr>
                                      <p:tavLst>
                                        <p:tav tm="0">
                                          <p:val>
                                            <p:strVal val="0-#ppt_h/2"/>
                                          </p:val>
                                        </p:tav>
                                        <p:tav tm="100000">
                                          <p:val>
                                            <p:strVal val="#ppt_y"/>
                                          </p:val>
                                        </p:tav>
                                      </p:tavLst>
                                    </p:anim>
                                  </p:childTnLst>
                                </p:cTn>
                              </p:par>
                              <p:par>
                                <p:cTn fill="hold" id="30" nodeType="withEffect" presetClass="entr" presetID="53" presetSubtype="0">
                                  <p:stCondLst>
                                    <p:cond delay="0"/>
                                  </p:stCondLst>
                                  <p:childTnLst>
                                    <p:set>
                                      <p:cBhvr>
                                        <p:cTn dur="1" fill="hold" id="31">
                                          <p:stCondLst>
                                            <p:cond delay="0"/>
                                          </p:stCondLst>
                                        </p:cTn>
                                        <p:tgtEl>
                                          <p:spTgt spid="22"/>
                                        </p:tgtEl>
                                        <p:attrNameLst>
                                          <p:attrName>style.visibility</p:attrName>
                                        </p:attrNameLst>
                                      </p:cBhvr>
                                      <p:to>
                                        <p:strVal val="visible"/>
                                      </p:to>
                                    </p:set>
                                    <p:anim calcmode="lin" valueType="num">
                                      <p:cBhvr>
                                        <p:cTn dur="500" fill="hold" id="32"/>
                                        <p:tgtEl>
                                          <p:spTgt spid="22"/>
                                        </p:tgtEl>
                                        <p:attrNameLst>
                                          <p:attrName>ppt_w</p:attrName>
                                        </p:attrNameLst>
                                      </p:cBhvr>
                                      <p:tavLst>
                                        <p:tav tm="0">
                                          <p:val>
                                            <p:fltVal val="0"/>
                                          </p:val>
                                        </p:tav>
                                        <p:tav tm="100000">
                                          <p:val>
                                            <p:strVal val="#ppt_w"/>
                                          </p:val>
                                        </p:tav>
                                      </p:tavLst>
                                    </p:anim>
                                    <p:anim calcmode="lin" valueType="num">
                                      <p:cBhvr>
                                        <p:cTn dur="500" fill="hold" id="33"/>
                                        <p:tgtEl>
                                          <p:spTgt spid="22"/>
                                        </p:tgtEl>
                                        <p:attrNameLst>
                                          <p:attrName>ppt_h</p:attrName>
                                        </p:attrNameLst>
                                      </p:cBhvr>
                                      <p:tavLst>
                                        <p:tav tm="0">
                                          <p:val>
                                            <p:fltVal val="0"/>
                                          </p:val>
                                        </p:tav>
                                        <p:tav tm="100000">
                                          <p:val>
                                            <p:strVal val="#ppt_h"/>
                                          </p:val>
                                        </p:tav>
                                      </p:tavLst>
                                    </p:anim>
                                    <p:animEffect filter="fade" transition="in">
                                      <p:cBhvr>
                                        <p:cTn dur="500" id="34"/>
                                        <p:tgtEl>
                                          <p:spTgt spid="22"/>
                                        </p:tgtEl>
                                      </p:cBhvr>
                                    </p:animEffect>
                                  </p:childTnLst>
                                </p:cTn>
                              </p:par>
                            </p:childTnLst>
                          </p:cTn>
                        </p:par>
                        <p:par>
                          <p:cTn fill="hold" id="35" nodeType="afterGroup">
                            <p:stCondLst>
                              <p:cond delay="2250"/>
                            </p:stCondLst>
                            <p:childTnLst>
                              <p:par>
                                <p:cTn fill="hold" id="36" nodeType="afterEffect" presetClass="entr" presetID="53" presetSubtype="0">
                                  <p:stCondLst>
                                    <p:cond delay="0"/>
                                  </p:stCondLst>
                                  <p:childTnLst>
                                    <p:set>
                                      <p:cBhvr>
                                        <p:cTn dur="1" fill="hold" id="37">
                                          <p:stCondLst>
                                            <p:cond delay="0"/>
                                          </p:stCondLst>
                                        </p:cTn>
                                        <p:tgtEl>
                                          <p:spTgt spid="8"/>
                                        </p:tgtEl>
                                        <p:attrNameLst>
                                          <p:attrName>style.visibility</p:attrName>
                                        </p:attrNameLst>
                                      </p:cBhvr>
                                      <p:to>
                                        <p:strVal val="visible"/>
                                      </p:to>
                                    </p:set>
                                    <p:anim calcmode="lin" valueType="num">
                                      <p:cBhvr>
                                        <p:cTn dur="500" fill="hold" id="38"/>
                                        <p:tgtEl>
                                          <p:spTgt spid="8"/>
                                        </p:tgtEl>
                                        <p:attrNameLst>
                                          <p:attrName>ppt_w</p:attrName>
                                        </p:attrNameLst>
                                      </p:cBhvr>
                                      <p:tavLst>
                                        <p:tav tm="0">
                                          <p:val>
                                            <p:fltVal val="0"/>
                                          </p:val>
                                        </p:tav>
                                        <p:tav tm="100000">
                                          <p:val>
                                            <p:strVal val="#ppt_w"/>
                                          </p:val>
                                        </p:tav>
                                      </p:tavLst>
                                    </p:anim>
                                    <p:anim calcmode="lin" valueType="num">
                                      <p:cBhvr>
                                        <p:cTn dur="500" fill="hold" id="39"/>
                                        <p:tgtEl>
                                          <p:spTgt spid="8"/>
                                        </p:tgtEl>
                                        <p:attrNameLst>
                                          <p:attrName>ppt_h</p:attrName>
                                        </p:attrNameLst>
                                      </p:cBhvr>
                                      <p:tavLst>
                                        <p:tav tm="0">
                                          <p:val>
                                            <p:fltVal val="0"/>
                                          </p:val>
                                        </p:tav>
                                        <p:tav tm="100000">
                                          <p:val>
                                            <p:strVal val="#ppt_h"/>
                                          </p:val>
                                        </p:tav>
                                      </p:tavLst>
                                    </p:anim>
                                    <p:animEffect filter="fade" transition="in">
                                      <p:cBhvr>
                                        <p:cTn dur="500" id="40"/>
                                        <p:tgtEl>
                                          <p:spTgt spid="8"/>
                                        </p:tgtEl>
                                      </p:cBhvr>
                                    </p:animEffect>
                                  </p:childTnLst>
                                </p:cTn>
                              </p:par>
                              <p:par>
                                <p:cTn fill="hold" id="41" nodeType="withEffect" presetClass="entr" presetID="22" presetSubtype="8">
                                  <p:stCondLst>
                                    <p:cond delay="0"/>
                                  </p:stCondLst>
                                  <p:childTnLst>
                                    <p:set>
                                      <p:cBhvr>
                                        <p:cTn dur="1" fill="hold" id="42">
                                          <p:stCondLst>
                                            <p:cond delay="0"/>
                                          </p:stCondLst>
                                        </p:cTn>
                                        <p:tgtEl>
                                          <p:spTgt spid="4"/>
                                        </p:tgtEl>
                                        <p:attrNameLst>
                                          <p:attrName>style.visibility</p:attrName>
                                        </p:attrNameLst>
                                      </p:cBhvr>
                                      <p:to>
                                        <p:strVal val="visible"/>
                                      </p:to>
                                    </p:set>
                                    <p:animEffect filter="wipe(left)" transition="in">
                                      <p:cBhvr>
                                        <p:cTn dur="500" id="43"/>
                                        <p:tgtEl>
                                          <p:spTgt spid="4"/>
                                        </p:tgtEl>
                                      </p:cBhvr>
                                    </p:animEffect>
                                  </p:childTnLst>
                                </p:cTn>
                              </p:par>
                            </p:childTnLst>
                          </p:cTn>
                        </p:par>
                        <p:par>
                          <p:cTn fill="hold" id="44" nodeType="afterGroup">
                            <p:stCondLst>
                              <p:cond delay="2750"/>
                            </p:stCondLst>
                            <p:childTnLst>
                              <p:par>
                                <p:cTn fill="hold" grpId="0" id="45" nodeType="afterEffect" presetClass="entr" presetID="2" presetSubtype="2">
                                  <p:stCondLst>
                                    <p:cond delay="0"/>
                                  </p:stCondLst>
                                  <p:iterate type="lt">
                                    <p:tmPct val="10000"/>
                                  </p:iterate>
                                  <p:childTnLst>
                                    <p:set>
                                      <p:cBhvr>
                                        <p:cTn dur="1" fill="hold" id="46">
                                          <p:stCondLst>
                                            <p:cond delay="0"/>
                                          </p:stCondLst>
                                        </p:cTn>
                                        <p:tgtEl>
                                          <p:spTgt spid="9"/>
                                        </p:tgtEl>
                                        <p:attrNameLst>
                                          <p:attrName>style.visibility</p:attrName>
                                        </p:attrNameLst>
                                      </p:cBhvr>
                                      <p:to>
                                        <p:strVal val="visible"/>
                                      </p:to>
                                    </p:set>
                                    <p:anim calcmode="lin" valueType="num">
                                      <p:cBhvr additive="base">
                                        <p:cTn dur="500" fill="hold" id="47"/>
                                        <p:tgtEl>
                                          <p:spTgt spid="9"/>
                                        </p:tgtEl>
                                        <p:attrNameLst>
                                          <p:attrName>ppt_x</p:attrName>
                                        </p:attrNameLst>
                                      </p:cBhvr>
                                      <p:tavLst>
                                        <p:tav tm="0">
                                          <p:val>
                                            <p:strVal val="1+#ppt_w/2"/>
                                          </p:val>
                                        </p:tav>
                                        <p:tav tm="100000">
                                          <p:val>
                                            <p:strVal val="#ppt_x"/>
                                          </p:val>
                                        </p:tav>
                                      </p:tavLst>
                                    </p:anim>
                                    <p:anim calcmode="lin" valueType="num">
                                      <p:cBhvr additive="base">
                                        <p:cTn dur="500" fill="hold" id="48"/>
                                        <p:tgtEl>
                                          <p:spTgt spid="9"/>
                                        </p:tgtEl>
                                        <p:attrNameLst>
                                          <p:attrName>ppt_y</p:attrName>
                                        </p:attrNameLst>
                                      </p:cBhvr>
                                      <p:tavLst>
                                        <p:tav tm="0">
                                          <p:val>
                                            <p:strVal val="#ppt_y"/>
                                          </p:val>
                                        </p:tav>
                                        <p:tav tm="100000">
                                          <p:val>
                                            <p:strVal val="#ppt_y"/>
                                          </p:val>
                                        </p:tav>
                                      </p:tavLst>
                                    </p:anim>
                                  </p:childTnLst>
                                </p:cTn>
                              </p:par>
                            </p:childTnLst>
                          </p:cTn>
                        </p:par>
                        <p:par>
                          <p:cTn fill="hold" id="49" nodeType="afterGroup">
                            <p:stCondLst>
                              <p:cond delay="3250"/>
                            </p:stCondLst>
                            <p:childTnLst>
                              <p:par>
                                <p:cTn fill="hold" grpId="0" id="50" nodeType="afterEffect" presetClass="entr" presetID="10" presetSubtype="0">
                                  <p:stCondLst>
                                    <p:cond delay="0"/>
                                  </p:stCondLst>
                                  <p:childTnLst>
                                    <p:set>
                                      <p:cBhvr>
                                        <p:cTn dur="1" fill="hold" id="51">
                                          <p:stCondLst>
                                            <p:cond delay="0"/>
                                          </p:stCondLst>
                                        </p:cTn>
                                        <p:tgtEl>
                                          <p:spTgt spid="2"/>
                                        </p:tgtEl>
                                        <p:attrNameLst>
                                          <p:attrName>style.visibility</p:attrName>
                                        </p:attrNameLst>
                                      </p:cBhvr>
                                      <p:to>
                                        <p:strVal val="visible"/>
                                      </p:to>
                                    </p:set>
                                    <p:animEffect filter="fade" transition="in">
                                      <p:cBhvr>
                                        <p:cTn dur="500" id="52"/>
                                        <p:tgtEl>
                                          <p:spTgt spid="2"/>
                                        </p:tgtEl>
                                      </p:cBhvr>
                                    </p:animEffect>
                                  </p:childTnLst>
                                </p:cTn>
                              </p:par>
                            </p:childTnLst>
                          </p:cTn>
                        </p:par>
                        <p:par>
                          <p:cTn fill="hold" id="53" nodeType="afterGroup">
                            <p:stCondLst>
                              <p:cond delay="3750"/>
                            </p:stCondLst>
                            <p:childTnLst>
                              <p:par>
                                <p:cTn fill="hold" id="54" nodeType="afterEffect" presetClass="entr" presetID="53" presetSubtype="0">
                                  <p:stCondLst>
                                    <p:cond delay="0"/>
                                  </p:stCondLst>
                                  <p:childTnLst>
                                    <p:set>
                                      <p:cBhvr>
                                        <p:cTn dur="1" fill="hold" id="55">
                                          <p:stCondLst>
                                            <p:cond delay="0"/>
                                          </p:stCondLst>
                                        </p:cTn>
                                        <p:tgtEl>
                                          <p:spTgt spid="32"/>
                                        </p:tgtEl>
                                        <p:attrNameLst>
                                          <p:attrName>style.visibility</p:attrName>
                                        </p:attrNameLst>
                                      </p:cBhvr>
                                      <p:to>
                                        <p:strVal val="visible"/>
                                      </p:to>
                                    </p:set>
                                    <p:anim calcmode="lin" valueType="num">
                                      <p:cBhvr>
                                        <p:cTn dur="500" fill="hold" id="56"/>
                                        <p:tgtEl>
                                          <p:spTgt spid="32"/>
                                        </p:tgtEl>
                                        <p:attrNameLst>
                                          <p:attrName>ppt_w</p:attrName>
                                        </p:attrNameLst>
                                      </p:cBhvr>
                                      <p:tavLst>
                                        <p:tav tm="0">
                                          <p:val>
                                            <p:fltVal val="0"/>
                                          </p:val>
                                        </p:tav>
                                        <p:tav tm="100000">
                                          <p:val>
                                            <p:strVal val="#ppt_w"/>
                                          </p:val>
                                        </p:tav>
                                      </p:tavLst>
                                    </p:anim>
                                    <p:anim calcmode="lin" valueType="num">
                                      <p:cBhvr>
                                        <p:cTn dur="500" fill="hold" id="57"/>
                                        <p:tgtEl>
                                          <p:spTgt spid="32"/>
                                        </p:tgtEl>
                                        <p:attrNameLst>
                                          <p:attrName>ppt_h</p:attrName>
                                        </p:attrNameLst>
                                      </p:cBhvr>
                                      <p:tavLst>
                                        <p:tav tm="0">
                                          <p:val>
                                            <p:fltVal val="0"/>
                                          </p:val>
                                        </p:tav>
                                        <p:tav tm="100000">
                                          <p:val>
                                            <p:strVal val="#ppt_h"/>
                                          </p:val>
                                        </p:tav>
                                      </p:tavLst>
                                    </p:anim>
                                    <p:animEffect filter="fade" transition="in">
                                      <p:cBhvr>
                                        <p:cTn dur="500" id="58"/>
                                        <p:tgtEl>
                                          <p:spTgt spid="32"/>
                                        </p:tgtEl>
                                      </p:cBhvr>
                                    </p:animEffect>
                                  </p:childTnLst>
                                </p:cTn>
                              </p:par>
                              <p:par>
                                <p:cTn fill="hold" id="59" nodeType="withEffect" presetClass="entr" presetID="22" presetSubtype="8">
                                  <p:stCondLst>
                                    <p:cond delay="0"/>
                                  </p:stCondLst>
                                  <p:childTnLst>
                                    <p:set>
                                      <p:cBhvr>
                                        <p:cTn dur="1" fill="hold" id="60">
                                          <p:stCondLst>
                                            <p:cond delay="0"/>
                                          </p:stCondLst>
                                        </p:cTn>
                                        <p:tgtEl>
                                          <p:spTgt spid="35"/>
                                        </p:tgtEl>
                                        <p:attrNameLst>
                                          <p:attrName>style.visibility</p:attrName>
                                        </p:attrNameLst>
                                      </p:cBhvr>
                                      <p:to>
                                        <p:strVal val="visible"/>
                                      </p:to>
                                    </p:set>
                                    <p:animEffect filter="wipe(left)" transition="in">
                                      <p:cBhvr>
                                        <p:cTn dur="500" id="61"/>
                                        <p:tgtEl>
                                          <p:spTgt spid="35"/>
                                        </p:tgtEl>
                                      </p:cBhvr>
                                    </p:animEffect>
                                  </p:childTnLst>
                                </p:cTn>
                              </p:par>
                            </p:childTnLst>
                          </p:cTn>
                        </p:par>
                        <p:par>
                          <p:cTn fill="hold" id="62" nodeType="afterGroup">
                            <p:stCondLst>
                              <p:cond delay="4250"/>
                            </p:stCondLst>
                            <p:childTnLst>
                              <p:par>
                                <p:cTn fill="hold" grpId="0" id="63" nodeType="afterEffect" presetClass="entr" presetID="2" presetSubtype="2">
                                  <p:stCondLst>
                                    <p:cond delay="0"/>
                                  </p:stCondLst>
                                  <p:iterate type="lt">
                                    <p:tmPct val="10000"/>
                                  </p:iterate>
                                  <p:childTnLst>
                                    <p:set>
                                      <p:cBhvr>
                                        <p:cTn dur="1" fill="hold" id="64">
                                          <p:stCondLst>
                                            <p:cond delay="0"/>
                                          </p:stCondLst>
                                        </p:cTn>
                                        <p:tgtEl>
                                          <p:spTgt spid="24"/>
                                        </p:tgtEl>
                                        <p:attrNameLst>
                                          <p:attrName>style.visibility</p:attrName>
                                        </p:attrNameLst>
                                      </p:cBhvr>
                                      <p:to>
                                        <p:strVal val="visible"/>
                                      </p:to>
                                    </p:set>
                                    <p:anim calcmode="lin" valueType="num">
                                      <p:cBhvr additive="base">
                                        <p:cTn dur="500" fill="hold" id="65"/>
                                        <p:tgtEl>
                                          <p:spTgt spid="24"/>
                                        </p:tgtEl>
                                        <p:attrNameLst>
                                          <p:attrName>ppt_x</p:attrName>
                                        </p:attrNameLst>
                                      </p:cBhvr>
                                      <p:tavLst>
                                        <p:tav tm="0">
                                          <p:val>
                                            <p:strVal val="1+#ppt_w/2"/>
                                          </p:val>
                                        </p:tav>
                                        <p:tav tm="100000">
                                          <p:val>
                                            <p:strVal val="#ppt_x"/>
                                          </p:val>
                                        </p:tav>
                                      </p:tavLst>
                                    </p:anim>
                                    <p:anim calcmode="lin" valueType="num">
                                      <p:cBhvr additive="base">
                                        <p:cTn dur="500" fill="hold" id="66"/>
                                        <p:tgtEl>
                                          <p:spTgt spid="24"/>
                                        </p:tgtEl>
                                        <p:attrNameLst>
                                          <p:attrName>ppt_y</p:attrName>
                                        </p:attrNameLst>
                                      </p:cBhvr>
                                      <p:tavLst>
                                        <p:tav tm="0">
                                          <p:val>
                                            <p:strVal val="#ppt_y"/>
                                          </p:val>
                                        </p:tav>
                                        <p:tav tm="100000">
                                          <p:val>
                                            <p:strVal val="#ppt_y"/>
                                          </p:val>
                                        </p:tav>
                                      </p:tavLst>
                                    </p:anim>
                                  </p:childTnLst>
                                </p:cTn>
                              </p:par>
                            </p:childTnLst>
                          </p:cTn>
                        </p:par>
                        <p:par>
                          <p:cTn fill="hold" id="67" nodeType="afterGroup">
                            <p:stCondLst>
                              <p:cond delay="4750"/>
                            </p:stCondLst>
                            <p:childTnLst>
                              <p:par>
                                <p:cTn fill="hold" grpId="0" id="68" nodeType="afterEffect" presetClass="entr" presetID="10" presetSubtype="0">
                                  <p:stCondLst>
                                    <p:cond delay="0"/>
                                  </p:stCondLst>
                                  <p:childTnLst>
                                    <p:set>
                                      <p:cBhvr>
                                        <p:cTn dur="1" fill="hold" id="69">
                                          <p:stCondLst>
                                            <p:cond delay="0"/>
                                          </p:stCondLst>
                                        </p:cTn>
                                        <p:tgtEl>
                                          <p:spTgt spid="25"/>
                                        </p:tgtEl>
                                        <p:attrNameLst>
                                          <p:attrName>style.visibility</p:attrName>
                                        </p:attrNameLst>
                                      </p:cBhvr>
                                      <p:to>
                                        <p:strVal val="visible"/>
                                      </p:to>
                                    </p:set>
                                    <p:animEffect filter="fade" transition="in">
                                      <p:cBhvr>
                                        <p:cTn dur="500" id="70"/>
                                        <p:tgtEl>
                                          <p:spTgt spid="25"/>
                                        </p:tgtEl>
                                      </p:cBhvr>
                                    </p:animEffect>
                                  </p:childTnLst>
                                </p:cTn>
                              </p:par>
                            </p:childTnLst>
                          </p:cTn>
                        </p:par>
                        <p:par>
                          <p:cTn fill="hold" id="71" nodeType="afterGroup">
                            <p:stCondLst>
                              <p:cond delay="5250"/>
                            </p:stCondLst>
                            <p:childTnLst>
                              <p:par>
                                <p:cTn fill="hold" id="72" nodeType="afterEffect" presetClass="entr" presetID="53" presetSubtype="0">
                                  <p:stCondLst>
                                    <p:cond delay="0"/>
                                  </p:stCondLst>
                                  <p:childTnLst>
                                    <p:set>
                                      <p:cBhvr>
                                        <p:cTn dur="1" fill="hold" id="73">
                                          <p:stCondLst>
                                            <p:cond delay="0"/>
                                          </p:stCondLst>
                                        </p:cTn>
                                        <p:tgtEl>
                                          <p:spTgt spid="33"/>
                                        </p:tgtEl>
                                        <p:attrNameLst>
                                          <p:attrName>style.visibility</p:attrName>
                                        </p:attrNameLst>
                                      </p:cBhvr>
                                      <p:to>
                                        <p:strVal val="visible"/>
                                      </p:to>
                                    </p:set>
                                    <p:anim calcmode="lin" valueType="num">
                                      <p:cBhvr>
                                        <p:cTn dur="500" fill="hold" id="74"/>
                                        <p:tgtEl>
                                          <p:spTgt spid="33"/>
                                        </p:tgtEl>
                                        <p:attrNameLst>
                                          <p:attrName>ppt_w</p:attrName>
                                        </p:attrNameLst>
                                      </p:cBhvr>
                                      <p:tavLst>
                                        <p:tav tm="0">
                                          <p:val>
                                            <p:fltVal val="0"/>
                                          </p:val>
                                        </p:tav>
                                        <p:tav tm="100000">
                                          <p:val>
                                            <p:strVal val="#ppt_w"/>
                                          </p:val>
                                        </p:tav>
                                      </p:tavLst>
                                    </p:anim>
                                    <p:anim calcmode="lin" valueType="num">
                                      <p:cBhvr>
                                        <p:cTn dur="500" fill="hold" id="75"/>
                                        <p:tgtEl>
                                          <p:spTgt spid="33"/>
                                        </p:tgtEl>
                                        <p:attrNameLst>
                                          <p:attrName>ppt_h</p:attrName>
                                        </p:attrNameLst>
                                      </p:cBhvr>
                                      <p:tavLst>
                                        <p:tav tm="0">
                                          <p:val>
                                            <p:fltVal val="0"/>
                                          </p:val>
                                        </p:tav>
                                        <p:tav tm="100000">
                                          <p:val>
                                            <p:strVal val="#ppt_h"/>
                                          </p:val>
                                        </p:tav>
                                      </p:tavLst>
                                    </p:anim>
                                    <p:animEffect filter="fade" transition="in">
                                      <p:cBhvr>
                                        <p:cTn dur="500" id="76"/>
                                        <p:tgtEl>
                                          <p:spTgt spid="33"/>
                                        </p:tgtEl>
                                      </p:cBhvr>
                                    </p:animEffect>
                                  </p:childTnLst>
                                </p:cTn>
                              </p:par>
                              <p:par>
                                <p:cTn fill="hold" id="77" nodeType="withEffect" presetClass="entr" presetID="22" presetSubtype="8">
                                  <p:stCondLst>
                                    <p:cond delay="0"/>
                                  </p:stCondLst>
                                  <p:childTnLst>
                                    <p:set>
                                      <p:cBhvr>
                                        <p:cTn dur="1" fill="hold" id="78">
                                          <p:stCondLst>
                                            <p:cond delay="0"/>
                                          </p:stCondLst>
                                        </p:cTn>
                                        <p:tgtEl>
                                          <p:spTgt spid="36"/>
                                        </p:tgtEl>
                                        <p:attrNameLst>
                                          <p:attrName>style.visibility</p:attrName>
                                        </p:attrNameLst>
                                      </p:cBhvr>
                                      <p:to>
                                        <p:strVal val="visible"/>
                                      </p:to>
                                    </p:set>
                                    <p:animEffect filter="wipe(left)" transition="in">
                                      <p:cBhvr>
                                        <p:cTn dur="500" id="79"/>
                                        <p:tgtEl>
                                          <p:spTgt spid="36"/>
                                        </p:tgtEl>
                                      </p:cBhvr>
                                    </p:animEffect>
                                  </p:childTnLst>
                                </p:cTn>
                              </p:par>
                            </p:childTnLst>
                          </p:cTn>
                        </p:par>
                        <p:par>
                          <p:cTn fill="hold" id="80" nodeType="afterGroup">
                            <p:stCondLst>
                              <p:cond delay="5750"/>
                            </p:stCondLst>
                            <p:childTnLst>
                              <p:par>
                                <p:cTn fill="hold" grpId="0" id="81" nodeType="afterEffect" presetClass="entr" presetID="2" presetSubtype="2">
                                  <p:stCondLst>
                                    <p:cond delay="0"/>
                                  </p:stCondLst>
                                  <p:iterate type="lt">
                                    <p:tmPct val="10000"/>
                                  </p:iterate>
                                  <p:childTnLst>
                                    <p:set>
                                      <p:cBhvr>
                                        <p:cTn dur="1" fill="hold" id="82">
                                          <p:stCondLst>
                                            <p:cond delay="0"/>
                                          </p:stCondLst>
                                        </p:cTn>
                                        <p:tgtEl>
                                          <p:spTgt spid="27"/>
                                        </p:tgtEl>
                                        <p:attrNameLst>
                                          <p:attrName>style.visibility</p:attrName>
                                        </p:attrNameLst>
                                      </p:cBhvr>
                                      <p:to>
                                        <p:strVal val="visible"/>
                                      </p:to>
                                    </p:set>
                                    <p:anim calcmode="lin" valueType="num">
                                      <p:cBhvr additive="base">
                                        <p:cTn dur="500" fill="hold" id="83"/>
                                        <p:tgtEl>
                                          <p:spTgt spid="27"/>
                                        </p:tgtEl>
                                        <p:attrNameLst>
                                          <p:attrName>ppt_x</p:attrName>
                                        </p:attrNameLst>
                                      </p:cBhvr>
                                      <p:tavLst>
                                        <p:tav tm="0">
                                          <p:val>
                                            <p:strVal val="1+#ppt_w/2"/>
                                          </p:val>
                                        </p:tav>
                                        <p:tav tm="100000">
                                          <p:val>
                                            <p:strVal val="#ppt_x"/>
                                          </p:val>
                                        </p:tav>
                                      </p:tavLst>
                                    </p:anim>
                                    <p:anim calcmode="lin" valueType="num">
                                      <p:cBhvr additive="base">
                                        <p:cTn dur="500" fill="hold" id="84"/>
                                        <p:tgtEl>
                                          <p:spTgt spid="27"/>
                                        </p:tgtEl>
                                        <p:attrNameLst>
                                          <p:attrName>ppt_y</p:attrName>
                                        </p:attrNameLst>
                                      </p:cBhvr>
                                      <p:tavLst>
                                        <p:tav tm="0">
                                          <p:val>
                                            <p:strVal val="#ppt_y"/>
                                          </p:val>
                                        </p:tav>
                                        <p:tav tm="100000">
                                          <p:val>
                                            <p:strVal val="#ppt_y"/>
                                          </p:val>
                                        </p:tav>
                                      </p:tavLst>
                                    </p:anim>
                                  </p:childTnLst>
                                </p:cTn>
                              </p:par>
                            </p:childTnLst>
                          </p:cTn>
                        </p:par>
                        <p:par>
                          <p:cTn fill="hold" id="85" nodeType="afterGroup">
                            <p:stCondLst>
                              <p:cond delay="6250"/>
                            </p:stCondLst>
                            <p:childTnLst>
                              <p:par>
                                <p:cTn fill="hold" grpId="0" id="86" nodeType="afterEffect" presetClass="entr" presetID="10" presetSubtype="0">
                                  <p:stCondLst>
                                    <p:cond delay="0"/>
                                  </p:stCondLst>
                                  <p:childTnLst>
                                    <p:set>
                                      <p:cBhvr>
                                        <p:cTn dur="1" fill="hold" id="87">
                                          <p:stCondLst>
                                            <p:cond delay="0"/>
                                          </p:stCondLst>
                                        </p:cTn>
                                        <p:tgtEl>
                                          <p:spTgt spid="28"/>
                                        </p:tgtEl>
                                        <p:attrNameLst>
                                          <p:attrName>style.visibility</p:attrName>
                                        </p:attrNameLst>
                                      </p:cBhvr>
                                      <p:to>
                                        <p:strVal val="visible"/>
                                      </p:to>
                                    </p:set>
                                    <p:animEffect filter="fade" transition="in">
                                      <p:cBhvr>
                                        <p:cTn dur="500" id="88"/>
                                        <p:tgtEl>
                                          <p:spTgt spid="28"/>
                                        </p:tgtEl>
                                      </p:cBhvr>
                                    </p:animEffect>
                                  </p:childTnLst>
                                </p:cTn>
                              </p:par>
                            </p:childTnLst>
                          </p:cTn>
                        </p:par>
                        <p:par>
                          <p:cTn fill="hold" id="89" nodeType="afterGroup">
                            <p:stCondLst>
                              <p:cond delay="6750"/>
                            </p:stCondLst>
                            <p:childTnLst>
                              <p:par>
                                <p:cTn fill="hold" id="90" nodeType="afterEffect" presetClass="entr" presetID="53" presetSubtype="0">
                                  <p:stCondLst>
                                    <p:cond delay="0"/>
                                  </p:stCondLst>
                                  <p:childTnLst>
                                    <p:set>
                                      <p:cBhvr>
                                        <p:cTn dur="1" fill="hold" id="91">
                                          <p:stCondLst>
                                            <p:cond delay="0"/>
                                          </p:stCondLst>
                                        </p:cTn>
                                        <p:tgtEl>
                                          <p:spTgt spid="34"/>
                                        </p:tgtEl>
                                        <p:attrNameLst>
                                          <p:attrName>style.visibility</p:attrName>
                                        </p:attrNameLst>
                                      </p:cBhvr>
                                      <p:to>
                                        <p:strVal val="visible"/>
                                      </p:to>
                                    </p:set>
                                    <p:anim calcmode="lin" valueType="num">
                                      <p:cBhvr>
                                        <p:cTn dur="500" fill="hold" id="92"/>
                                        <p:tgtEl>
                                          <p:spTgt spid="34"/>
                                        </p:tgtEl>
                                        <p:attrNameLst>
                                          <p:attrName>ppt_w</p:attrName>
                                        </p:attrNameLst>
                                      </p:cBhvr>
                                      <p:tavLst>
                                        <p:tav tm="0">
                                          <p:val>
                                            <p:fltVal val="0"/>
                                          </p:val>
                                        </p:tav>
                                        <p:tav tm="100000">
                                          <p:val>
                                            <p:strVal val="#ppt_w"/>
                                          </p:val>
                                        </p:tav>
                                      </p:tavLst>
                                    </p:anim>
                                    <p:anim calcmode="lin" valueType="num">
                                      <p:cBhvr>
                                        <p:cTn dur="500" fill="hold" id="93"/>
                                        <p:tgtEl>
                                          <p:spTgt spid="34"/>
                                        </p:tgtEl>
                                        <p:attrNameLst>
                                          <p:attrName>ppt_h</p:attrName>
                                        </p:attrNameLst>
                                      </p:cBhvr>
                                      <p:tavLst>
                                        <p:tav tm="0">
                                          <p:val>
                                            <p:fltVal val="0"/>
                                          </p:val>
                                        </p:tav>
                                        <p:tav tm="100000">
                                          <p:val>
                                            <p:strVal val="#ppt_h"/>
                                          </p:val>
                                        </p:tav>
                                      </p:tavLst>
                                    </p:anim>
                                    <p:animEffect filter="fade" transition="in">
                                      <p:cBhvr>
                                        <p:cTn dur="500" id="94"/>
                                        <p:tgtEl>
                                          <p:spTgt spid="34"/>
                                        </p:tgtEl>
                                      </p:cBhvr>
                                    </p:animEffect>
                                  </p:childTnLst>
                                </p:cTn>
                              </p:par>
                              <p:par>
                                <p:cTn fill="hold" id="95" nodeType="withEffect" presetClass="entr" presetID="22" presetSubtype="8">
                                  <p:stCondLst>
                                    <p:cond delay="0"/>
                                  </p:stCondLst>
                                  <p:childTnLst>
                                    <p:set>
                                      <p:cBhvr>
                                        <p:cTn dur="1" fill="hold" id="96">
                                          <p:stCondLst>
                                            <p:cond delay="0"/>
                                          </p:stCondLst>
                                        </p:cTn>
                                        <p:tgtEl>
                                          <p:spTgt spid="37"/>
                                        </p:tgtEl>
                                        <p:attrNameLst>
                                          <p:attrName>style.visibility</p:attrName>
                                        </p:attrNameLst>
                                      </p:cBhvr>
                                      <p:to>
                                        <p:strVal val="visible"/>
                                      </p:to>
                                    </p:set>
                                    <p:animEffect filter="wipe(left)" transition="in">
                                      <p:cBhvr>
                                        <p:cTn dur="500" id="97"/>
                                        <p:tgtEl>
                                          <p:spTgt spid="37"/>
                                        </p:tgtEl>
                                      </p:cBhvr>
                                    </p:animEffect>
                                  </p:childTnLst>
                                </p:cTn>
                              </p:par>
                            </p:childTnLst>
                          </p:cTn>
                        </p:par>
                        <p:par>
                          <p:cTn fill="hold" id="98" nodeType="afterGroup">
                            <p:stCondLst>
                              <p:cond delay="7250"/>
                            </p:stCondLst>
                            <p:childTnLst>
                              <p:par>
                                <p:cTn fill="hold" grpId="0" id="99" nodeType="afterEffect" presetClass="entr" presetID="2" presetSubtype="2">
                                  <p:stCondLst>
                                    <p:cond delay="0"/>
                                  </p:stCondLst>
                                  <p:iterate type="lt">
                                    <p:tmPct val="10000"/>
                                  </p:iterate>
                                  <p:childTnLst>
                                    <p:set>
                                      <p:cBhvr>
                                        <p:cTn dur="1" fill="hold" id="100">
                                          <p:stCondLst>
                                            <p:cond delay="0"/>
                                          </p:stCondLst>
                                        </p:cTn>
                                        <p:tgtEl>
                                          <p:spTgt spid="30"/>
                                        </p:tgtEl>
                                        <p:attrNameLst>
                                          <p:attrName>style.visibility</p:attrName>
                                        </p:attrNameLst>
                                      </p:cBhvr>
                                      <p:to>
                                        <p:strVal val="visible"/>
                                      </p:to>
                                    </p:set>
                                    <p:anim calcmode="lin" valueType="num">
                                      <p:cBhvr additive="base">
                                        <p:cTn dur="500" fill="hold" id="101"/>
                                        <p:tgtEl>
                                          <p:spTgt spid="30"/>
                                        </p:tgtEl>
                                        <p:attrNameLst>
                                          <p:attrName>ppt_x</p:attrName>
                                        </p:attrNameLst>
                                      </p:cBhvr>
                                      <p:tavLst>
                                        <p:tav tm="0">
                                          <p:val>
                                            <p:strVal val="1+#ppt_w/2"/>
                                          </p:val>
                                        </p:tav>
                                        <p:tav tm="100000">
                                          <p:val>
                                            <p:strVal val="#ppt_x"/>
                                          </p:val>
                                        </p:tav>
                                      </p:tavLst>
                                    </p:anim>
                                    <p:anim calcmode="lin" valueType="num">
                                      <p:cBhvr additive="base">
                                        <p:cTn dur="500" fill="hold" id="102"/>
                                        <p:tgtEl>
                                          <p:spTgt spid="30"/>
                                        </p:tgtEl>
                                        <p:attrNameLst>
                                          <p:attrName>ppt_y</p:attrName>
                                        </p:attrNameLst>
                                      </p:cBhvr>
                                      <p:tavLst>
                                        <p:tav tm="0">
                                          <p:val>
                                            <p:strVal val="#ppt_y"/>
                                          </p:val>
                                        </p:tav>
                                        <p:tav tm="100000">
                                          <p:val>
                                            <p:strVal val="#ppt_y"/>
                                          </p:val>
                                        </p:tav>
                                      </p:tavLst>
                                    </p:anim>
                                  </p:childTnLst>
                                </p:cTn>
                              </p:par>
                            </p:childTnLst>
                          </p:cTn>
                        </p:par>
                        <p:par>
                          <p:cTn fill="hold" id="103" nodeType="afterGroup">
                            <p:stCondLst>
                              <p:cond delay="7750"/>
                            </p:stCondLst>
                            <p:childTnLst>
                              <p:par>
                                <p:cTn fill="hold" grpId="0" id="104" nodeType="afterEffect" presetClass="entr" presetID="10" presetSubtype="0">
                                  <p:stCondLst>
                                    <p:cond delay="0"/>
                                  </p:stCondLst>
                                  <p:childTnLst>
                                    <p:set>
                                      <p:cBhvr>
                                        <p:cTn dur="1" fill="hold" id="105">
                                          <p:stCondLst>
                                            <p:cond delay="0"/>
                                          </p:stCondLst>
                                        </p:cTn>
                                        <p:tgtEl>
                                          <p:spTgt spid="31"/>
                                        </p:tgtEl>
                                        <p:attrNameLst>
                                          <p:attrName>style.visibility</p:attrName>
                                        </p:attrNameLst>
                                      </p:cBhvr>
                                      <p:to>
                                        <p:strVal val="visible"/>
                                      </p:to>
                                    </p:set>
                                    <p:animEffect filter="fade" transition="in">
                                      <p:cBhvr>
                                        <p:cTn dur="500" id="106"/>
                                        <p:tgtEl>
                                          <p:spTgt spid="31"/>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9"/>
      <p:bldP grpId="0" spid="10"/>
      <p:bldP grpId="1" spid="10"/>
      <p:bldP grpId="0" spid="11"/>
      <p:bldP grpId="1" spid="11"/>
      <p:bldP grpId="0" spid="12"/>
      <p:bldP grpId="0" spid="2"/>
      <p:bldP grpId="0" spid="24"/>
      <p:bldP grpId="0" spid="25"/>
      <p:bldP grpId="0" spid="27"/>
      <p:bldP grpId="0" spid="28"/>
      <p:bldP grpId="0" spid="30"/>
      <p:bldP grpId="0" spid="31"/>
    </p:bldLst>
  </p:timing>
</p:sld>
</file>

<file path=ppt/slides/slide20.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7" name="椭圆 6">
            <a:extLst>
              <a:ext uri="{FF2B5EF4-FFF2-40B4-BE49-F238E27FC236}">
                <a16:creationId xmlns:a16="http://schemas.microsoft.com/office/drawing/2014/main" id="{97F35CCF-B1AD-40AD-9D77-E1886CA3C847}"/>
              </a:ext>
            </a:extLst>
          </p:cNvPr>
          <p:cNvSpPr/>
          <p:nvPr/>
        </p:nvSpPr>
        <p:spPr>
          <a:xfrm>
            <a:off x="11325281" y="5957455"/>
            <a:ext cx="1193212" cy="1193212"/>
          </a:xfrm>
          <a:prstGeom prst="ellipse">
            <a:avLst/>
          </a:prstGeom>
          <a:solidFill>
            <a:srgbClr val="A0CBD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10" name="文本框 9">
            <a:extLst>
              <a:ext uri="{FF2B5EF4-FFF2-40B4-BE49-F238E27FC236}">
                <a16:creationId xmlns:a16="http://schemas.microsoft.com/office/drawing/2014/main" id="{3EF1E9ED-80AB-4909-8BA5-A43F4FCE2334}"/>
              </a:ext>
            </a:extLst>
          </p:cNvPr>
          <p:cNvSpPr txBox="1"/>
          <p:nvPr/>
        </p:nvSpPr>
        <p:spPr>
          <a:xfrm>
            <a:off x="4133850" y="390618"/>
            <a:ext cx="3924300" cy="640080"/>
          </a:xfrm>
          <a:prstGeom prst="rect">
            <a:avLst/>
          </a:prstGeom>
          <a:noFill/>
        </p:spPr>
        <p:txBody>
          <a:bodyPr rtlCol="0" wrap="square">
            <a:spAutoFit/>
          </a:bodyPr>
          <a:lstStyle/>
          <a:p>
            <a:pPr algn="ctr"/>
            <a:r>
              <a:rPr altLang="en-US" lang="zh-CN" sz="3600">
                <a:solidFill>
                  <a:schemeClr val="tx1">
                    <a:lumMod val="85000"/>
                    <a:lumOff val="15000"/>
                  </a:schemeClr>
                </a:solidFill>
                <a:latin charset="-122" panose="02000500000000000000" pitchFamily="2" typeface="方正雅士黑 简"/>
                <a:ea charset="-122" panose="02000500000000000000" pitchFamily="2" typeface="方正雅士黑 简"/>
              </a:rPr>
              <a:t>未来工作计划</a:t>
            </a:r>
          </a:p>
        </p:txBody>
      </p:sp>
      <p:cxnSp>
        <p:nvCxnSpPr>
          <p:cNvPr id="13" name="直接连接符 12">
            <a:extLst>
              <a:ext uri="{FF2B5EF4-FFF2-40B4-BE49-F238E27FC236}">
                <a16:creationId xmlns:a16="http://schemas.microsoft.com/office/drawing/2014/main" id="{63C006F1-C17E-4B5D-A667-14B1AFD009FE}"/>
              </a:ext>
            </a:extLst>
          </p:cNvPr>
          <p:cNvCxnSpPr/>
          <p:nvPr/>
        </p:nvCxnSpPr>
        <p:spPr>
          <a:xfrm>
            <a:off x="7791452" y="683005"/>
            <a:ext cx="571498" cy="0"/>
          </a:xfrm>
          <a:prstGeom prst="line">
            <a:avLst/>
          </a:prstGeom>
          <a:ln cap="rnd" w="19050">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pic>
        <p:nvPicPr>
          <p:cNvPr id="15" name="图形 14">
            <a:extLst>
              <a:ext uri="{FF2B5EF4-FFF2-40B4-BE49-F238E27FC236}">
                <a16:creationId xmlns:a16="http://schemas.microsoft.com/office/drawing/2014/main" id="{D0B6809A-9193-440B-AB59-9B5857A764E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314825" y="597280"/>
            <a:ext cx="171450" cy="171450"/>
          </a:xfrm>
          <a:prstGeom prst="rect">
            <a:avLst/>
          </a:prstGeom>
        </p:spPr>
      </p:pic>
      <p:pic>
        <p:nvPicPr>
          <p:cNvPr id="16" name="图形 15">
            <a:extLst>
              <a:ext uri="{FF2B5EF4-FFF2-40B4-BE49-F238E27FC236}">
                <a16:creationId xmlns:a16="http://schemas.microsoft.com/office/drawing/2014/main" id="{1508760C-4270-4AAF-AD1C-A51CD87667C3}"/>
              </a:ext>
            </a:extLst>
          </p:cNvPr>
          <p:cNvPicPr>
            <a:picLocks noChangeAspect="1"/>
          </p:cNvPicPr>
          <p:nvPr/>
        </p:nvPicPr>
        <p:blipFill>
          <a:blip r:embed="rId3">
            <a:extLst>
              <a:ext uri="{96DAC541-7B7A-43D3-8B79-37D633B846F1}">
                <asvg:svgBlip xmlns:asvg="http://schemas.microsoft.com/office/drawing/2016/SVG/main" r:embed="rId5"/>
              </a:ext>
            </a:extLst>
          </a:blip>
          <a:stretch>
            <a:fillRect/>
          </a:stretch>
        </p:blipFill>
        <p:spPr>
          <a:xfrm>
            <a:off x="7705727" y="597280"/>
            <a:ext cx="171450" cy="171450"/>
          </a:xfrm>
          <a:prstGeom prst="rect">
            <a:avLst/>
          </a:prstGeom>
        </p:spPr>
      </p:pic>
      <p:cxnSp>
        <p:nvCxnSpPr>
          <p:cNvPr id="18" name="直接连接符 17">
            <a:extLst>
              <a:ext uri="{FF2B5EF4-FFF2-40B4-BE49-F238E27FC236}">
                <a16:creationId xmlns:a16="http://schemas.microsoft.com/office/drawing/2014/main" id="{D59B9B17-AB83-41D0-BA0B-C09A6571714C}"/>
              </a:ext>
            </a:extLst>
          </p:cNvPr>
          <p:cNvCxnSpPr/>
          <p:nvPr/>
        </p:nvCxnSpPr>
        <p:spPr>
          <a:xfrm>
            <a:off x="3829052" y="683005"/>
            <a:ext cx="571498" cy="0"/>
          </a:xfrm>
          <a:prstGeom prst="line">
            <a:avLst/>
          </a:prstGeom>
          <a:ln cap="rnd" w="19050">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pic>
        <p:nvPicPr>
          <p:cNvPr id="11" name="图形 10">
            <a:extLst>
              <a:ext uri="{FF2B5EF4-FFF2-40B4-BE49-F238E27FC236}">
                <a16:creationId xmlns:a16="http://schemas.microsoft.com/office/drawing/2014/main" id="{A9AA660E-F2B8-4D1D-92AA-E520A135F9E6}"/>
              </a:ext>
            </a:extLst>
          </p:cNvPr>
          <p:cNvPicPr>
            <a:picLocks noChangeAspect="1"/>
          </p:cNvPicPr>
          <p:nvPr/>
        </p:nvPicPr>
        <p:blipFill>
          <a:blip r:embed="rId6">
            <a:extLst>
              <a:ext uri="{96DAC541-7B7A-43D3-8B79-37D633B846F1}">
                <asvg:svgBlip xmlns:asvg="http://schemas.microsoft.com/office/drawing/2016/SVG/main" r:embed="rId7"/>
              </a:ext>
            </a:extLst>
          </a:blip>
          <a:srcRect b="12361" l="2082" r="12030" t="8841"/>
          <a:stretch>
            <a:fillRect/>
          </a:stretch>
        </p:blipFill>
        <p:spPr>
          <a:xfrm>
            <a:off x="11294801" y="5688518"/>
            <a:ext cx="804068" cy="935883"/>
          </a:xfrm>
          <a:custGeom>
            <a:rect b="b" l="l" r="r" t="t"/>
            <a:pathLst>
              <a:path h="1275941" w="1096230">
                <a:moveTo>
                  <a:pt x="634975" y="0"/>
                </a:moveTo>
                <a:lnTo>
                  <a:pt x="938770" y="0"/>
                </a:lnTo>
                <a:lnTo>
                  <a:pt x="938770" y="771042"/>
                </a:lnTo>
                <a:lnTo>
                  <a:pt x="1096230" y="771042"/>
                </a:lnTo>
                <a:lnTo>
                  <a:pt x="1096230" y="1041463"/>
                </a:lnTo>
                <a:lnTo>
                  <a:pt x="938770" y="1041463"/>
                </a:lnTo>
                <a:lnTo>
                  <a:pt x="938770" y="1275941"/>
                </a:lnTo>
                <a:lnTo>
                  <a:pt x="634975" y="1275941"/>
                </a:lnTo>
                <a:lnTo>
                  <a:pt x="634975" y="1041463"/>
                </a:lnTo>
                <a:lnTo>
                  <a:pt x="0" y="1041463"/>
                </a:lnTo>
                <a:lnTo>
                  <a:pt x="0" y="754782"/>
                </a:lnTo>
                <a:lnTo>
                  <a:pt x="634975" y="0"/>
                </a:lnTo>
                <a:close/>
                <a:moveTo>
                  <a:pt x="634975" y="376228"/>
                </a:moveTo>
                <a:lnTo>
                  <a:pt x="299463" y="771042"/>
                </a:lnTo>
                <a:lnTo>
                  <a:pt x="634975" y="771042"/>
                </a:lnTo>
                <a:lnTo>
                  <a:pt x="634975" y="376228"/>
                </a:lnTo>
                <a:close/>
              </a:path>
            </a:pathLst>
          </a:custGeom>
        </p:spPr>
      </p:pic>
      <p:sp>
        <p:nvSpPr>
          <p:cNvPr id="17" name="ï$ḻïḑè">
            <a:extLst>
              <a:ext uri="{FF2B5EF4-FFF2-40B4-BE49-F238E27FC236}">
                <a16:creationId xmlns:a16="http://schemas.microsoft.com/office/drawing/2014/main" id="{E3A0C114-A13E-4043-BA0F-E8FE62A3F4C0}"/>
              </a:ext>
            </a:extLst>
          </p:cNvPr>
          <p:cNvSpPr/>
          <p:nvPr/>
        </p:nvSpPr>
        <p:spPr bwMode="auto">
          <a:xfrm>
            <a:off x="1443038" y="5547231"/>
            <a:ext cx="268288" cy="268288"/>
          </a:xfrm>
          <a:prstGeom prst="ellipse">
            <a:avLst/>
          </a:prstGeom>
          <a:solidFill>
            <a:schemeClr val="bg1"/>
          </a:solidFill>
          <a:ln>
            <a:noFill/>
          </a:ln>
        </p:spPr>
        <p:txBody>
          <a:bodyPr anchor="ctr"/>
          <a:lstStyle/>
          <a:p>
            <a:pPr algn="ctr"/>
            <a:endParaRPr/>
          </a:p>
        </p:txBody>
      </p:sp>
      <p:sp>
        <p:nvSpPr>
          <p:cNvPr id="19" name="îṡľiḋe">
            <a:extLst>
              <a:ext uri="{FF2B5EF4-FFF2-40B4-BE49-F238E27FC236}">
                <a16:creationId xmlns:a16="http://schemas.microsoft.com/office/drawing/2014/main" id="{F915E959-247E-46E2-93CD-627E3409BD21}"/>
              </a:ext>
            </a:extLst>
          </p:cNvPr>
          <p:cNvSpPr/>
          <p:nvPr/>
        </p:nvSpPr>
        <p:spPr bwMode="auto">
          <a:xfrm>
            <a:off x="5059363" y="3345368"/>
            <a:ext cx="254000" cy="268288"/>
          </a:xfrm>
          <a:prstGeom prst="ellipse">
            <a:avLst/>
          </a:prstGeom>
          <a:solidFill>
            <a:schemeClr val="bg1"/>
          </a:solidFill>
          <a:ln>
            <a:noFill/>
          </a:ln>
        </p:spPr>
        <p:txBody>
          <a:bodyPr anchor="ctr"/>
          <a:lstStyle/>
          <a:p>
            <a:pPr algn="ctr"/>
            <a:endParaRPr/>
          </a:p>
        </p:txBody>
      </p:sp>
      <p:sp>
        <p:nvSpPr>
          <p:cNvPr id="23" name="îśḻiḓé">
            <a:extLst>
              <a:ext uri="{FF2B5EF4-FFF2-40B4-BE49-F238E27FC236}">
                <a16:creationId xmlns:a16="http://schemas.microsoft.com/office/drawing/2014/main" id="{EAF7FAFD-C5A2-427B-BCC8-56D149429D16}"/>
              </a:ext>
            </a:extLst>
          </p:cNvPr>
          <p:cNvSpPr/>
          <p:nvPr/>
        </p:nvSpPr>
        <p:spPr bwMode="auto">
          <a:xfrm>
            <a:off x="5143501" y="4404231"/>
            <a:ext cx="169863" cy="184150"/>
          </a:xfrm>
          <a:prstGeom prst="ellipse">
            <a:avLst/>
          </a:prstGeom>
          <a:solidFill>
            <a:srgbClr val="FFE9B3"/>
          </a:solidFill>
          <a:ln>
            <a:noFill/>
          </a:ln>
        </p:spPr>
        <p:txBody>
          <a:bodyPr anchor="ctr"/>
          <a:lstStyle/>
          <a:p>
            <a:pPr algn="ctr"/>
            <a:endParaRPr/>
          </a:p>
        </p:txBody>
      </p:sp>
      <p:sp>
        <p:nvSpPr>
          <p:cNvPr id="24" name="ís1îḍe">
            <a:extLst>
              <a:ext uri="{FF2B5EF4-FFF2-40B4-BE49-F238E27FC236}">
                <a16:creationId xmlns:a16="http://schemas.microsoft.com/office/drawing/2014/main" id="{9A0CD1F9-4A68-4046-8D07-614106E23C3A}"/>
              </a:ext>
            </a:extLst>
          </p:cNvPr>
          <p:cNvSpPr/>
          <p:nvPr/>
        </p:nvSpPr>
        <p:spPr bwMode="auto">
          <a:xfrm>
            <a:off x="4975226" y="2116643"/>
            <a:ext cx="168275" cy="184150"/>
          </a:xfrm>
          <a:prstGeom prst="ellipse">
            <a:avLst/>
          </a:prstGeom>
          <a:solidFill>
            <a:schemeClr val="bg1">
              <a:lumMod val="85000"/>
            </a:schemeClr>
          </a:solidFill>
          <a:ln>
            <a:noFill/>
          </a:ln>
        </p:spPr>
        <p:txBody>
          <a:bodyPr anchor="ctr"/>
          <a:lstStyle/>
          <a:p>
            <a:pPr algn="ctr"/>
            <a:endParaRPr/>
          </a:p>
        </p:txBody>
      </p:sp>
      <p:sp>
        <p:nvSpPr>
          <p:cNvPr id="34" name="ïṩḻîḑe">
            <a:extLst>
              <a:ext uri="{FF2B5EF4-FFF2-40B4-BE49-F238E27FC236}">
                <a16:creationId xmlns:a16="http://schemas.microsoft.com/office/drawing/2014/main" id="{E806F449-88C5-4354-A1EA-7FD06CCEED0F}"/>
              </a:ext>
            </a:extLst>
          </p:cNvPr>
          <p:cNvSpPr/>
          <p:nvPr/>
        </p:nvSpPr>
        <p:spPr bwMode="auto">
          <a:xfrm>
            <a:off x="1527176" y="2032506"/>
            <a:ext cx="184150" cy="169863"/>
          </a:xfrm>
          <a:prstGeom prst="ellipse">
            <a:avLst/>
          </a:prstGeom>
          <a:solidFill>
            <a:srgbClr val="B3E4FF"/>
          </a:solidFill>
          <a:ln>
            <a:noFill/>
          </a:ln>
        </p:spPr>
        <p:txBody>
          <a:bodyPr anchor="ctr"/>
          <a:lstStyle/>
          <a:p>
            <a:pPr algn="ctr"/>
            <a:endParaRPr/>
          </a:p>
        </p:txBody>
      </p:sp>
      <p:sp>
        <p:nvSpPr>
          <p:cNvPr id="35" name="ïšlíḋê">
            <a:extLst>
              <a:ext uri="{FF2B5EF4-FFF2-40B4-BE49-F238E27FC236}">
                <a16:creationId xmlns:a16="http://schemas.microsoft.com/office/drawing/2014/main" id="{F947767A-FD64-400C-BF4B-8B9E425EDE94}"/>
              </a:ext>
            </a:extLst>
          </p:cNvPr>
          <p:cNvSpPr/>
          <p:nvPr/>
        </p:nvSpPr>
        <p:spPr bwMode="auto">
          <a:xfrm>
            <a:off x="1443038" y="3443793"/>
            <a:ext cx="169863" cy="169863"/>
          </a:xfrm>
          <a:prstGeom prst="ellipse">
            <a:avLst/>
          </a:prstGeom>
          <a:solidFill>
            <a:schemeClr val="tx1">
              <a:lumMod val="65000"/>
              <a:lumOff val="35000"/>
            </a:schemeClr>
          </a:solidFill>
          <a:ln>
            <a:noFill/>
          </a:ln>
        </p:spPr>
        <p:txBody>
          <a:bodyPr anchor="ctr"/>
          <a:lstStyle/>
          <a:p>
            <a:pPr algn="ctr"/>
            <a:endParaRPr/>
          </a:p>
        </p:txBody>
      </p:sp>
      <p:grpSp>
        <p:nvGrpSpPr>
          <p:cNvPr id="6" name="组合 5">
            <a:extLst>
              <a:ext uri="{FF2B5EF4-FFF2-40B4-BE49-F238E27FC236}">
                <a16:creationId xmlns:a16="http://schemas.microsoft.com/office/drawing/2014/main" id="{0CB1CACA-C0D1-4715-871A-AA8FD797B62E}"/>
              </a:ext>
            </a:extLst>
          </p:cNvPr>
          <p:cNvGrpSpPr/>
          <p:nvPr/>
        </p:nvGrpSpPr>
        <p:grpSpPr>
          <a:xfrm>
            <a:off x="1838326" y="2075368"/>
            <a:ext cx="2995613" cy="3613150"/>
            <a:chOff x="1838326" y="2075368"/>
            <a:chExt cx="2995613" cy="3613150"/>
          </a:xfrm>
        </p:grpSpPr>
        <p:sp>
          <p:nvSpPr>
            <p:cNvPr id="36" name="îṩḷîḑe">
              <a:extLst>
                <a:ext uri="{FF2B5EF4-FFF2-40B4-BE49-F238E27FC236}">
                  <a16:creationId xmlns:a16="http://schemas.microsoft.com/office/drawing/2014/main" id="{5F9E40C6-A619-4536-AC6E-482B87FD8251}"/>
                </a:ext>
              </a:extLst>
            </p:cNvPr>
            <p:cNvSpPr/>
            <p:nvPr/>
          </p:nvSpPr>
          <p:spPr bwMode="auto">
            <a:xfrm>
              <a:off x="1838326" y="2075368"/>
              <a:ext cx="2995613" cy="3613150"/>
            </a:xfrm>
            <a:custGeom>
              <a:gdLst>
                <a:gd fmla="*/ 184 w 212" name="T0"/>
                <a:gd fmla="*/ 256 h 256" name="T1"/>
                <a:gd fmla="*/ 28 w 212" name="T2"/>
                <a:gd fmla="*/ 256 h 256" name="T3"/>
                <a:gd fmla="*/ 0 w 212" name="T4"/>
                <a:gd fmla="*/ 228 h 256" name="T5"/>
                <a:gd fmla="*/ 0 w 212" name="T6"/>
                <a:gd fmla="*/ 28 h 256" name="T7"/>
                <a:gd fmla="*/ 28 w 212" name="T8"/>
                <a:gd fmla="*/ 0 h 256" name="T9"/>
                <a:gd fmla="*/ 184 w 212" name="T10"/>
                <a:gd fmla="*/ 0 h 256" name="T11"/>
                <a:gd fmla="*/ 212 w 212" name="T12"/>
                <a:gd fmla="*/ 28 h 256" name="T13"/>
                <a:gd fmla="*/ 212 w 212" name="T14"/>
                <a:gd fmla="*/ 228 h 256" name="T15"/>
                <a:gd fmla="*/ 184 w 212" name="T16"/>
                <a:gd fmla="*/ 256 h 256" name="T17"/>
                <a:gd fmla="*/ 28 w 212" name="T18"/>
                <a:gd fmla="*/ 6 h 256" name="T19"/>
                <a:gd fmla="*/ 6 w 212" name="T20"/>
                <a:gd fmla="*/ 28 h 256" name="T21"/>
                <a:gd fmla="*/ 6 w 212" name="T22"/>
                <a:gd fmla="*/ 228 h 256" name="T23"/>
                <a:gd fmla="*/ 28 w 212" name="T24"/>
                <a:gd fmla="*/ 250 h 256" name="T25"/>
                <a:gd fmla="*/ 184 w 212" name="T26"/>
                <a:gd fmla="*/ 250 h 256" name="T27"/>
                <a:gd fmla="*/ 206 w 212" name="T28"/>
                <a:gd fmla="*/ 228 h 256" name="T29"/>
                <a:gd fmla="*/ 206 w 212" name="T30"/>
                <a:gd fmla="*/ 28 h 256" name="T31"/>
                <a:gd fmla="*/ 184 w 212" name="T32"/>
                <a:gd fmla="*/ 6 h 256" name="T33"/>
                <a:gd fmla="*/ 28 w 212" name="T34"/>
                <a:gd fmla="*/ 6 h 256" name="T3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b="b" l="0" r="r" t="0"/>
              <a:pathLst>
                <a:path h="256" w="211">
                  <a:moveTo>
                    <a:pt x="184" y="256"/>
                  </a:moveTo>
                  <a:cubicBezTo>
                    <a:pt x="28" y="256"/>
                    <a:pt x="28" y="256"/>
                    <a:pt x="28" y="256"/>
                  </a:cubicBezTo>
                  <a:cubicBezTo>
                    <a:pt x="12" y="256"/>
                    <a:pt x="0" y="243"/>
                    <a:pt x="0" y="228"/>
                  </a:cubicBezTo>
                  <a:cubicBezTo>
                    <a:pt x="0" y="28"/>
                    <a:pt x="0" y="28"/>
                    <a:pt x="0" y="28"/>
                  </a:cubicBezTo>
                  <a:cubicBezTo>
                    <a:pt x="0" y="12"/>
                    <a:pt x="12" y="0"/>
                    <a:pt x="28" y="0"/>
                  </a:cubicBezTo>
                  <a:cubicBezTo>
                    <a:pt x="184" y="0"/>
                    <a:pt x="184" y="0"/>
                    <a:pt x="184" y="0"/>
                  </a:cubicBezTo>
                  <a:cubicBezTo>
                    <a:pt x="200" y="0"/>
                    <a:pt x="212" y="12"/>
                    <a:pt x="212" y="28"/>
                  </a:cubicBezTo>
                  <a:cubicBezTo>
                    <a:pt x="212" y="228"/>
                    <a:pt x="212" y="228"/>
                    <a:pt x="212" y="228"/>
                  </a:cubicBezTo>
                  <a:cubicBezTo>
                    <a:pt x="212" y="243"/>
                    <a:pt x="200" y="256"/>
                    <a:pt x="184" y="256"/>
                  </a:cubicBezTo>
                  <a:close/>
                  <a:moveTo>
                    <a:pt x="28" y="6"/>
                  </a:moveTo>
                  <a:cubicBezTo>
                    <a:pt x="16" y="6"/>
                    <a:pt x="6" y="16"/>
                    <a:pt x="6" y="28"/>
                  </a:cubicBezTo>
                  <a:cubicBezTo>
                    <a:pt x="6" y="228"/>
                    <a:pt x="6" y="228"/>
                    <a:pt x="6" y="228"/>
                  </a:cubicBezTo>
                  <a:cubicBezTo>
                    <a:pt x="6" y="240"/>
                    <a:pt x="16" y="250"/>
                    <a:pt x="28" y="250"/>
                  </a:cubicBezTo>
                  <a:cubicBezTo>
                    <a:pt x="184" y="250"/>
                    <a:pt x="184" y="250"/>
                    <a:pt x="184" y="250"/>
                  </a:cubicBezTo>
                  <a:cubicBezTo>
                    <a:pt x="196" y="250"/>
                    <a:pt x="206" y="240"/>
                    <a:pt x="206" y="228"/>
                  </a:cubicBezTo>
                  <a:cubicBezTo>
                    <a:pt x="206" y="28"/>
                    <a:pt x="206" y="28"/>
                    <a:pt x="206" y="28"/>
                  </a:cubicBezTo>
                  <a:cubicBezTo>
                    <a:pt x="206" y="16"/>
                    <a:pt x="196" y="6"/>
                    <a:pt x="184" y="6"/>
                  </a:cubicBezTo>
                  <a:lnTo>
                    <a:pt x="28" y="6"/>
                  </a:lnTo>
                  <a:close/>
                </a:path>
              </a:pathLst>
            </a:custGeom>
            <a:solidFill>
              <a:schemeClr val="tx1">
                <a:lumMod val="65000"/>
                <a:lumOff val="35000"/>
              </a:schemeClr>
            </a:solidFill>
            <a:ln>
              <a:noFill/>
            </a:ln>
            <a:extLst>
              <a:ext uri="{91240B29-F687-4F45-9708-019B960494DF}">
                <a14:hiddenLine w="9525">
                  <a:solidFill>
                    <a:srgbClr val="000000"/>
                  </a:solidFill>
                  <a:round/>
                  <a:headEnd/>
                  <a:tailEnd/>
                </a14:hiddenLine>
              </a:ext>
            </a:extLst>
          </p:spPr>
          <p:txBody>
            <a:bodyPr anchor="ctr"/>
            <a:lstStyle/>
            <a:p>
              <a:pPr algn="ctr"/>
              <a:endParaRPr/>
            </a:p>
          </p:txBody>
        </p:sp>
        <p:grpSp>
          <p:nvGrpSpPr>
            <p:cNvPr id="4" name="组合 3">
              <a:extLst>
                <a:ext uri="{FF2B5EF4-FFF2-40B4-BE49-F238E27FC236}">
                  <a16:creationId xmlns:a16="http://schemas.microsoft.com/office/drawing/2014/main" id="{38E866DC-B94E-4C75-89E6-A2C059601D10}"/>
                </a:ext>
              </a:extLst>
            </p:cNvPr>
            <p:cNvGrpSpPr/>
            <p:nvPr/>
          </p:nvGrpSpPr>
          <p:grpSpPr>
            <a:xfrm>
              <a:off x="1881188" y="2116643"/>
              <a:ext cx="2909888" cy="3530600"/>
              <a:chOff x="1881188" y="2116643"/>
              <a:chExt cx="2909888" cy="3530600"/>
            </a:xfrm>
          </p:grpSpPr>
          <p:sp>
            <p:nvSpPr>
              <p:cNvPr id="14" name="íšľîďe">
                <a:extLst>
                  <a:ext uri="{FF2B5EF4-FFF2-40B4-BE49-F238E27FC236}">
                    <a16:creationId xmlns:a16="http://schemas.microsoft.com/office/drawing/2014/main" id="{273272BC-1BC4-4088-B369-45F03E272335}"/>
                  </a:ext>
                </a:extLst>
              </p:cNvPr>
              <p:cNvSpPr/>
              <p:nvPr/>
            </p:nvSpPr>
            <p:spPr bwMode="auto">
              <a:xfrm>
                <a:off x="1881188" y="2116643"/>
                <a:ext cx="2909888" cy="3530600"/>
              </a:xfrm>
              <a:custGeom>
                <a:gdLst>
                  <a:gd fmla="*/ 181 w 206" name="T0"/>
                  <a:gd fmla="*/ 0 h 250" name="T1"/>
                  <a:gd fmla="*/ 25 w 206" name="T2"/>
                  <a:gd fmla="*/ 0 h 250" name="T3"/>
                  <a:gd fmla="*/ 0 w 206" name="T4"/>
                  <a:gd fmla="*/ 25 h 250" name="T5"/>
                  <a:gd fmla="*/ 0 w 206" name="T6"/>
                  <a:gd fmla="*/ 225 h 250" name="T7"/>
                  <a:gd fmla="*/ 25 w 206" name="T8"/>
                  <a:gd fmla="*/ 250 h 250" name="T9"/>
                  <a:gd fmla="*/ 181 w 206" name="T10"/>
                  <a:gd fmla="*/ 250 h 250" name="T11"/>
                  <a:gd fmla="*/ 206 w 206" name="T12"/>
                  <a:gd fmla="*/ 225 h 250" name="T13"/>
                  <a:gd fmla="*/ 206 w 206" name="T14"/>
                  <a:gd fmla="*/ 25 h 250" name="T15"/>
                  <a:gd fmla="*/ 181 w 206" name="T16"/>
                  <a:gd fmla="*/ 0 h 250" name="T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b="b" l="0" r="r" t="0"/>
                <a:pathLst>
                  <a:path h="250" w="206">
                    <a:moveTo>
                      <a:pt x="181" y="0"/>
                    </a:moveTo>
                    <a:cubicBezTo>
                      <a:pt x="25" y="0"/>
                      <a:pt x="25" y="0"/>
                      <a:pt x="25" y="0"/>
                    </a:cubicBezTo>
                    <a:cubicBezTo>
                      <a:pt x="11" y="0"/>
                      <a:pt x="0" y="11"/>
                      <a:pt x="0" y="25"/>
                    </a:cubicBezTo>
                    <a:cubicBezTo>
                      <a:pt x="0" y="225"/>
                      <a:pt x="0" y="225"/>
                      <a:pt x="0" y="225"/>
                    </a:cubicBezTo>
                    <a:cubicBezTo>
                      <a:pt x="0" y="239"/>
                      <a:pt x="11" y="250"/>
                      <a:pt x="25" y="250"/>
                    </a:cubicBezTo>
                    <a:cubicBezTo>
                      <a:pt x="181" y="250"/>
                      <a:pt x="181" y="250"/>
                      <a:pt x="181" y="250"/>
                    </a:cubicBezTo>
                    <a:cubicBezTo>
                      <a:pt x="195" y="250"/>
                      <a:pt x="206" y="239"/>
                      <a:pt x="206" y="225"/>
                    </a:cubicBezTo>
                    <a:cubicBezTo>
                      <a:pt x="206" y="25"/>
                      <a:pt x="206" y="25"/>
                      <a:pt x="206" y="25"/>
                    </a:cubicBezTo>
                    <a:cubicBezTo>
                      <a:pt x="206" y="11"/>
                      <a:pt x="195" y="0"/>
                      <a:pt x="181" y="0"/>
                    </a:cubicBezTo>
                    <a:close/>
                  </a:path>
                </a:pathLst>
              </a:custGeom>
              <a:solidFill>
                <a:schemeClr val="bg1">
                  <a:lumMod val="65000"/>
                </a:schemeClr>
              </a:solidFill>
              <a:ln>
                <a:noFill/>
              </a:ln>
              <a:extLst>
                <a:ext uri="{91240B29-F687-4F45-9708-019B960494DF}">
                  <a14:hiddenLine w="9525">
                    <a:solidFill>
                      <a:srgbClr val="000000"/>
                    </a:solidFill>
                    <a:round/>
                    <a:headEnd/>
                    <a:tailEnd/>
                  </a14:hiddenLine>
                </a:ext>
              </a:extLst>
            </p:spPr>
            <p:txBody>
              <a:bodyPr anchor="ctr"/>
              <a:lstStyle/>
              <a:p>
                <a:pPr algn="ctr"/>
                <a:endParaRPr/>
              </a:p>
            </p:txBody>
          </p:sp>
          <p:sp>
            <p:nvSpPr>
              <p:cNvPr id="20" name="ïşľíḓe">
                <a:extLst>
                  <a:ext uri="{FF2B5EF4-FFF2-40B4-BE49-F238E27FC236}">
                    <a16:creationId xmlns:a16="http://schemas.microsoft.com/office/drawing/2014/main" id="{C004CCA7-A517-4D07-8DD0-3B0DDCACC410}"/>
                  </a:ext>
                </a:extLst>
              </p:cNvPr>
              <p:cNvSpPr/>
              <p:nvPr/>
            </p:nvSpPr>
            <p:spPr bwMode="auto">
              <a:xfrm>
                <a:off x="4084638" y="3697793"/>
                <a:ext cx="352425" cy="354013"/>
              </a:xfrm>
              <a:prstGeom prst="rect">
                <a:avLst/>
              </a:prstGeom>
              <a:solidFill>
                <a:srgbClr val="FAD3D4"/>
              </a:solidFill>
              <a:ln>
                <a:noFill/>
              </a:ln>
            </p:spPr>
            <p:txBody>
              <a:bodyPr anchor="ctr"/>
              <a:lstStyle/>
              <a:p>
                <a:pPr algn="ctr"/>
                <a:endParaRPr/>
              </a:p>
            </p:txBody>
          </p:sp>
          <p:sp>
            <p:nvSpPr>
              <p:cNvPr id="21" name="îšḻîde">
                <a:extLst>
                  <a:ext uri="{FF2B5EF4-FFF2-40B4-BE49-F238E27FC236}">
                    <a16:creationId xmlns:a16="http://schemas.microsoft.com/office/drawing/2014/main" id="{4498FBE3-165C-4883-B561-CDA5F6365158}"/>
                  </a:ext>
                </a:extLst>
              </p:cNvPr>
              <p:cNvSpPr/>
              <p:nvPr/>
            </p:nvSpPr>
            <p:spPr bwMode="auto">
              <a:xfrm>
                <a:off x="3462338" y="4940806"/>
                <a:ext cx="354013" cy="352425"/>
              </a:xfrm>
              <a:prstGeom prst="rect">
                <a:avLst/>
              </a:prstGeom>
              <a:solidFill>
                <a:schemeClr val="tx1">
                  <a:lumMod val="50000"/>
                  <a:lumOff val="50000"/>
                </a:schemeClr>
              </a:solidFill>
              <a:ln>
                <a:noFill/>
              </a:ln>
            </p:spPr>
            <p:txBody>
              <a:bodyPr anchor="ctr"/>
              <a:lstStyle/>
              <a:p>
                <a:pPr algn="ctr"/>
                <a:endParaRPr/>
              </a:p>
            </p:txBody>
          </p:sp>
          <p:sp>
            <p:nvSpPr>
              <p:cNvPr id="22" name="ïs1ídé">
                <a:extLst>
                  <a:ext uri="{FF2B5EF4-FFF2-40B4-BE49-F238E27FC236}">
                    <a16:creationId xmlns:a16="http://schemas.microsoft.com/office/drawing/2014/main" id="{BAC1AD04-C614-4745-B68F-43A3A566E287}"/>
                  </a:ext>
                </a:extLst>
              </p:cNvPr>
              <p:cNvSpPr/>
              <p:nvPr/>
            </p:nvSpPr>
            <p:spPr bwMode="auto">
              <a:xfrm>
                <a:off x="2855913" y="4940806"/>
                <a:ext cx="352425" cy="352425"/>
              </a:xfrm>
              <a:prstGeom prst="rect">
                <a:avLst/>
              </a:prstGeom>
              <a:solidFill>
                <a:schemeClr val="tx1">
                  <a:lumMod val="50000"/>
                  <a:lumOff val="50000"/>
                </a:schemeClr>
              </a:solidFill>
              <a:ln>
                <a:noFill/>
              </a:ln>
            </p:spPr>
            <p:txBody>
              <a:bodyPr anchor="ctr"/>
              <a:lstStyle/>
              <a:p>
                <a:pPr algn="ctr"/>
                <a:endParaRPr/>
              </a:p>
            </p:txBody>
          </p:sp>
          <p:sp>
            <p:nvSpPr>
              <p:cNvPr id="25" name="íṩḷïḓê">
                <a:extLst>
                  <a:ext uri="{FF2B5EF4-FFF2-40B4-BE49-F238E27FC236}">
                    <a16:creationId xmlns:a16="http://schemas.microsoft.com/office/drawing/2014/main" id="{062E3118-EFFD-4843-BBCB-EB529C8D346C}"/>
                  </a:ext>
                </a:extLst>
              </p:cNvPr>
              <p:cNvSpPr/>
              <p:nvPr/>
            </p:nvSpPr>
            <p:spPr bwMode="auto">
              <a:xfrm>
                <a:off x="4084638" y="4320093"/>
                <a:ext cx="352425" cy="973138"/>
              </a:xfrm>
              <a:prstGeom prst="rect">
                <a:avLst/>
              </a:prstGeom>
              <a:solidFill>
                <a:srgbClr val="FFE9B3"/>
              </a:solidFill>
              <a:ln>
                <a:noFill/>
              </a:ln>
            </p:spPr>
            <p:txBody>
              <a:bodyPr anchor="ctr"/>
              <a:lstStyle/>
              <a:p>
                <a:pPr algn="ctr"/>
                <a:endParaRPr/>
              </a:p>
            </p:txBody>
          </p:sp>
          <p:sp>
            <p:nvSpPr>
              <p:cNvPr id="26" name="î$1íďe">
                <a:extLst>
                  <a:ext uri="{FF2B5EF4-FFF2-40B4-BE49-F238E27FC236}">
                    <a16:creationId xmlns:a16="http://schemas.microsoft.com/office/drawing/2014/main" id="{029C4668-FB85-4EFB-A4DE-13AA1911F474}"/>
                  </a:ext>
                </a:extLst>
              </p:cNvPr>
              <p:cNvSpPr/>
              <p:nvPr/>
            </p:nvSpPr>
            <p:spPr bwMode="auto">
              <a:xfrm>
                <a:off x="2132965" y="2470656"/>
                <a:ext cx="2404746" cy="704850"/>
              </a:xfrm>
              <a:prstGeom prst="rect">
                <a:avLst/>
              </a:prstGeom>
              <a:solidFill>
                <a:schemeClr val="bg1"/>
              </a:solidFill>
              <a:ln>
                <a:noFill/>
              </a:ln>
            </p:spPr>
            <p:txBody>
              <a:bodyPr anchor="ctr"/>
              <a:lstStyle/>
              <a:p>
                <a:pPr algn="ctr"/>
                <a:endParaRPr/>
              </a:p>
            </p:txBody>
          </p:sp>
          <p:sp>
            <p:nvSpPr>
              <p:cNvPr id="27" name="íslïďè">
                <a:extLst>
                  <a:ext uri="{FF2B5EF4-FFF2-40B4-BE49-F238E27FC236}">
                    <a16:creationId xmlns:a16="http://schemas.microsoft.com/office/drawing/2014/main" id="{34587DB5-7CEF-4A3B-A8D2-60E850BB2FD4}"/>
                  </a:ext>
                </a:extLst>
              </p:cNvPr>
              <p:cNvSpPr/>
              <p:nvPr/>
            </p:nvSpPr>
            <p:spPr bwMode="auto">
              <a:xfrm>
                <a:off x="3462338" y="4320093"/>
                <a:ext cx="354013" cy="352425"/>
              </a:xfrm>
              <a:prstGeom prst="rect">
                <a:avLst/>
              </a:prstGeom>
              <a:solidFill>
                <a:schemeClr val="tx1">
                  <a:lumMod val="50000"/>
                  <a:lumOff val="50000"/>
                </a:schemeClr>
              </a:solidFill>
              <a:ln>
                <a:noFill/>
              </a:ln>
            </p:spPr>
            <p:txBody>
              <a:bodyPr anchor="ctr"/>
              <a:lstStyle/>
              <a:p>
                <a:pPr algn="ctr"/>
                <a:endParaRPr/>
              </a:p>
            </p:txBody>
          </p:sp>
          <p:sp>
            <p:nvSpPr>
              <p:cNvPr id="28" name="islïḍê">
                <a:extLst>
                  <a:ext uri="{FF2B5EF4-FFF2-40B4-BE49-F238E27FC236}">
                    <a16:creationId xmlns:a16="http://schemas.microsoft.com/office/drawing/2014/main" id="{F4497480-4827-453A-8995-CECB7A55604B}"/>
                  </a:ext>
                </a:extLst>
              </p:cNvPr>
              <p:cNvSpPr/>
              <p:nvPr/>
            </p:nvSpPr>
            <p:spPr bwMode="auto">
              <a:xfrm>
                <a:off x="3462338" y="3697793"/>
                <a:ext cx="354013" cy="354013"/>
              </a:xfrm>
              <a:prstGeom prst="rect">
                <a:avLst/>
              </a:prstGeom>
              <a:solidFill>
                <a:schemeClr val="tx1">
                  <a:lumMod val="50000"/>
                  <a:lumOff val="50000"/>
                </a:schemeClr>
              </a:solidFill>
              <a:ln>
                <a:noFill/>
              </a:ln>
            </p:spPr>
            <p:txBody>
              <a:bodyPr anchor="ctr"/>
              <a:lstStyle/>
              <a:p>
                <a:pPr algn="ctr"/>
                <a:endParaRPr/>
              </a:p>
            </p:txBody>
          </p:sp>
          <p:sp>
            <p:nvSpPr>
              <p:cNvPr id="29" name="íṣ1îďé">
                <a:extLst>
                  <a:ext uri="{FF2B5EF4-FFF2-40B4-BE49-F238E27FC236}">
                    <a16:creationId xmlns:a16="http://schemas.microsoft.com/office/drawing/2014/main" id="{9319D1DB-6092-4FEE-9443-AFB0DEFAF45A}"/>
                  </a:ext>
                </a:extLst>
              </p:cNvPr>
              <p:cNvSpPr/>
              <p:nvPr/>
            </p:nvSpPr>
            <p:spPr bwMode="auto">
              <a:xfrm>
                <a:off x="2855913" y="4320093"/>
                <a:ext cx="352425" cy="352425"/>
              </a:xfrm>
              <a:prstGeom prst="rect">
                <a:avLst/>
              </a:prstGeom>
              <a:solidFill>
                <a:srgbClr val="A0CBD0"/>
              </a:solidFill>
              <a:ln>
                <a:noFill/>
              </a:ln>
            </p:spPr>
            <p:txBody>
              <a:bodyPr anchor="ctr"/>
              <a:lstStyle/>
              <a:p>
                <a:pPr algn="ctr"/>
                <a:endParaRPr/>
              </a:p>
            </p:txBody>
          </p:sp>
          <p:sp>
            <p:nvSpPr>
              <p:cNvPr id="30" name="iSľïḍé">
                <a:extLst>
                  <a:ext uri="{FF2B5EF4-FFF2-40B4-BE49-F238E27FC236}">
                    <a16:creationId xmlns:a16="http://schemas.microsoft.com/office/drawing/2014/main" id="{072E4502-2D87-4888-A3D5-A60BEB652D58}"/>
                  </a:ext>
                </a:extLst>
              </p:cNvPr>
              <p:cNvSpPr/>
              <p:nvPr/>
            </p:nvSpPr>
            <p:spPr bwMode="auto">
              <a:xfrm>
                <a:off x="2855913" y="3697793"/>
                <a:ext cx="352425" cy="354013"/>
              </a:xfrm>
              <a:prstGeom prst="rect">
                <a:avLst/>
              </a:prstGeom>
              <a:solidFill>
                <a:schemeClr val="tx1">
                  <a:lumMod val="50000"/>
                  <a:lumOff val="50000"/>
                </a:schemeClr>
              </a:solidFill>
              <a:ln>
                <a:noFill/>
              </a:ln>
            </p:spPr>
            <p:txBody>
              <a:bodyPr anchor="ctr"/>
              <a:lstStyle/>
              <a:p>
                <a:pPr algn="ctr"/>
                <a:endParaRPr/>
              </a:p>
            </p:txBody>
          </p:sp>
          <p:sp>
            <p:nvSpPr>
              <p:cNvPr id="31" name="íšľiďê">
                <a:extLst>
                  <a:ext uri="{FF2B5EF4-FFF2-40B4-BE49-F238E27FC236}">
                    <a16:creationId xmlns:a16="http://schemas.microsoft.com/office/drawing/2014/main" id="{ED476885-DD44-40D8-BB7E-A3A148925324}"/>
                  </a:ext>
                </a:extLst>
              </p:cNvPr>
              <p:cNvSpPr/>
              <p:nvPr/>
            </p:nvSpPr>
            <p:spPr bwMode="auto">
              <a:xfrm>
                <a:off x="2233613" y="4940806"/>
                <a:ext cx="354013" cy="352425"/>
              </a:xfrm>
              <a:prstGeom prst="rect">
                <a:avLst/>
              </a:prstGeom>
              <a:solidFill>
                <a:srgbClr val="B3E4FF"/>
              </a:solidFill>
              <a:ln>
                <a:noFill/>
              </a:ln>
            </p:spPr>
            <p:txBody>
              <a:bodyPr anchor="ctr"/>
              <a:lstStyle/>
              <a:p>
                <a:pPr algn="ctr"/>
                <a:endParaRPr/>
              </a:p>
            </p:txBody>
          </p:sp>
          <p:sp>
            <p:nvSpPr>
              <p:cNvPr id="32" name="îśľîďé">
                <a:extLst>
                  <a:ext uri="{FF2B5EF4-FFF2-40B4-BE49-F238E27FC236}">
                    <a16:creationId xmlns:a16="http://schemas.microsoft.com/office/drawing/2014/main" id="{C0D392E0-C649-4AA8-B616-59F2A88F321B}"/>
                  </a:ext>
                </a:extLst>
              </p:cNvPr>
              <p:cNvSpPr/>
              <p:nvPr/>
            </p:nvSpPr>
            <p:spPr bwMode="auto">
              <a:xfrm>
                <a:off x="2233613" y="4320093"/>
                <a:ext cx="354013" cy="352425"/>
              </a:xfrm>
              <a:prstGeom prst="rect">
                <a:avLst/>
              </a:prstGeom>
              <a:solidFill>
                <a:schemeClr val="tx1">
                  <a:lumMod val="50000"/>
                  <a:lumOff val="50000"/>
                </a:schemeClr>
              </a:solidFill>
              <a:ln>
                <a:noFill/>
              </a:ln>
            </p:spPr>
            <p:txBody>
              <a:bodyPr anchor="ctr"/>
              <a:lstStyle/>
              <a:p>
                <a:pPr algn="ctr"/>
                <a:endParaRPr/>
              </a:p>
            </p:txBody>
          </p:sp>
          <p:sp>
            <p:nvSpPr>
              <p:cNvPr id="33" name="îṩlîḍè">
                <a:extLst>
                  <a:ext uri="{FF2B5EF4-FFF2-40B4-BE49-F238E27FC236}">
                    <a16:creationId xmlns:a16="http://schemas.microsoft.com/office/drawing/2014/main" id="{86BBFB87-1634-43B3-8FDE-E7158D7EEFC3}"/>
                  </a:ext>
                </a:extLst>
              </p:cNvPr>
              <p:cNvSpPr/>
              <p:nvPr/>
            </p:nvSpPr>
            <p:spPr bwMode="auto">
              <a:xfrm>
                <a:off x="2233613" y="3697793"/>
                <a:ext cx="354013" cy="354013"/>
              </a:xfrm>
              <a:prstGeom prst="rect">
                <a:avLst/>
              </a:prstGeom>
              <a:solidFill>
                <a:schemeClr val="tx1">
                  <a:lumMod val="75000"/>
                  <a:lumOff val="25000"/>
                </a:schemeClr>
              </a:solidFill>
              <a:ln>
                <a:noFill/>
              </a:ln>
            </p:spPr>
            <p:txBody>
              <a:bodyPr anchor="ctr"/>
              <a:lstStyle/>
              <a:p>
                <a:pPr algn="ctr"/>
                <a:endParaRPr/>
              </a:p>
            </p:txBody>
          </p:sp>
          <p:sp>
            <p:nvSpPr>
              <p:cNvPr id="37" name="ïşliḋe">
                <a:extLst>
                  <a:ext uri="{FF2B5EF4-FFF2-40B4-BE49-F238E27FC236}">
                    <a16:creationId xmlns:a16="http://schemas.microsoft.com/office/drawing/2014/main" id="{4B797F1C-AB64-4634-8621-F0E11D49C2A8}"/>
                  </a:ext>
                </a:extLst>
              </p:cNvPr>
              <p:cNvSpPr/>
              <p:nvPr/>
            </p:nvSpPr>
            <p:spPr bwMode="auto">
              <a:xfrm>
                <a:off x="2078899" y="2367248"/>
                <a:ext cx="2512880" cy="911666"/>
              </a:xfrm>
              <a:custGeom>
                <a:gdLst>
                  <a:gd fmla="*/ 159 w 162" name="T0"/>
                  <a:gd fmla="*/ 56 h 56" name="T1"/>
                  <a:gd fmla="*/ 3 w 162" name="T2"/>
                  <a:gd fmla="*/ 56 h 56" name="T3"/>
                  <a:gd fmla="*/ 0 w 162" name="T4"/>
                  <a:gd fmla="*/ 53 h 56" name="T5"/>
                  <a:gd fmla="*/ 0 w 162" name="T6"/>
                  <a:gd fmla="*/ 3 h 56" name="T7"/>
                  <a:gd fmla="*/ 3 w 162" name="T8"/>
                  <a:gd fmla="*/ 0 h 56" name="T9"/>
                  <a:gd fmla="*/ 159 w 162" name="T10"/>
                  <a:gd fmla="*/ 0 h 56" name="T11"/>
                  <a:gd fmla="*/ 162 w 162" name="T12"/>
                  <a:gd fmla="*/ 3 h 56" name="T13"/>
                  <a:gd fmla="*/ 162 w 162" name="T14"/>
                  <a:gd fmla="*/ 53 h 56" name="T15"/>
                  <a:gd fmla="*/ 159 w 162" name="T16"/>
                  <a:gd fmla="*/ 56 h 56" name="T17"/>
                  <a:gd fmla="*/ 6 w 162" name="T18"/>
                  <a:gd fmla="*/ 50 h 56" name="T19"/>
                  <a:gd fmla="*/ 156 w 162" name="T20"/>
                  <a:gd fmla="*/ 50 h 56" name="T21"/>
                  <a:gd fmla="*/ 156 w 162" name="T22"/>
                  <a:gd fmla="*/ 6 h 56" name="T23"/>
                  <a:gd fmla="*/ 6 w 162" name="T24"/>
                  <a:gd fmla="*/ 6 h 56" name="T25"/>
                  <a:gd fmla="*/ 6 w 162" name="T26"/>
                  <a:gd fmla="*/ 50 h 56" name="T2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b="b" l="0" r="r" t="0"/>
                <a:pathLst>
                  <a:path h="56" w="162">
                    <a:moveTo>
                      <a:pt x="159" y="56"/>
                    </a:moveTo>
                    <a:cubicBezTo>
                      <a:pt x="3" y="56"/>
                      <a:pt x="3" y="56"/>
                      <a:pt x="3" y="56"/>
                    </a:cubicBezTo>
                    <a:cubicBezTo>
                      <a:pt x="1" y="56"/>
                      <a:pt x="0" y="55"/>
                      <a:pt x="0" y="53"/>
                    </a:cubicBezTo>
                    <a:cubicBezTo>
                      <a:pt x="0" y="3"/>
                      <a:pt x="0" y="3"/>
                      <a:pt x="0" y="3"/>
                    </a:cubicBezTo>
                    <a:cubicBezTo>
                      <a:pt x="0" y="1"/>
                      <a:pt x="1" y="0"/>
                      <a:pt x="3" y="0"/>
                    </a:cubicBezTo>
                    <a:cubicBezTo>
                      <a:pt x="159" y="0"/>
                      <a:pt x="159" y="0"/>
                      <a:pt x="159" y="0"/>
                    </a:cubicBezTo>
                    <a:cubicBezTo>
                      <a:pt x="161" y="0"/>
                      <a:pt x="162" y="1"/>
                      <a:pt x="162" y="3"/>
                    </a:cubicBezTo>
                    <a:cubicBezTo>
                      <a:pt x="162" y="53"/>
                      <a:pt x="162" y="53"/>
                      <a:pt x="162" y="53"/>
                    </a:cubicBezTo>
                    <a:cubicBezTo>
                      <a:pt x="162" y="55"/>
                      <a:pt x="161" y="56"/>
                      <a:pt x="159" y="56"/>
                    </a:cubicBezTo>
                    <a:close/>
                    <a:moveTo>
                      <a:pt x="6" y="50"/>
                    </a:moveTo>
                    <a:cubicBezTo>
                      <a:pt x="156" y="50"/>
                      <a:pt x="156" y="50"/>
                      <a:pt x="156" y="50"/>
                    </a:cubicBezTo>
                    <a:cubicBezTo>
                      <a:pt x="156" y="6"/>
                      <a:pt x="156" y="6"/>
                      <a:pt x="156" y="6"/>
                    </a:cubicBezTo>
                    <a:cubicBezTo>
                      <a:pt x="6" y="6"/>
                      <a:pt x="6" y="6"/>
                      <a:pt x="6" y="6"/>
                    </a:cubicBezTo>
                    <a:lnTo>
                      <a:pt x="6" y="50"/>
                    </a:lnTo>
                    <a:close/>
                  </a:path>
                </a:pathLst>
              </a:custGeom>
              <a:solidFill>
                <a:schemeClr val="tx1">
                  <a:lumMod val="65000"/>
                  <a:lumOff val="35000"/>
                </a:schemeClr>
              </a:solidFill>
              <a:ln>
                <a:noFill/>
              </a:ln>
              <a:extLst>
                <a:ext uri="{91240B29-F687-4F45-9708-019B960494DF}">
                  <a14:hiddenLine w="9525">
                    <a:solidFill>
                      <a:srgbClr val="000000"/>
                    </a:solidFill>
                    <a:round/>
                    <a:headEnd/>
                    <a:tailEnd/>
                  </a14:hiddenLine>
                </a:ext>
              </a:extLst>
            </p:spPr>
            <p:txBody>
              <a:bodyPr anchor="ctr"/>
              <a:lstStyle/>
              <a:p>
                <a:pPr algn="ctr"/>
                <a:endParaRPr/>
              </a:p>
            </p:txBody>
          </p:sp>
          <p:sp>
            <p:nvSpPr>
              <p:cNvPr id="38" name="îṣḷíḋè">
                <a:extLst>
                  <a:ext uri="{FF2B5EF4-FFF2-40B4-BE49-F238E27FC236}">
                    <a16:creationId xmlns:a16="http://schemas.microsoft.com/office/drawing/2014/main" id="{D4C696A4-62C8-41B5-B1DB-0D6B4A332FE3}"/>
                  </a:ext>
                </a:extLst>
              </p:cNvPr>
              <p:cNvSpPr/>
              <p:nvPr/>
            </p:nvSpPr>
            <p:spPr bwMode="auto">
              <a:xfrm>
                <a:off x="2190751" y="4897943"/>
                <a:ext cx="438150" cy="438150"/>
              </a:xfrm>
              <a:custGeom>
                <a:gdLst>
                  <a:gd fmla="*/ 28 w 31" name="T0"/>
                  <a:gd fmla="*/ 31 h 31" name="T1"/>
                  <a:gd fmla="*/ 3 w 31" name="T2"/>
                  <a:gd fmla="*/ 31 h 31" name="T3"/>
                  <a:gd fmla="*/ 0 w 31" name="T4"/>
                  <a:gd fmla="*/ 28 h 31" name="T5"/>
                  <a:gd fmla="*/ 0 w 31" name="T6"/>
                  <a:gd fmla="*/ 3 h 31" name="T7"/>
                  <a:gd fmla="*/ 3 w 31" name="T8"/>
                  <a:gd fmla="*/ 0 h 31" name="T9"/>
                  <a:gd fmla="*/ 28 w 31" name="T10"/>
                  <a:gd fmla="*/ 0 h 31" name="T11"/>
                  <a:gd fmla="*/ 31 w 31" name="T12"/>
                  <a:gd fmla="*/ 3 h 31" name="T13"/>
                  <a:gd fmla="*/ 31 w 31" name="T14"/>
                  <a:gd fmla="*/ 28 h 31" name="T15"/>
                  <a:gd fmla="*/ 28 w 31" name="T16"/>
                  <a:gd fmla="*/ 31 h 31" name="T17"/>
                  <a:gd fmla="*/ 6 w 31" name="T18"/>
                  <a:gd fmla="*/ 25 h 31" name="T19"/>
                  <a:gd fmla="*/ 25 w 31" name="T20"/>
                  <a:gd fmla="*/ 25 h 31" name="T21"/>
                  <a:gd fmla="*/ 25 w 31" name="T22"/>
                  <a:gd fmla="*/ 6 h 31" name="T23"/>
                  <a:gd fmla="*/ 6 w 31" name="T24"/>
                  <a:gd fmla="*/ 6 h 31" name="T25"/>
                  <a:gd fmla="*/ 6 w 31" name="T26"/>
                  <a:gd fmla="*/ 25 h 31" name="T2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b="b" l="0" r="r" t="0"/>
                <a:pathLst>
                  <a:path h="31" w="31">
                    <a:moveTo>
                      <a:pt x="28" y="31"/>
                    </a:moveTo>
                    <a:cubicBezTo>
                      <a:pt x="3" y="31"/>
                      <a:pt x="3" y="31"/>
                      <a:pt x="3" y="31"/>
                    </a:cubicBezTo>
                    <a:cubicBezTo>
                      <a:pt x="1" y="31"/>
                      <a:pt x="0" y="29"/>
                      <a:pt x="0" y="28"/>
                    </a:cubicBezTo>
                    <a:cubicBezTo>
                      <a:pt x="0" y="3"/>
                      <a:pt x="0" y="3"/>
                      <a:pt x="0" y="3"/>
                    </a:cubicBezTo>
                    <a:cubicBezTo>
                      <a:pt x="0" y="1"/>
                      <a:pt x="1" y="0"/>
                      <a:pt x="3" y="0"/>
                    </a:cubicBezTo>
                    <a:cubicBezTo>
                      <a:pt x="28" y="0"/>
                      <a:pt x="28" y="0"/>
                      <a:pt x="28" y="0"/>
                    </a:cubicBezTo>
                    <a:cubicBezTo>
                      <a:pt x="30" y="0"/>
                      <a:pt x="31" y="1"/>
                      <a:pt x="31" y="3"/>
                    </a:cubicBezTo>
                    <a:cubicBezTo>
                      <a:pt x="31" y="28"/>
                      <a:pt x="31" y="28"/>
                      <a:pt x="31" y="28"/>
                    </a:cubicBezTo>
                    <a:cubicBezTo>
                      <a:pt x="31" y="29"/>
                      <a:pt x="30" y="31"/>
                      <a:pt x="28" y="31"/>
                    </a:cubicBezTo>
                    <a:close/>
                    <a:moveTo>
                      <a:pt x="6" y="25"/>
                    </a:moveTo>
                    <a:cubicBezTo>
                      <a:pt x="25" y="25"/>
                      <a:pt x="25" y="25"/>
                      <a:pt x="25" y="25"/>
                    </a:cubicBezTo>
                    <a:cubicBezTo>
                      <a:pt x="25" y="6"/>
                      <a:pt x="25" y="6"/>
                      <a:pt x="25" y="6"/>
                    </a:cubicBezTo>
                    <a:cubicBezTo>
                      <a:pt x="6" y="6"/>
                      <a:pt x="6" y="6"/>
                      <a:pt x="6" y="6"/>
                    </a:cubicBezTo>
                    <a:lnTo>
                      <a:pt x="6" y="25"/>
                    </a:lnTo>
                    <a:close/>
                  </a:path>
                </a:pathLst>
              </a:custGeom>
              <a:solidFill>
                <a:schemeClr val="tx1">
                  <a:lumMod val="65000"/>
                  <a:lumOff val="35000"/>
                </a:schemeClr>
              </a:solidFill>
              <a:ln>
                <a:noFill/>
              </a:ln>
            </p:spPr>
            <p:txBody>
              <a:bodyPr anchor="ctr"/>
              <a:lstStyle/>
              <a:p>
                <a:pPr algn="ctr"/>
                <a:endParaRPr/>
              </a:p>
            </p:txBody>
          </p:sp>
          <p:sp>
            <p:nvSpPr>
              <p:cNvPr id="39" name="íṥḷidê">
                <a:extLst>
                  <a:ext uri="{FF2B5EF4-FFF2-40B4-BE49-F238E27FC236}">
                    <a16:creationId xmlns:a16="http://schemas.microsoft.com/office/drawing/2014/main" id="{8EFC27AE-AAA5-404E-9ED9-57F1274A01E4}"/>
                  </a:ext>
                </a:extLst>
              </p:cNvPr>
              <p:cNvSpPr/>
              <p:nvPr/>
            </p:nvSpPr>
            <p:spPr bwMode="auto">
              <a:xfrm>
                <a:off x="2813051" y="4897943"/>
                <a:ext cx="438150" cy="438150"/>
              </a:xfrm>
              <a:custGeom>
                <a:gdLst>
                  <a:gd fmla="*/ 28 w 31" name="T0"/>
                  <a:gd fmla="*/ 31 h 31" name="T1"/>
                  <a:gd fmla="*/ 3 w 31" name="T2"/>
                  <a:gd fmla="*/ 31 h 31" name="T3"/>
                  <a:gd fmla="*/ 0 w 31" name="T4"/>
                  <a:gd fmla="*/ 28 h 31" name="T5"/>
                  <a:gd fmla="*/ 0 w 31" name="T6"/>
                  <a:gd fmla="*/ 3 h 31" name="T7"/>
                  <a:gd fmla="*/ 3 w 31" name="T8"/>
                  <a:gd fmla="*/ 0 h 31" name="T9"/>
                  <a:gd fmla="*/ 28 w 31" name="T10"/>
                  <a:gd fmla="*/ 0 h 31" name="T11"/>
                  <a:gd fmla="*/ 31 w 31" name="T12"/>
                  <a:gd fmla="*/ 3 h 31" name="T13"/>
                  <a:gd fmla="*/ 31 w 31" name="T14"/>
                  <a:gd fmla="*/ 28 h 31" name="T15"/>
                  <a:gd fmla="*/ 28 w 31" name="T16"/>
                  <a:gd fmla="*/ 31 h 31" name="T17"/>
                  <a:gd fmla="*/ 6 w 31" name="T18"/>
                  <a:gd fmla="*/ 25 h 31" name="T19"/>
                  <a:gd fmla="*/ 25 w 31" name="T20"/>
                  <a:gd fmla="*/ 25 h 31" name="T21"/>
                  <a:gd fmla="*/ 25 w 31" name="T22"/>
                  <a:gd fmla="*/ 6 h 31" name="T23"/>
                  <a:gd fmla="*/ 6 w 31" name="T24"/>
                  <a:gd fmla="*/ 6 h 31" name="T25"/>
                  <a:gd fmla="*/ 6 w 31" name="T26"/>
                  <a:gd fmla="*/ 25 h 31" name="T2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b="b" l="0" r="r" t="0"/>
                <a:pathLst>
                  <a:path h="31" w="31">
                    <a:moveTo>
                      <a:pt x="28" y="31"/>
                    </a:moveTo>
                    <a:cubicBezTo>
                      <a:pt x="3" y="31"/>
                      <a:pt x="3" y="31"/>
                      <a:pt x="3" y="31"/>
                    </a:cubicBezTo>
                    <a:cubicBezTo>
                      <a:pt x="1" y="31"/>
                      <a:pt x="0" y="29"/>
                      <a:pt x="0" y="28"/>
                    </a:cubicBezTo>
                    <a:cubicBezTo>
                      <a:pt x="0" y="3"/>
                      <a:pt x="0" y="3"/>
                      <a:pt x="0" y="3"/>
                    </a:cubicBezTo>
                    <a:cubicBezTo>
                      <a:pt x="0" y="1"/>
                      <a:pt x="1" y="0"/>
                      <a:pt x="3" y="0"/>
                    </a:cubicBezTo>
                    <a:cubicBezTo>
                      <a:pt x="28" y="0"/>
                      <a:pt x="28" y="0"/>
                      <a:pt x="28" y="0"/>
                    </a:cubicBezTo>
                    <a:cubicBezTo>
                      <a:pt x="29" y="0"/>
                      <a:pt x="31" y="1"/>
                      <a:pt x="31" y="3"/>
                    </a:cubicBezTo>
                    <a:cubicBezTo>
                      <a:pt x="31" y="28"/>
                      <a:pt x="31" y="28"/>
                      <a:pt x="31" y="28"/>
                    </a:cubicBezTo>
                    <a:cubicBezTo>
                      <a:pt x="31" y="29"/>
                      <a:pt x="29" y="31"/>
                      <a:pt x="28" y="31"/>
                    </a:cubicBezTo>
                    <a:close/>
                    <a:moveTo>
                      <a:pt x="6" y="25"/>
                    </a:moveTo>
                    <a:cubicBezTo>
                      <a:pt x="25" y="25"/>
                      <a:pt x="25" y="25"/>
                      <a:pt x="25" y="25"/>
                    </a:cubicBezTo>
                    <a:cubicBezTo>
                      <a:pt x="25" y="6"/>
                      <a:pt x="25" y="6"/>
                      <a:pt x="25" y="6"/>
                    </a:cubicBezTo>
                    <a:cubicBezTo>
                      <a:pt x="6" y="6"/>
                      <a:pt x="6" y="6"/>
                      <a:pt x="6" y="6"/>
                    </a:cubicBezTo>
                    <a:lnTo>
                      <a:pt x="6" y="25"/>
                    </a:lnTo>
                    <a:close/>
                  </a:path>
                </a:pathLst>
              </a:custGeom>
              <a:solidFill>
                <a:schemeClr val="tx1">
                  <a:lumMod val="65000"/>
                  <a:lumOff val="35000"/>
                </a:schemeClr>
              </a:solidFill>
              <a:ln>
                <a:noFill/>
              </a:ln>
            </p:spPr>
            <p:txBody>
              <a:bodyPr anchor="ctr"/>
              <a:lstStyle/>
              <a:p>
                <a:pPr algn="ctr"/>
                <a:endParaRPr/>
              </a:p>
            </p:txBody>
          </p:sp>
          <p:sp>
            <p:nvSpPr>
              <p:cNvPr id="40" name="îṣlíḍe">
                <a:extLst>
                  <a:ext uri="{FF2B5EF4-FFF2-40B4-BE49-F238E27FC236}">
                    <a16:creationId xmlns:a16="http://schemas.microsoft.com/office/drawing/2014/main" id="{EC29FC32-FD95-4BDA-BABB-25357004D2AF}"/>
                  </a:ext>
                </a:extLst>
              </p:cNvPr>
              <p:cNvSpPr/>
              <p:nvPr/>
            </p:nvSpPr>
            <p:spPr bwMode="auto">
              <a:xfrm>
                <a:off x="3421063" y="4897943"/>
                <a:ext cx="450850" cy="438150"/>
              </a:xfrm>
              <a:custGeom>
                <a:gdLst>
                  <a:gd fmla="*/ 28 w 32" name="T0"/>
                  <a:gd fmla="*/ 31 h 31" name="T1"/>
                  <a:gd fmla="*/ 3 w 32" name="T2"/>
                  <a:gd fmla="*/ 31 h 31" name="T3"/>
                  <a:gd fmla="*/ 0 w 32" name="T4"/>
                  <a:gd fmla="*/ 28 h 31" name="T5"/>
                  <a:gd fmla="*/ 0 w 32" name="T6"/>
                  <a:gd fmla="*/ 3 h 31" name="T7"/>
                  <a:gd fmla="*/ 3 w 32" name="T8"/>
                  <a:gd fmla="*/ 0 h 31" name="T9"/>
                  <a:gd fmla="*/ 28 w 32" name="T10"/>
                  <a:gd fmla="*/ 0 h 31" name="T11"/>
                  <a:gd fmla="*/ 32 w 32" name="T12"/>
                  <a:gd fmla="*/ 3 h 31" name="T13"/>
                  <a:gd fmla="*/ 32 w 32" name="T14"/>
                  <a:gd fmla="*/ 28 h 31" name="T15"/>
                  <a:gd fmla="*/ 28 w 32" name="T16"/>
                  <a:gd fmla="*/ 31 h 31" name="T17"/>
                  <a:gd fmla="*/ 7 w 32" name="T18"/>
                  <a:gd fmla="*/ 25 h 31" name="T19"/>
                  <a:gd fmla="*/ 25 w 32" name="T20"/>
                  <a:gd fmla="*/ 25 h 31" name="T21"/>
                  <a:gd fmla="*/ 25 w 32" name="T22"/>
                  <a:gd fmla="*/ 6 h 31" name="T23"/>
                  <a:gd fmla="*/ 7 w 32" name="T24"/>
                  <a:gd fmla="*/ 6 h 31" name="T25"/>
                  <a:gd fmla="*/ 7 w 32" name="T26"/>
                  <a:gd fmla="*/ 25 h 31" name="T2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b="b" l="0" r="r" t="0"/>
                <a:pathLst>
                  <a:path h="31" w="32">
                    <a:moveTo>
                      <a:pt x="28" y="31"/>
                    </a:moveTo>
                    <a:cubicBezTo>
                      <a:pt x="3" y="31"/>
                      <a:pt x="3" y="31"/>
                      <a:pt x="3" y="31"/>
                    </a:cubicBezTo>
                    <a:cubicBezTo>
                      <a:pt x="2" y="31"/>
                      <a:pt x="0" y="29"/>
                      <a:pt x="0" y="28"/>
                    </a:cubicBezTo>
                    <a:cubicBezTo>
                      <a:pt x="0" y="3"/>
                      <a:pt x="0" y="3"/>
                      <a:pt x="0" y="3"/>
                    </a:cubicBezTo>
                    <a:cubicBezTo>
                      <a:pt x="0" y="1"/>
                      <a:pt x="2" y="0"/>
                      <a:pt x="3" y="0"/>
                    </a:cubicBezTo>
                    <a:cubicBezTo>
                      <a:pt x="28" y="0"/>
                      <a:pt x="28" y="0"/>
                      <a:pt x="28" y="0"/>
                    </a:cubicBezTo>
                    <a:cubicBezTo>
                      <a:pt x="30" y="0"/>
                      <a:pt x="32" y="1"/>
                      <a:pt x="32" y="3"/>
                    </a:cubicBezTo>
                    <a:cubicBezTo>
                      <a:pt x="32" y="28"/>
                      <a:pt x="32" y="28"/>
                      <a:pt x="32" y="28"/>
                    </a:cubicBezTo>
                    <a:cubicBezTo>
                      <a:pt x="32" y="29"/>
                      <a:pt x="30" y="31"/>
                      <a:pt x="28" y="31"/>
                    </a:cubicBezTo>
                    <a:close/>
                    <a:moveTo>
                      <a:pt x="7" y="25"/>
                    </a:moveTo>
                    <a:cubicBezTo>
                      <a:pt x="25" y="25"/>
                      <a:pt x="25" y="25"/>
                      <a:pt x="25" y="25"/>
                    </a:cubicBezTo>
                    <a:cubicBezTo>
                      <a:pt x="25" y="6"/>
                      <a:pt x="25" y="6"/>
                      <a:pt x="25" y="6"/>
                    </a:cubicBezTo>
                    <a:cubicBezTo>
                      <a:pt x="7" y="6"/>
                      <a:pt x="7" y="6"/>
                      <a:pt x="7" y="6"/>
                    </a:cubicBezTo>
                    <a:lnTo>
                      <a:pt x="7" y="25"/>
                    </a:lnTo>
                    <a:close/>
                  </a:path>
                </a:pathLst>
              </a:custGeom>
              <a:solidFill>
                <a:schemeClr val="tx1">
                  <a:lumMod val="65000"/>
                  <a:lumOff val="35000"/>
                </a:schemeClr>
              </a:solidFill>
              <a:ln>
                <a:noFill/>
              </a:ln>
            </p:spPr>
            <p:txBody>
              <a:bodyPr anchor="ctr"/>
              <a:lstStyle/>
              <a:p>
                <a:pPr algn="ctr"/>
                <a:endParaRPr/>
              </a:p>
            </p:txBody>
          </p:sp>
          <p:sp>
            <p:nvSpPr>
              <p:cNvPr id="41" name="îS1îdè">
                <a:extLst>
                  <a:ext uri="{FF2B5EF4-FFF2-40B4-BE49-F238E27FC236}">
                    <a16:creationId xmlns:a16="http://schemas.microsoft.com/office/drawing/2014/main" id="{36F08D10-D6F3-4C26-8789-392A23E16D4E}"/>
                  </a:ext>
                </a:extLst>
              </p:cNvPr>
              <p:cNvSpPr/>
              <p:nvPr/>
            </p:nvSpPr>
            <p:spPr bwMode="auto">
              <a:xfrm>
                <a:off x="2190751" y="4277231"/>
                <a:ext cx="438150" cy="438150"/>
              </a:xfrm>
              <a:custGeom>
                <a:gdLst>
                  <a:gd fmla="*/ 28 w 31" name="T0"/>
                  <a:gd fmla="*/ 31 h 31" name="T1"/>
                  <a:gd fmla="*/ 3 w 31" name="T2"/>
                  <a:gd fmla="*/ 31 h 31" name="T3"/>
                  <a:gd fmla="*/ 0 w 31" name="T4"/>
                  <a:gd fmla="*/ 28 h 31" name="T5"/>
                  <a:gd fmla="*/ 0 w 31" name="T6"/>
                  <a:gd fmla="*/ 3 h 31" name="T7"/>
                  <a:gd fmla="*/ 3 w 31" name="T8"/>
                  <a:gd fmla="*/ 0 h 31" name="T9"/>
                  <a:gd fmla="*/ 28 w 31" name="T10"/>
                  <a:gd fmla="*/ 0 h 31" name="T11"/>
                  <a:gd fmla="*/ 31 w 31" name="T12"/>
                  <a:gd fmla="*/ 3 h 31" name="T13"/>
                  <a:gd fmla="*/ 31 w 31" name="T14"/>
                  <a:gd fmla="*/ 28 h 31" name="T15"/>
                  <a:gd fmla="*/ 28 w 31" name="T16"/>
                  <a:gd fmla="*/ 31 h 31" name="T17"/>
                  <a:gd fmla="*/ 6 w 31" name="T18"/>
                  <a:gd fmla="*/ 25 h 31" name="T19"/>
                  <a:gd fmla="*/ 25 w 31" name="T20"/>
                  <a:gd fmla="*/ 25 h 31" name="T21"/>
                  <a:gd fmla="*/ 25 w 31" name="T22"/>
                  <a:gd fmla="*/ 6 h 31" name="T23"/>
                  <a:gd fmla="*/ 6 w 31" name="T24"/>
                  <a:gd fmla="*/ 6 h 31" name="T25"/>
                  <a:gd fmla="*/ 6 w 31" name="T26"/>
                  <a:gd fmla="*/ 25 h 31" name="T2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b="b" l="0" r="r" t="0"/>
                <a:pathLst>
                  <a:path h="31" w="31">
                    <a:moveTo>
                      <a:pt x="28" y="31"/>
                    </a:moveTo>
                    <a:cubicBezTo>
                      <a:pt x="3" y="31"/>
                      <a:pt x="3" y="31"/>
                      <a:pt x="3" y="31"/>
                    </a:cubicBezTo>
                    <a:cubicBezTo>
                      <a:pt x="1" y="31"/>
                      <a:pt x="0" y="30"/>
                      <a:pt x="0" y="28"/>
                    </a:cubicBezTo>
                    <a:cubicBezTo>
                      <a:pt x="0" y="3"/>
                      <a:pt x="0" y="3"/>
                      <a:pt x="0" y="3"/>
                    </a:cubicBezTo>
                    <a:cubicBezTo>
                      <a:pt x="0" y="1"/>
                      <a:pt x="1" y="0"/>
                      <a:pt x="3" y="0"/>
                    </a:cubicBezTo>
                    <a:cubicBezTo>
                      <a:pt x="28" y="0"/>
                      <a:pt x="28" y="0"/>
                      <a:pt x="28" y="0"/>
                    </a:cubicBezTo>
                    <a:cubicBezTo>
                      <a:pt x="30" y="0"/>
                      <a:pt x="31" y="1"/>
                      <a:pt x="31" y="3"/>
                    </a:cubicBezTo>
                    <a:cubicBezTo>
                      <a:pt x="31" y="28"/>
                      <a:pt x="31" y="28"/>
                      <a:pt x="31" y="28"/>
                    </a:cubicBezTo>
                    <a:cubicBezTo>
                      <a:pt x="31" y="30"/>
                      <a:pt x="30" y="31"/>
                      <a:pt x="28" y="31"/>
                    </a:cubicBezTo>
                    <a:close/>
                    <a:moveTo>
                      <a:pt x="6" y="25"/>
                    </a:moveTo>
                    <a:cubicBezTo>
                      <a:pt x="25" y="25"/>
                      <a:pt x="25" y="25"/>
                      <a:pt x="25" y="25"/>
                    </a:cubicBezTo>
                    <a:cubicBezTo>
                      <a:pt x="25" y="6"/>
                      <a:pt x="25" y="6"/>
                      <a:pt x="25" y="6"/>
                    </a:cubicBezTo>
                    <a:cubicBezTo>
                      <a:pt x="6" y="6"/>
                      <a:pt x="6" y="6"/>
                      <a:pt x="6" y="6"/>
                    </a:cubicBezTo>
                    <a:lnTo>
                      <a:pt x="6" y="25"/>
                    </a:lnTo>
                    <a:close/>
                  </a:path>
                </a:pathLst>
              </a:custGeom>
              <a:solidFill>
                <a:schemeClr val="tx1">
                  <a:lumMod val="65000"/>
                  <a:lumOff val="35000"/>
                </a:schemeClr>
              </a:solidFill>
              <a:ln>
                <a:noFill/>
              </a:ln>
            </p:spPr>
            <p:txBody>
              <a:bodyPr anchor="ctr"/>
              <a:lstStyle/>
              <a:p>
                <a:pPr algn="ctr"/>
                <a:endParaRPr/>
              </a:p>
            </p:txBody>
          </p:sp>
          <p:sp>
            <p:nvSpPr>
              <p:cNvPr id="42" name="ïšḻiḑè">
                <a:extLst>
                  <a:ext uri="{FF2B5EF4-FFF2-40B4-BE49-F238E27FC236}">
                    <a16:creationId xmlns:a16="http://schemas.microsoft.com/office/drawing/2014/main" id="{56365350-74BB-44EC-8BA2-F74CD150D696}"/>
                  </a:ext>
                </a:extLst>
              </p:cNvPr>
              <p:cNvSpPr/>
              <p:nvPr/>
            </p:nvSpPr>
            <p:spPr bwMode="auto">
              <a:xfrm>
                <a:off x="2813051" y="4277231"/>
                <a:ext cx="438150" cy="438150"/>
              </a:xfrm>
              <a:custGeom>
                <a:gdLst>
                  <a:gd fmla="*/ 28 w 31" name="T0"/>
                  <a:gd fmla="*/ 31 h 31" name="T1"/>
                  <a:gd fmla="*/ 3 w 31" name="T2"/>
                  <a:gd fmla="*/ 31 h 31" name="T3"/>
                  <a:gd fmla="*/ 0 w 31" name="T4"/>
                  <a:gd fmla="*/ 28 h 31" name="T5"/>
                  <a:gd fmla="*/ 0 w 31" name="T6"/>
                  <a:gd fmla="*/ 3 h 31" name="T7"/>
                  <a:gd fmla="*/ 3 w 31" name="T8"/>
                  <a:gd fmla="*/ 0 h 31" name="T9"/>
                  <a:gd fmla="*/ 28 w 31" name="T10"/>
                  <a:gd fmla="*/ 0 h 31" name="T11"/>
                  <a:gd fmla="*/ 31 w 31" name="T12"/>
                  <a:gd fmla="*/ 3 h 31" name="T13"/>
                  <a:gd fmla="*/ 31 w 31" name="T14"/>
                  <a:gd fmla="*/ 28 h 31" name="T15"/>
                  <a:gd fmla="*/ 28 w 31" name="T16"/>
                  <a:gd fmla="*/ 31 h 31" name="T17"/>
                  <a:gd fmla="*/ 6 w 31" name="T18"/>
                  <a:gd fmla="*/ 25 h 31" name="T19"/>
                  <a:gd fmla="*/ 25 w 31" name="T20"/>
                  <a:gd fmla="*/ 25 h 31" name="T21"/>
                  <a:gd fmla="*/ 25 w 31" name="T22"/>
                  <a:gd fmla="*/ 6 h 31" name="T23"/>
                  <a:gd fmla="*/ 6 w 31" name="T24"/>
                  <a:gd fmla="*/ 6 h 31" name="T25"/>
                  <a:gd fmla="*/ 6 w 31" name="T26"/>
                  <a:gd fmla="*/ 25 h 31" name="T2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b="b" l="0" r="r" t="0"/>
                <a:pathLst>
                  <a:path h="31" w="31">
                    <a:moveTo>
                      <a:pt x="28" y="31"/>
                    </a:moveTo>
                    <a:cubicBezTo>
                      <a:pt x="3" y="31"/>
                      <a:pt x="3" y="31"/>
                      <a:pt x="3" y="31"/>
                    </a:cubicBezTo>
                    <a:cubicBezTo>
                      <a:pt x="1" y="31"/>
                      <a:pt x="0" y="30"/>
                      <a:pt x="0" y="28"/>
                    </a:cubicBezTo>
                    <a:cubicBezTo>
                      <a:pt x="0" y="3"/>
                      <a:pt x="0" y="3"/>
                      <a:pt x="0" y="3"/>
                    </a:cubicBezTo>
                    <a:cubicBezTo>
                      <a:pt x="0" y="1"/>
                      <a:pt x="1" y="0"/>
                      <a:pt x="3" y="0"/>
                    </a:cubicBezTo>
                    <a:cubicBezTo>
                      <a:pt x="28" y="0"/>
                      <a:pt x="28" y="0"/>
                      <a:pt x="28" y="0"/>
                    </a:cubicBezTo>
                    <a:cubicBezTo>
                      <a:pt x="29" y="0"/>
                      <a:pt x="31" y="1"/>
                      <a:pt x="31" y="3"/>
                    </a:cubicBezTo>
                    <a:cubicBezTo>
                      <a:pt x="31" y="28"/>
                      <a:pt x="31" y="28"/>
                      <a:pt x="31" y="28"/>
                    </a:cubicBezTo>
                    <a:cubicBezTo>
                      <a:pt x="31" y="30"/>
                      <a:pt x="29" y="31"/>
                      <a:pt x="28" y="31"/>
                    </a:cubicBezTo>
                    <a:close/>
                    <a:moveTo>
                      <a:pt x="6" y="25"/>
                    </a:moveTo>
                    <a:cubicBezTo>
                      <a:pt x="25" y="25"/>
                      <a:pt x="25" y="25"/>
                      <a:pt x="25" y="25"/>
                    </a:cubicBezTo>
                    <a:cubicBezTo>
                      <a:pt x="25" y="6"/>
                      <a:pt x="25" y="6"/>
                      <a:pt x="25" y="6"/>
                    </a:cubicBezTo>
                    <a:cubicBezTo>
                      <a:pt x="6" y="6"/>
                      <a:pt x="6" y="6"/>
                      <a:pt x="6" y="6"/>
                    </a:cubicBezTo>
                    <a:lnTo>
                      <a:pt x="6" y="25"/>
                    </a:lnTo>
                    <a:close/>
                  </a:path>
                </a:pathLst>
              </a:custGeom>
              <a:solidFill>
                <a:schemeClr val="tx1">
                  <a:lumMod val="65000"/>
                  <a:lumOff val="35000"/>
                </a:schemeClr>
              </a:solidFill>
              <a:ln>
                <a:noFill/>
              </a:ln>
            </p:spPr>
            <p:txBody>
              <a:bodyPr anchor="ctr"/>
              <a:lstStyle/>
              <a:p>
                <a:pPr algn="ctr"/>
                <a:endParaRPr/>
              </a:p>
            </p:txBody>
          </p:sp>
          <p:sp>
            <p:nvSpPr>
              <p:cNvPr id="43" name="iṣlïdê">
                <a:extLst>
                  <a:ext uri="{FF2B5EF4-FFF2-40B4-BE49-F238E27FC236}">
                    <a16:creationId xmlns:a16="http://schemas.microsoft.com/office/drawing/2014/main" id="{A788C7BC-75DD-49C6-9C3B-270ED0A6CD4D}"/>
                  </a:ext>
                </a:extLst>
              </p:cNvPr>
              <p:cNvSpPr/>
              <p:nvPr/>
            </p:nvSpPr>
            <p:spPr bwMode="auto">
              <a:xfrm>
                <a:off x="3421063" y="4277231"/>
                <a:ext cx="450850" cy="438150"/>
              </a:xfrm>
              <a:custGeom>
                <a:gdLst>
                  <a:gd fmla="*/ 28 w 32" name="T0"/>
                  <a:gd fmla="*/ 31 h 31" name="T1"/>
                  <a:gd fmla="*/ 3 w 32" name="T2"/>
                  <a:gd fmla="*/ 31 h 31" name="T3"/>
                  <a:gd fmla="*/ 0 w 32" name="T4"/>
                  <a:gd fmla="*/ 28 h 31" name="T5"/>
                  <a:gd fmla="*/ 0 w 32" name="T6"/>
                  <a:gd fmla="*/ 3 h 31" name="T7"/>
                  <a:gd fmla="*/ 3 w 32" name="T8"/>
                  <a:gd fmla="*/ 0 h 31" name="T9"/>
                  <a:gd fmla="*/ 28 w 32" name="T10"/>
                  <a:gd fmla="*/ 0 h 31" name="T11"/>
                  <a:gd fmla="*/ 32 w 32" name="T12"/>
                  <a:gd fmla="*/ 3 h 31" name="T13"/>
                  <a:gd fmla="*/ 32 w 32" name="T14"/>
                  <a:gd fmla="*/ 28 h 31" name="T15"/>
                  <a:gd fmla="*/ 28 w 32" name="T16"/>
                  <a:gd fmla="*/ 31 h 31" name="T17"/>
                  <a:gd fmla="*/ 7 w 32" name="T18"/>
                  <a:gd fmla="*/ 25 h 31" name="T19"/>
                  <a:gd fmla="*/ 25 w 32" name="T20"/>
                  <a:gd fmla="*/ 25 h 31" name="T21"/>
                  <a:gd fmla="*/ 25 w 32" name="T22"/>
                  <a:gd fmla="*/ 6 h 31" name="T23"/>
                  <a:gd fmla="*/ 7 w 32" name="T24"/>
                  <a:gd fmla="*/ 6 h 31" name="T25"/>
                  <a:gd fmla="*/ 7 w 32" name="T26"/>
                  <a:gd fmla="*/ 25 h 31" name="T2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b="b" l="0" r="r" t="0"/>
                <a:pathLst>
                  <a:path h="31" w="32">
                    <a:moveTo>
                      <a:pt x="28" y="31"/>
                    </a:moveTo>
                    <a:cubicBezTo>
                      <a:pt x="3" y="31"/>
                      <a:pt x="3" y="31"/>
                      <a:pt x="3" y="31"/>
                    </a:cubicBezTo>
                    <a:cubicBezTo>
                      <a:pt x="2" y="31"/>
                      <a:pt x="0" y="30"/>
                      <a:pt x="0" y="28"/>
                    </a:cubicBezTo>
                    <a:cubicBezTo>
                      <a:pt x="0" y="3"/>
                      <a:pt x="0" y="3"/>
                      <a:pt x="0" y="3"/>
                    </a:cubicBezTo>
                    <a:cubicBezTo>
                      <a:pt x="0" y="1"/>
                      <a:pt x="2" y="0"/>
                      <a:pt x="3" y="0"/>
                    </a:cubicBezTo>
                    <a:cubicBezTo>
                      <a:pt x="28" y="0"/>
                      <a:pt x="28" y="0"/>
                      <a:pt x="28" y="0"/>
                    </a:cubicBezTo>
                    <a:cubicBezTo>
                      <a:pt x="30" y="0"/>
                      <a:pt x="32" y="1"/>
                      <a:pt x="32" y="3"/>
                    </a:cubicBezTo>
                    <a:cubicBezTo>
                      <a:pt x="32" y="28"/>
                      <a:pt x="32" y="28"/>
                      <a:pt x="32" y="28"/>
                    </a:cubicBezTo>
                    <a:cubicBezTo>
                      <a:pt x="32" y="30"/>
                      <a:pt x="30" y="31"/>
                      <a:pt x="28" y="31"/>
                    </a:cubicBezTo>
                    <a:close/>
                    <a:moveTo>
                      <a:pt x="7" y="25"/>
                    </a:moveTo>
                    <a:cubicBezTo>
                      <a:pt x="25" y="25"/>
                      <a:pt x="25" y="25"/>
                      <a:pt x="25" y="25"/>
                    </a:cubicBezTo>
                    <a:cubicBezTo>
                      <a:pt x="25" y="6"/>
                      <a:pt x="25" y="6"/>
                      <a:pt x="25" y="6"/>
                    </a:cubicBezTo>
                    <a:cubicBezTo>
                      <a:pt x="7" y="6"/>
                      <a:pt x="7" y="6"/>
                      <a:pt x="7" y="6"/>
                    </a:cubicBezTo>
                    <a:lnTo>
                      <a:pt x="7" y="25"/>
                    </a:lnTo>
                    <a:close/>
                  </a:path>
                </a:pathLst>
              </a:custGeom>
              <a:solidFill>
                <a:schemeClr val="tx1">
                  <a:lumMod val="65000"/>
                  <a:lumOff val="35000"/>
                </a:schemeClr>
              </a:solidFill>
              <a:ln>
                <a:noFill/>
              </a:ln>
            </p:spPr>
            <p:txBody>
              <a:bodyPr anchor="ctr"/>
              <a:lstStyle/>
              <a:p>
                <a:pPr algn="ctr"/>
                <a:endParaRPr/>
              </a:p>
            </p:txBody>
          </p:sp>
          <p:sp>
            <p:nvSpPr>
              <p:cNvPr id="44" name="íṡļïdé">
                <a:extLst>
                  <a:ext uri="{FF2B5EF4-FFF2-40B4-BE49-F238E27FC236}">
                    <a16:creationId xmlns:a16="http://schemas.microsoft.com/office/drawing/2014/main" id="{C5E11E1B-8FA9-4FF1-8B1F-D7192A8DF9BF}"/>
                  </a:ext>
                </a:extLst>
              </p:cNvPr>
              <p:cNvSpPr/>
              <p:nvPr/>
            </p:nvSpPr>
            <p:spPr bwMode="auto">
              <a:xfrm>
                <a:off x="4041776" y="4277231"/>
                <a:ext cx="438150" cy="1058863"/>
              </a:xfrm>
              <a:custGeom>
                <a:gdLst>
                  <a:gd fmla="*/ 28 w 31" name="T0"/>
                  <a:gd fmla="*/ 75 h 75" name="T1"/>
                  <a:gd fmla="*/ 3 w 31" name="T2"/>
                  <a:gd fmla="*/ 75 h 75" name="T3"/>
                  <a:gd fmla="*/ 0 w 31" name="T4"/>
                  <a:gd fmla="*/ 72 h 75" name="T5"/>
                  <a:gd fmla="*/ 0 w 31" name="T6"/>
                  <a:gd fmla="*/ 3 h 75" name="T7"/>
                  <a:gd fmla="*/ 3 w 31" name="T8"/>
                  <a:gd fmla="*/ 0 h 75" name="T9"/>
                  <a:gd fmla="*/ 28 w 31" name="T10"/>
                  <a:gd fmla="*/ 0 h 75" name="T11"/>
                  <a:gd fmla="*/ 31 w 31" name="T12"/>
                  <a:gd fmla="*/ 3 h 75" name="T13"/>
                  <a:gd fmla="*/ 31 w 31" name="T14"/>
                  <a:gd fmla="*/ 72 h 75" name="T15"/>
                  <a:gd fmla="*/ 28 w 31" name="T16"/>
                  <a:gd fmla="*/ 75 h 75" name="T17"/>
                  <a:gd fmla="*/ 6 w 31" name="T18"/>
                  <a:gd fmla="*/ 69 h 75" name="T19"/>
                  <a:gd fmla="*/ 25 w 31" name="T20"/>
                  <a:gd fmla="*/ 69 h 75" name="T21"/>
                  <a:gd fmla="*/ 25 w 31" name="T22"/>
                  <a:gd fmla="*/ 6 h 75" name="T23"/>
                  <a:gd fmla="*/ 6 w 31" name="T24"/>
                  <a:gd fmla="*/ 6 h 75" name="T25"/>
                  <a:gd fmla="*/ 6 w 31" name="T26"/>
                  <a:gd fmla="*/ 69 h 75" name="T2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b="b" l="0" r="r" t="0"/>
                <a:pathLst>
                  <a:path h="75" w="31">
                    <a:moveTo>
                      <a:pt x="28" y="75"/>
                    </a:moveTo>
                    <a:cubicBezTo>
                      <a:pt x="3" y="75"/>
                      <a:pt x="3" y="75"/>
                      <a:pt x="3" y="75"/>
                    </a:cubicBezTo>
                    <a:cubicBezTo>
                      <a:pt x="1" y="75"/>
                      <a:pt x="0" y="73"/>
                      <a:pt x="0" y="72"/>
                    </a:cubicBezTo>
                    <a:cubicBezTo>
                      <a:pt x="0" y="3"/>
                      <a:pt x="0" y="3"/>
                      <a:pt x="0" y="3"/>
                    </a:cubicBezTo>
                    <a:cubicBezTo>
                      <a:pt x="0" y="1"/>
                      <a:pt x="1" y="0"/>
                      <a:pt x="3" y="0"/>
                    </a:cubicBezTo>
                    <a:cubicBezTo>
                      <a:pt x="28" y="0"/>
                      <a:pt x="28" y="0"/>
                      <a:pt x="28" y="0"/>
                    </a:cubicBezTo>
                    <a:cubicBezTo>
                      <a:pt x="30" y="0"/>
                      <a:pt x="31" y="1"/>
                      <a:pt x="31" y="3"/>
                    </a:cubicBezTo>
                    <a:cubicBezTo>
                      <a:pt x="31" y="72"/>
                      <a:pt x="31" y="72"/>
                      <a:pt x="31" y="72"/>
                    </a:cubicBezTo>
                    <a:cubicBezTo>
                      <a:pt x="31" y="73"/>
                      <a:pt x="30" y="75"/>
                      <a:pt x="28" y="75"/>
                    </a:cubicBezTo>
                    <a:close/>
                    <a:moveTo>
                      <a:pt x="6" y="69"/>
                    </a:moveTo>
                    <a:cubicBezTo>
                      <a:pt x="25" y="69"/>
                      <a:pt x="25" y="69"/>
                      <a:pt x="25" y="69"/>
                    </a:cubicBezTo>
                    <a:cubicBezTo>
                      <a:pt x="25" y="6"/>
                      <a:pt x="25" y="6"/>
                      <a:pt x="25" y="6"/>
                    </a:cubicBezTo>
                    <a:cubicBezTo>
                      <a:pt x="6" y="6"/>
                      <a:pt x="6" y="6"/>
                      <a:pt x="6" y="6"/>
                    </a:cubicBezTo>
                    <a:lnTo>
                      <a:pt x="6" y="69"/>
                    </a:lnTo>
                    <a:close/>
                  </a:path>
                </a:pathLst>
              </a:custGeom>
              <a:solidFill>
                <a:schemeClr val="tx1">
                  <a:lumMod val="65000"/>
                  <a:lumOff val="35000"/>
                </a:schemeClr>
              </a:solidFill>
              <a:ln>
                <a:noFill/>
              </a:ln>
            </p:spPr>
            <p:txBody>
              <a:bodyPr anchor="ctr"/>
              <a:lstStyle/>
              <a:p>
                <a:pPr algn="ctr"/>
                <a:endParaRPr/>
              </a:p>
            </p:txBody>
          </p:sp>
          <p:sp>
            <p:nvSpPr>
              <p:cNvPr id="45" name="iṩľïdê">
                <a:extLst>
                  <a:ext uri="{FF2B5EF4-FFF2-40B4-BE49-F238E27FC236}">
                    <a16:creationId xmlns:a16="http://schemas.microsoft.com/office/drawing/2014/main" id="{429F0554-C45B-46F7-B69D-C4331421D931}"/>
                  </a:ext>
                </a:extLst>
              </p:cNvPr>
              <p:cNvSpPr/>
              <p:nvPr/>
            </p:nvSpPr>
            <p:spPr bwMode="auto">
              <a:xfrm>
                <a:off x="2190751" y="3656518"/>
                <a:ext cx="438150" cy="450850"/>
              </a:xfrm>
              <a:custGeom>
                <a:gdLst>
                  <a:gd fmla="*/ 28 w 31" name="T0"/>
                  <a:gd fmla="*/ 32 h 32" name="T1"/>
                  <a:gd fmla="*/ 3 w 31" name="T2"/>
                  <a:gd fmla="*/ 32 h 32" name="T3"/>
                  <a:gd fmla="*/ 0 w 31" name="T4"/>
                  <a:gd fmla="*/ 28 h 32" name="T5"/>
                  <a:gd fmla="*/ 0 w 31" name="T6"/>
                  <a:gd fmla="*/ 3 h 32" name="T7"/>
                  <a:gd fmla="*/ 3 w 31" name="T8"/>
                  <a:gd fmla="*/ 0 h 32" name="T9"/>
                  <a:gd fmla="*/ 28 w 31" name="T10"/>
                  <a:gd fmla="*/ 0 h 32" name="T11"/>
                  <a:gd fmla="*/ 31 w 31" name="T12"/>
                  <a:gd fmla="*/ 3 h 32" name="T13"/>
                  <a:gd fmla="*/ 31 w 31" name="T14"/>
                  <a:gd fmla="*/ 28 h 32" name="T15"/>
                  <a:gd fmla="*/ 28 w 31" name="T16"/>
                  <a:gd fmla="*/ 32 h 32" name="T17"/>
                  <a:gd fmla="*/ 6 w 31" name="T18"/>
                  <a:gd fmla="*/ 25 h 32" name="T19"/>
                  <a:gd fmla="*/ 25 w 31" name="T20"/>
                  <a:gd fmla="*/ 25 h 32" name="T21"/>
                  <a:gd fmla="*/ 25 w 31" name="T22"/>
                  <a:gd fmla="*/ 7 h 32" name="T23"/>
                  <a:gd fmla="*/ 6 w 31" name="T24"/>
                  <a:gd fmla="*/ 7 h 32" name="T25"/>
                  <a:gd fmla="*/ 6 w 31" name="T26"/>
                  <a:gd fmla="*/ 25 h 32" name="T2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b="b" l="0" r="r" t="0"/>
                <a:pathLst>
                  <a:path h="32" w="31">
                    <a:moveTo>
                      <a:pt x="28" y="32"/>
                    </a:moveTo>
                    <a:cubicBezTo>
                      <a:pt x="3" y="32"/>
                      <a:pt x="3" y="32"/>
                      <a:pt x="3" y="32"/>
                    </a:cubicBezTo>
                    <a:cubicBezTo>
                      <a:pt x="1" y="32"/>
                      <a:pt x="0" y="30"/>
                      <a:pt x="0" y="28"/>
                    </a:cubicBezTo>
                    <a:cubicBezTo>
                      <a:pt x="0" y="3"/>
                      <a:pt x="0" y="3"/>
                      <a:pt x="0" y="3"/>
                    </a:cubicBezTo>
                    <a:cubicBezTo>
                      <a:pt x="0" y="2"/>
                      <a:pt x="1" y="0"/>
                      <a:pt x="3" y="0"/>
                    </a:cubicBezTo>
                    <a:cubicBezTo>
                      <a:pt x="28" y="0"/>
                      <a:pt x="28" y="0"/>
                      <a:pt x="28" y="0"/>
                    </a:cubicBezTo>
                    <a:cubicBezTo>
                      <a:pt x="30" y="0"/>
                      <a:pt x="31" y="2"/>
                      <a:pt x="31" y="3"/>
                    </a:cubicBezTo>
                    <a:cubicBezTo>
                      <a:pt x="31" y="28"/>
                      <a:pt x="31" y="28"/>
                      <a:pt x="31" y="28"/>
                    </a:cubicBezTo>
                    <a:cubicBezTo>
                      <a:pt x="31" y="30"/>
                      <a:pt x="30" y="32"/>
                      <a:pt x="28" y="32"/>
                    </a:cubicBezTo>
                    <a:close/>
                    <a:moveTo>
                      <a:pt x="6" y="25"/>
                    </a:moveTo>
                    <a:cubicBezTo>
                      <a:pt x="25" y="25"/>
                      <a:pt x="25" y="25"/>
                      <a:pt x="25" y="25"/>
                    </a:cubicBezTo>
                    <a:cubicBezTo>
                      <a:pt x="25" y="7"/>
                      <a:pt x="25" y="7"/>
                      <a:pt x="25" y="7"/>
                    </a:cubicBezTo>
                    <a:cubicBezTo>
                      <a:pt x="6" y="7"/>
                      <a:pt x="6" y="7"/>
                      <a:pt x="6" y="7"/>
                    </a:cubicBezTo>
                    <a:lnTo>
                      <a:pt x="6" y="25"/>
                    </a:lnTo>
                    <a:close/>
                  </a:path>
                </a:pathLst>
              </a:custGeom>
              <a:solidFill>
                <a:schemeClr val="tx1">
                  <a:lumMod val="65000"/>
                  <a:lumOff val="35000"/>
                </a:schemeClr>
              </a:solidFill>
              <a:ln>
                <a:noFill/>
              </a:ln>
            </p:spPr>
            <p:txBody>
              <a:bodyPr anchor="ctr"/>
              <a:lstStyle/>
              <a:p>
                <a:pPr algn="ctr"/>
                <a:endParaRPr/>
              </a:p>
            </p:txBody>
          </p:sp>
          <p:sp>
            <p:nvSpPr>
              <p:cNvPr id="46" name="ïṣļiḑe">
                <a:extLst>
                  <a:ext uri="{FF2B5EF4-FFF2-40B4-BE49-F238E27FC236}">
                    <a16:creationId xmlns:a16="http://schemas.microsoft.com/office/drawing/2014/main" id="{0B46039A-A347-4BDC-8A96-228CB792DFF3}"/>
                  </a:ext>
                </a:extLst>
              </p:cNvPr>
              <p:cNvSpPr/>
              <p:nvPr/>
            </p:nvSpPr>
            <p:spPr bwMode="auto">
              <a:xfrm>
                <a:off x="2813051" y="3656518"/>
                <a:ext cx="438150" cy="450850"/>
              </a:xfrm>
              <a:custGeom>
                <a:gdLst>
                  <a:gd fmla="*/ 28 w 31" name="T0"/>
                  <a:gd fmla="*/ 32 h 32" name="T1"/>
                  <a:gd fmla="*/ 3 w 31" name="T2"/>
                  <a:gd fmla="*/ 32 h 32" name="T3"/>
                  <a:gd fmla="*/ 0 w 31" name="T4"/>
                  <a:gd fmla="*/ 28 h 32" name="T5"/>
                  <a:gd fmla="*/ 0 w 31" name="T6"/>
                  <a:gd fmla="*/ 3 h 32" name="T7"/>
                  <a:gd fmla="*/ 3 w 31" name="T8"/>
                  <a:gd fmla="*/ 0 h 32" name="T9"/>
                  <a:gd fmla="*/ 28 w 31" name="T10"/>
                  <a:gd fmla="*/ 0 h 32" name="T11"/>
                  <a:gd fmla="*/ 31 w 31" name="T12"/>
                  <a:gd fmla="*/ 3 h 32" name="T13"/>
                  <a:gd fmla="*/ 31 w 31" name="T14"/>
                  <a:gd fmla="*/ 28 h 32" name="T15"/>
                  <a:gd fmla="*/ 28 w 31" name="T16"/>
                  <a:gd fmla="*/ 32 h 32" name="T17"/>
                  <a:gd fmla="*/ 6 w 31" name="T18"/>
                  <a:gd fmla="*/ 25 h 32" name="T19"/>
                  <a:gd fmla="*/ 25 w 31" name="T20"/>
                  <a:gd fmla="*/ 25 h 32" name="T21"/>
                  <a:gd fmla="*/ 25 w 31" name="T22"/>
                  <a:gd fmla="*/ 7 h 32" name="T23"/>
                  <a:gd fmla="*/ 6 w 31" name="T24"/>
                  <a:gd fmla="*/ 7 h 32" name="T25"/>
                  <a:gd fmla="*/ 6 w 31" name="T26"/>
                  <a:gd fmla="*/ 25 h 32" name="T2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b="b" l="0" r="r" t="0"/>
                <a:pathLst>
                  <a:path h="32" w="31">
                    <a:moveTo>
                      <a:pt x="28" y="32"/>
                    </a:moveTo>
                    <a:cubicBezTo>
                      <a:pt x="3" y="32"/>
                      <a:pt x="3" y="32"/>
                      <a:pt x="3" y="32"/>
                    </a:cubicBezTo>
                    <a:cubicBezTo>
                      <a:pt x="1" y="32"/>
                      <a:pt x="0" y="30"/>
                      <a:pt x="0" y="28"/>
                    </a:cubicBezTo>
                    <a:cubicBezTo>
                      <a:pt x="0" y="3"/>
                      <a:pt x="0" y="3"/>
                      <a:pt x="0" y="3"/>
                    </a:cubicBezTo>
                    <a:cubicBezTo>
                      <a:pt x="0" y="2"/>
                      <a:pt x="1" y="0"/>
                      <a:pt x="3" y="0"/>
                    </a:cubicBezTo>
                    <a:cubicBezTo>
                      <a:pt x="28" y="0"/>
                      <a:pt x="28" y="0"/>
                      <a:pt x="28" y="0"/>
                    </a:cubicBezTo>
                    <a:cubicBezTo>
                      <a:pt x="29" y="0"/>
                      <a:pt x="31" y="2"/>
                      <a:pt x="31" y="3"/>
                    </a:cubicBezTo>
                    <a:cubicBezTo>
                      <a:pt x="31" y="28"/>
                      <a:pt x="31" y="28"/>
                      <a:pt x="31" y="28"/>
                    </a:cubicBezTo>
                    <a:cubicBezTo>
                      <a:pt x="31" y="30"/>
                      <a:pt x="29" y="32"/>
                      <a:pt x="28" y="32"/>
                    </a:cubicBezTo>
                    <a:close/>
                    <a:moveTo>
                      <a:pt x="6" y="25"/>
                    </a:moveTo>
                    <a:cubicBezTo>
                      <a:pt x="25" y="25"/>
                      <a:pt x="25" y="25"/>
                      <a:pt x="25" y="25"/>
                    </a:cubicBezTo>
                    <a:cubicBezTo>
                      <a:pt x="25" y="7"/>
                      <a:pt x="25" y="7"/>
                      <a:pt x="25" y="7"/>
                    </a:cubicBezTo>
                    <a:cubicBezTo>
                      <a:pt x="6" y="7"/>
                      <a:pt x="6" y="7"/>
                      <a:pt x="6" y="7"/>
                    </a:cubicBezTo>
                    <a:lnTo>
                      <a:pt x="6" y="25"/>
                    </a:lnTo>
                    <a:close/>
                  </a:path>
                </a:pathLst>
              </a:custGeom>
              <a:solidFill>
                <a:schemeClr val="tx1">
                  <a:lumMod val="65000"/>
                  <a:lumOff val="35000"/>
                </a:schemeClr>
              </a:solidFill>
              <a:ln>
                <a:noFill/>
              </a:ln>
            </p:spPr>
            <p:txBody>
              <a:bodyPr anchor="ctr"/>
              <a:lstStyle/>
              <a:p>
                <a:pPr algn="ctr"/>
                <a:endParaRPr/>
              </a:p>
            </p:txBody>
          </p:sp>
          <p:sp>
            <p:nvSpPr>
              <p:cNvPr id="47" name="işļiḍè">
                <a:extLst>
                  <a:ext uri="{FF2B5EF4-FFF2-40B4-BE49-F238E27FC236}">
                    <a16:creationId xmlns:a16="http://schemas.microsoft.com/office/drawing/2014/main" id="{11C6AC2F-8C2B-4B82-A91C-D1006F83D740}"/>
                  </a:ext>
                </a:extLst>
              </p:cNvPr>
              <p:cNvSpPr/>
              <p:nvPr/>
            </p:nvSpPr>
            <p:spPr bwMode="auto">
              <a:xfrm>
                <a:off x="3421063" y="3656518"/>
                <a:ext cx="450850" cy="450850"/>
              </a:xfrm>
              <a:custGeom>
                <a:gdLst>
                  <a:gd fmla="*/ 28 w 32" name="T0"/>
                  <a:gd fmla="*/ 32 h 32" name="T1"/>
                  <a:gd fmla="*/ 3 w 32" name="T2"/>
                  <a:gd fmla="*/ 32 h 32" name="T3"/>
                  <a:gd fmla="*/ 0 w 32" name="T4"/>
                  <a:gd fmla="*/ 28 h 32" name="T5"/>
                  <a:gd fmla="*/ 0 w 32" name="T6"/>
                  <a:gd fmla="*/ 3 h 32" name="T7"/>
                  <a:gd fmla="*/ 3 w 32" name="T8"/>
                  <a:gd fmla="*/ 0 h 32" name="T9"/>
                  <a:gd fmla="*/ 28 w 32" name="T10"/>
                  <a:gd fmla="*/ 0 h 32" name="T11"/>
                  <a:gd fmla="*/ 32 w 32" name="T12"/>
                  <a:gd fmla="*/ 3 h 32" name="T13"/>
                  <a:gd fmla="*/ 32 w 32" name="T14"/>
                  <a:gd fmla="*/ 28 h 32" name="T15"/>
                  <a:gd fmla="*/ 28 w 32" name="T16"/>
                  <a:gd fmla="*/ 32 h 32" name="T17"/>
                  <a:gd fmla="*/ 7 w 32" name="T18"/>
                  <a:gd fmla="*/ 25 h 32" name="T19"/>
                  <a:gd fmla="*/ 25 w 32" name="T20"/>
                  <a:gd fmla="*/ 25 h 32" name="T21"/>
                  <a:gd fmla="*/ 25 w 32" name="T22"/>
                  <a:gd fmla="*/ 7 h 32" name="T23"/>
                  <a:gd fmla="*/ 7 w 32" name="T24"/>
                  <a:gd fmla="*/ 7 h 32" name="T25"/>
                  <a:gd fmla="*/ 7 w 32" name="T26"/>
                  <a:gd fmla="*/ 25 h 32" name="T2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b="b" l="0" r="r" t="0"/>
                <a:pathLst>
                  <a:path h="32" w="32">
                    <a:moveTo>
                      <a:pt x="28" y="32"/>
                    </a:moveTo>
                    <a:cubicBezTo>
                      <a:pt x="3" y="32"/>
                      <a:pt x="3" y="32"/>
                      <a:pt x="3" y="32"/>
                    </a:cubicBezTo>
                    <a:cubicBezTo>
                      <a:pt x="2" y="32"/>
                      <a:pt x="0" y="30"/>
                      <a:pt x="0" y="28"/>
                    </a:cubicBezTo>
                    <a:cubicBezTo>
                      <a:pt x="0" y="3"/>
                      <a:pt x="0" y="3"/>
                      <a:pt x="0" y="3"/>
                    </a:cubicBezTo>
                    <a:cubicBezTo>
                      <a:pt x="0" y="2"/>
                      <a:pt x="2" y="0"/>
                      <a:pt x="3" y="0"/>
                    </a:cubicBezTo>
                    <a:cubicBezTo>
                      <a:pt x="28" y="0"/>
                      <a:pt x="28" y="0"/>
                      <a:pt x="28" y="0"/>
                    </a:cubicBezTo>
                    <a:cubicBezTo>
                      <a:pt x="30" y="0"/>
                      <a:pt x="32" y="2"/>
                      <a:pt x="32" y="3"/>
                    </a:cubicBezTo>
                    <a:cubicBezTo>
                      <a:pt x="32" y="28"/>
                      <a:pt x="32" y="28"/>
                      <a:pt x="32" y="28"/>
                    </a:cubicBezTo>
                    <a:cubicBezTo>
                      <a:pt x="32" y="30"/>
                      <a:pt x="30" y="32"/>
                      <a:pt x="28" y="32"/>
                    </a:cubicBezTo>
                    <a:close/>
                    <a:moveTo>
                      <a:pt x="7" y="25"/>
                    </a:moveTo>
                    <a:cubicBezTo>
                      <a:pt x="25" y="25"/>
                      <a:pt x="25" y="25"/>
                      <a:pt x="25" y="25"/>
                    </a:cubicBezTo>
                    <a:cubicBezTo>
                      <a:pt x="25" y="7"/>
                      <a:pt x="25" y="7"/>
                      <a:pt x="25" y="7"/>
                    </a:cubicBezTo>
                    <a:cubicBezTo>
                      <a:pt x="7" y="7"/>
                      <a:pt x="7" y="7"/>
                      <a:pt x="7" y="7"/>
                    </a:cubicBezTo>
                    <a:lnTo>
                      <a:pt x="7" y="25"/>
                    </a:lnTo>
                    <a:close/>
                  </a:path>
                </a:pathLst>
              </a:custGeom>
              <a:solidFill>
                <a:schemeClr val="tx1">
                  <a:lumMod val="65000"/>
                  <a:lumOff val="35000"/>
                </a:schemeClr>
              </a:solidFill>
              <a:ln>
                <a:noFill/>
              </a:ln>
            </p:spPr>
            <p:txBody>
              <a:bodyPr anchor="ctr"/>
              <a:lstStyle/>
              <a:p>
                <a:pPr algn="ctr"/>
                <a:endParaRPr/>
              </a:p>
            </p:txBody>
          </p:sp>
          <p:sp>
            <p:nvSpPr>
              <p:cNvPr id="48" name="íśḻídè">
                <a:extLst>
                  <a:ext uri="{FF2B5EF4-FFF2-40B4-BE49-F238E27FC236}">
                    <a16:creationId xmlns:a16="http://schemas.microsoft.com/office/drawing/2014/main" id="{206E674A-019E-4BFF-85FB-AE29E7C9ADE8}"/>
                  </a:ext>
                </a:extLst>
              </p:cNvPr>
              <p:cNvSpPr/>
              <p:nvPr/>
            </p:nvSpPr>
            <p:spPr bwMode="auto">
              <a:xfrm>
                <a:off x="4041776" y="3656518"/>
                <a:ext cx="438150" cy="450850"/>
              </a:xfrm>
              <a:custGeom>
                <a:gdLst>
                  <a:gd fmla="*/ 28 w 31" name="T0"/>
                  <a:gd fmla="*/ 32 h 32" name="T1"/>
                  <a:gd fmla="*/ 3 w 31" name="T2"/>
                  <a:gd fmla="*/ 32 h 32" name="T3"/>
                  <a:gd fmla="*/ 0 w 31" name="T4"/>
                  <a:gd fmla="*/ 28 h 32" name="T5"/>
                  <a:gd fmla="*/ 0 w 31" name="T6"/>
                  <a:gd fmla="*/ 3 h 32" name="T7"/>
                  <a:gd fmla="*/ 3 w 31" name="T8"/>
                  <a:gd fmla="*/ 0 h 32" name="T9"/>
                  <a:gd fmla="*/ 28 w 31" name="T10"/>
                  <a:gd fmla="*/ 0 h 32" name="T11"/>
                  <a:gd fmla="*/ 31 w 31" name="T12"/>
                  <a:gd fmla="*/ 3 h 32" name="T13"/>
                  <a:gd fmla="*/ 31 w 31" name="T14"/>
                  <a:gd fmla="*/ 28 h 32" name="T15"/>
                  <a:gd fmla="*/ 28 w 31" name="T16"/>
                  <a:gd fmla="*/ 32 h 32" name="T17"/>
                  <a:gd fmla="*/ 6 w 31" name="T18"/>
                  <a:gd fmla="*/ 25 h 32" name="T19"/>
                  <a:gd fmla="*/ 25 w 31" name="T20"/>
                  <a:gd fmla="*/ 25 h 32" name="T21"/>
                  <a:gd fmla="*/ 25 w 31" name="T22"/>
                  <a:gd fmla="*/ 7 h 32" name="T23"/>
                  <a:gd fmla="*/ 6 w 31" name="T24"/>
                  <a:gd fmla="*/ 7 h 32" name="T25"/>
                  <a:gd fmla="*/ 6 w 31" name="T26"/>
                  <a:gd fmla="*/ 25 h 32" name="T2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b="b" l="0" r="r" t="0"/>
                <a:pathLst>
                  <a:path h="32" w="31">
                    <a:moveTo>
                      <a:pt x="28" y="32"/>
                    </a:moveTo>
                    <a:cubicBezTo>
                      <a:pt x="3" y="32"/>
                      <a:pt x="3" y="32"/>
                      <a:pt x="3" y="32"/>
                    </a:cubicBezTo>
                    <a:cubicBezTo>
                      <a:pt x="1" y="32"/>
                      <a:pt x="0" y="30"/>
                      <a:pt x="0" y="28"/>
                    </a:cubicBezTo>
                    <a:cubicBezTo>
                      <a:pt x="0" y="3"/>
                      <a:pt x="0" y="3"/>
                      <a:pt x="0" y="3"/>
                    </a:cubicBezTo>
                    <a:cubicBezTo>
                      <a:pt x="0" y="2"/>
                      <a:pt x="1" y="0"/>
                      <a:pt x="3" y="0"/>
                    </a:cubicBezTo>
                    <a:cubicBezTo>
                      <a:pt x="28" y="0"/>
                      <a:pt x="28" y="0"/>
                      <a:pt x="28" y="0"/>
                    </a:cubicBezTo>
                    <a:cubicBezTo>
                      <a:pt x="30" y="0"/>
                      <a:pt x="31" y="2"/>
                      <a:pt x="31" y="3"/>
                    </a:cubicBezTo>
                    <a:cubicBezTo>
                      <a:pt x="31" y="28"/>
                      <a:pt x="31" y="28"/>
                      <a:pt x="31" y="28"/>
                    </a:cubicBezTo>
                    <a:cubicBezTo>
                      <a:pt x="31" y="30"/>
                      <a:pt x="30" y="32"/>
                      <a:pt x="28" y="32"/>
                    </a:cubicBezTo>
                    <a:close/>
                    <a:moveTo>
                      <a:pt x="6" y="25"/>
                    </a:moveTo>
                    <a:cubicBezTo>
                      <a:pt x="25" y="25"/>
                      <a:pt x="25" y="25"/>
                      <a:pt x="25" y="25"/>
                    </a:cubicBezTo>
                    <a:cubicBezTo>
                      <a:pt x="25" y="7"/>
                      <a:pt x="25" y="7"/>
                      <a:pt x="25" y="7"/>
                    </a:cubicBezTo>
                    <a:cubicBezTo>
                      <a:pt x="6" y="7"/>
                      <a:pt x="6" y="7"/>
                      <a:pt x="6" y="7"/>
                    </a:cubicBezTo>
                    <a:lnTo>
                      <a:pt x="6" y="25"/>
                    </a:lnTo>
                    <a:close/>
                  </a:path>
                </a:pathLst>
              </a:custGeom>
              <a:solidFill>
                <a:schemeClr val="tx1">
                  <a:lumMod val="65000"/>
                  <a:lumOff val="35000"/>
                </a:schemeClr>
              </a:solidFill>
              <a:ln>
                <a:noFill/>
              </a:ln>
            </p:spPr>
            <p:txBody>
              <a:bodyPr anchor="ctr"/>
              <a:lstStyle/>
              <a:p>
                <a:pPr algn="ctr"/>
                <a:endParaRPr/>
              </a:p>
            </p:txBody>
          </p:sp>
          <p:sp>
            <p:nvSpPr>
              <p:cNvPr id="49" name="îṧļíďe">
                <a:extLst>
                  <a:ext uri="{FF2B5EF4-FFF2-40B4-BE49-F238E27FC236}">
                    <a16:creationId xmlns:a16="http://schemas.microsoft.com/office/drawing/2014/main" id="{1913F6C5-209E-4038-A9B3-658C1FA6E9AC}"/>
                  </a:ext>
                </a:extLst>
              </p:cNvPr>
              <p:cNvSpPr/>
              <p:nvPr/>
            </p:nvSpPr>
            <p:spPr bwMode="auto">
              <a:xfrm>
                <a:off x="2360613" y="3402518"/>
                <a:ext cx="354013" cy="84138"/>
              </a:xfrm>
              <a:custGeom>
                <a:gdLst>
                  <a:gd fmla="*/ 22 w 25" name="T0"/>
                  <a:gd fmla="*/ 6 h 6" name="T1"/>
                  <a:gd fmla="*/ 4 w 25" name="T2"/>
                  <a:gd fmla="*/ 6 h 6" name="T3"/>
                  <a:gd fmla="*/ 0 w 25" name="T4"/>
                  <a:gd fmla="*/ 3 h 6" name="T5"/>
                  <a:gd fmla="*/ 4 w 25" name="T6"/>
                  <a:gd fmla="*/ 0 h 6" name="T7"/>
                  <a:gd fmla="*/ 22 w 25" name="T8"/>
                  <a:gd fmla="*/ 0 h 6" name="T9"/>
                  <a:gd fmla="*/ 25 w 25" name="T10"/>
                  <a:gd fmla="*/ 3 h 6" name="T11"/>
                  <a:gd fmla="*/ 22 w 25" name="T12"/>
                  <a:gd fmla="*/ 6 h 6" name="T13"/>
                </a:gdLst>
                <a:cxnLst>
                  <a:cxn ang="0">
                    <a:pos x="T0" y="T1"/>
                  </a:cxn>
                  <a:cxn ang="0">
                    <a:pos x="T2" y="T3"/>
                  </a:cxn>
                  <a:cxn ang="0">
                    <a:pos x="T4" y="T5"/>
                  </a:cxn>
                  <a:cxn ang="0">
                    <a:pos x="T6" y="T7"/>
                  </a:cxn>
                  <a:cxn ang="0">
                    <a:pos x="T8" y="T9"/>
                  </a:cxn>
                  <a:cxn ang="0">
                    <a:pos x="T10" y="T11"/>
                  </a:cxn>
                  <a:cxn ang="0">
                    <a:pos x="T12" y="T13"/>
                  </a:cxn>
                </a:cxnLst>
                <a:rect b="b" l="0" r="r" t="0"/>
                <a:pathLst>
                  <a:path h="6" w="25">
                    <a:moveTo>
                      <a:pt x="22" y="6"/>
                    </a:moveTo>
                    <a:cubicBezTo>
                      <a:pt x="4" y="6"/>
                      <a:pt x="4" y="6"/>
                      <a:pt x="4" y="6"/>
                    </a:cubicBezTo>
                    <a:cubicBezTo>
                      <a:pt x="2" y="6"/>
                      <a:pt x="0" y="4"/>
                      <a:pt x="0" y="3"/>
                    </a:cubicBezTo>
                    <a:cubicBezTo>
                      <a:pt x="0" y="1"/>
                      <a:pt x="2" y="0"/>
                      <a:pt x="4" y="0"/>
                    </a:cubicBezTo>
                    <a:cubicBezTo>
                      <a:pt x="22" y="0"/>
                      <a:pt x="22" y="0"/>
                      <a:pt x="22" y="0"/>
                    </a:cubicBezTo>
                    <a:cubicBezTo>
                      <a:pt x="24" y="0"/>
                      <a:pt x="25" y="1"/>
                      <a:pt x="25" y="3"/>
                    </a:cubicBezTo>
                    <a:cubicBezTo>
                      <a:pt x="25" y="4"/>
                      <a:pt x="24" y="6"/>
                      <a:pt x="22" y="6"/>
                    </a:cubicBezTo>
                    <a:close/>
                  </a:path>
                </a:pathLst>
              </a:custGeom>
              <a:solidFill>
                <a:schemeClr val="tx1">
                  <a:lumMod val="65000"/>
                  <a:lumOff val="35000"/>
                </a:schemeClr>
              </a:solidFill>
              <a:ln>
                <a:noFill/>
              </a:ln>
            </p:spPr>
            <p:txBody>
              <a:bodyPr anchor="ctr"/>
              <a:lstStyle/>
              <a:p>
                <a:pPr algn="ctr"/>
                <a:endParaRPr/>
              </a:p>
            </p:txBody>
          </p:sp>
          <p:sp>
            <p:nvSpPr>
              <p:cNvPr id="50" name="íṧḻîḍé">
                <a:extLst>
                  <a:ext uri="{FF2B5EF4-FFF2-40B4-BE49-F238E27FC236}">
                    <a16:creationId xmlns:a16="http://schemas.microsoft.com/office/drawing/2014/main" id="{154F4FF9-802F-460B-9138-BA59BC0ADB85}"/>
                  </a:ext>
                </a:extLst>
              </p:cNvPr>
              <p:cNvSpPr/>
              <p:nvPr/>
            </p:nvSpPr>
            <p:spPr bwMode="auto">
              <a:xfrm>
                <a:off x="2897188" y="3402518"/>
                <a:ext cx="354013" cy="84138"/>
              </a:xfrm>
              <a:custGeom>
                <a:gdLst>
                  <a:gd fmla="*/ 22 w 25" name="T0"/>
                  <a:gd fmla="*/ 6 h 6" name="T1"/>
                  <a:gd fmla="*/ 3 w 25" name="T2"/>
                  <a:gd fmla="*/ 6 h 6" name="T3"/>
                  <a:gd fmla="*/ 0 w 25" name="T4"/>
                  <a:gd fmla="*/ 3 h 6" name="T5"/>
                  <a:gd fmla="*/ 3 w 25" name="T6"/>
                  <a:gd fmla="*/ 0 h 6" name="T7"/>
                  <a:gd fmla="*/ 22 w 25" name="T8"/>
                  <a:gd fmla="*/ 0 h 6" name="T9"/>
                  <a:gd fmla="*/ 25 w 25" name="T10"/>
                  <a:gd fmla="*/ 3 h 6" name="T11"/>
                  <a:gd fmla="*/ 22 w 25" name="T12"/>
                  <a:gd fmla="*/ 6 h 6" name="T13"/>
                </a:gdLst>
                <a:cxnLst>
                  <a:cxn ang="0">
                    <a:pos x="T0" y="T1"/>
                  </a:cxn>
                  <a:cxn ang="0">
                    <a:pos x="T2" y="T3"/>
                  </a:cxn>
                  <a:cxn ang="0">
                    <a:pos x="T4" y="T5"/>
                  </a:cxn>
                  <a:cxn ang="0">
                    <a:pos x="T6" y="T7"/>
                  </a:cxn>
                  <a:cxn ang="0">
                    <a:pos x="T8" y="T9"/>
                  </a:cxn>
                  <a:cxn ang="0">
                    <a:pos x="T10" y="T11"/>
                  </a:cxn>
                  <a:cxn ang="0">
                    <a:pos x="T12" y="T13"/>
                  </a:cxn>
                </a:cxnLst>
                <a:rect b="b" l="0" r="r" t="0"/>
                <a:pathLst>
                  <a:path h="6" w="25">
                    <a:moveTo>
                      <a:pt x="22" y="6"/>
                    </a:moveTo>
                    <a:cubicBezTo>
                      <a:pt x="3" y="6"/>
                      <a:pt x="3" y="6"/>
                      <a:pt x="3" y="6"/>
                    </a:cubicBezTo>
                    <a:cubicBezTo>
                      <a:pt x="1" y="6"/>
                      <a:pt x="0" y="4"/>
                      <a:pt x="0" y="3"/>
                    </a:cubicBezTo>
                    <a:cubicBezTo>
                      <a:pt x="0" y="1"/>
                      <a:pt x="1" y="0"/>
                      <a:pt x="3" y="0"/>
                    </a:cubicBezTo>
                    <a:cubicBezTo>
                      <a:pt x="22" y="0"/>
                      <a:pt x="22" y="0"/>
                      <a:pt x="22" y="0"/>
                    </a:cubicBezTo>
                    <a:cubicBezTo>
                      <a:pt x="23" y="0"/>
                      <a:pt x="25" y="1"/>
                      <a:pt x="25" y="3"/>
                    </a:cubicBezTo>
                    <a:cubicBezTo>
                      <a:pt x="25" y="4"/>
                      <a:pt x="23" y="6"/>
                      <a:pt x="22" y="6"/>
                    </a:cubicBezTo>
                    <a:close/>
                  </a:path>
                </a:pathLst>
              </a:custGeom>
              <a:solidFill>
                <a:schemeClr val="tx1">
                  <a:lumMod val="65000"/>
                  <a:lumOff val="35000"/>
                </a:schemeClr>
              </a:solidFill>
              <a:ln>
                <a:noFill/>
              </a:ln>
            </p:spPr>
            <p:txBody>
              <a:bodyPr anchor="ctr"/>
              <a:lstStyle/>
              <a:p>
                <a:pPr algn="ctr"/>
                <a:endParaRPr/>
              </a:p>
            </p:txBody>
          </p:sp>
          <p:sp>
            <p:nvSpPr>
              <p:cNvPr id="51" name="isḷiḍê">
                <a:extLst>
                  <a:ext uri="{FF2B5EF4-FFF2-40B4-BE49-F238E27FC236}">
                    <a16:creationId xmlns:a16="http://schemas.microsoft.com/office/drawing/2014/main" id="{682F222E-0D54-47FB-B9F9-CAD896A301C1}"/>
                  </a:ext>
                </a:extLst>
              </p:cNvPr>
              <p:cNvSpPr/>
              <p:nvPr/>
            </p:nvSpPr>
            <p:spPr bwMode="auto">
              <a:xfrm>
                <a:off x="3421063" y="3402518"/>
                <a:ext cx="352425" cy="84138"/>
              </a:xfrm>
              <a:custGeom>
                <a:gdLst>
                  <a:gd fmla="*/ 22 w 25" name="T0"/>
                  <a:gd fmla="*/ 6 h 6" name="T1"/>
                  <a:gd fmla="*/ 3 w 25" name="T2"/>
                  <a:gd fmla="*/ 6 h 6" name="T3"/>
                  <a:gd fmla="*/ 0 w 25" name="T4"/>
                  <a:gd fmla="*/ 3 h 6" name="T5"/>
                  <a:gd fmla="*/ 3 w 25" name="T6"/>
                  <a:gd fmla="*/ 0 h 6" name="T7"/>
                  <a:gd fmla="*/ 22 w 25" name="T8"/>
                  <a:gd fmla="*/ 0 h 6" name="T9"/>
                  <a:gd fmla="*/ 25 w 25" name="T10"/>
                  <a:gd fmla="*/ 3 h 6" name="T11"/>
                  <a:gd fmla="*/ 22 w 25" name="T12"/>
                  <a:gd fmla="*/ 6 h 6" name="T13"/>
                </a:gdLst>
                <a:cxnLst>
                  <a:cxn ang="0">
                    <a:pos x="T0" y="T1"/>
                  </a:cxn>
                  <a:cxn ang="0">
                    <a:pos x="T2" y="T3"/>
                  </a:cxn>
                  <a:cxn ang="0">
                    <a:pos x="T4" y="T5"/>
                  </a:cxn>
                  <a:cxn ang="0">
                    <a:pos x="T6" y="T7"/>
                  </a:cxn>
                  <a:cxn ang="0">
                    <a:pos x="T8" y="T9"/>
                  </a:cxn>
                  <a:cxn ang="0">
                    <a:pos x="T10" y="T11"/>
                  </a:cxn>
                  <a:cxn ang="0">
                    <a:pos x="T12" y="T13"/>
                  </a:cxn>
                </a:cxnLst>
                <a:rect b="b" l="0" r="r" t="0"/>
                <a:pathLst>
                  <a:path h="6" w="25">
                    <a:moveTo>
                      <a:pt x="22" y="6"/>
                    </a:moveTo>
                    <a:cubicBezTo>
                      <a:pt x="3" y="6"/>
                      <a:pt x="3" y="6"/>
                      <a:pt x="3" y="6"/>
                    </a:cubicBezTo>
                    <a:cubicBezTo>
                      <a:pt x="2" y="6"/>
                      <a:pt x="0" y="4"/>
                      <a:pt x="0" y="3"/>
                    </a:cubicBezTo>
                    <a:cubicBezTo>
                      <a:pt x="0" y="1"/>
                      <a:pt x="2" y="0"/>
                      <a:pt x="3" y="0"/>
                    </a:cubicBezTo>
                    <a:cubicBezTo>
                      <a:pt x="22" y="0"/>
                      <a:pt x="22" y="0"/>
                      <a:pt x="22" y="0"/>
                    </a:cubicBezTo>
                    <a:cubicBezTo>
                      <a:pt x="24" y="0"/>
                      <a:pt x="25" y="1"/>
                      <a:pt x="25" y="3"/>
                    </a:cubicBezTo>
                    <a:cubicBezTo>
                      <a:pt x="25" y="4"/>
                      <a:pt x="24" y="6"/>
                      <a:pt x="22" y="6"/>
                    </a:cubicBezTo>
                    <a:close/>
                  </a:path>
                </a:pathLst>
              </a:custGeom>
              <a:solidFill>
                <a:schemeClr val="tx1">
                  <a:lumMod val="65000"/>
                  <a:lumOff val="35000"/>
                </a:schemeClr>
              </a:solidFill>
              <a:ln>
                <a:noFill/>
              </a:ln>
            </p:spPr>
            <p:txBody>
              <a:bodyPr anchor="ctr"/>
              <a:lstStyle/>
              <a:p>
                <a:pPr algn="ctr"/>
                <a:endParaRPr/>
              </a:p>
            </p:txBody>
          </p:sp>
          <p:sp>
            <p:nvSpPr>
              <p:cNvPr id="52" name="ïš1ïḓe">
                <a:extLst>
                  <a:ext uri="{FF2B5EF4-FFF2-40B4-BE49-F238E27FC236}">
                    <a16:creationId xmlns:a16="http://schemas.microsoft.com/office/drawing/2014/main" id="{ACE22CC3-B623-43B4-8CD9-F85F430739DB}"/>
                  </a:ext>
                </a:extLst>
              </p:cNvPr>
              <p:cNvSpPr/>
              <p:nvPr/>
            </p:nvSpPr>
            <p:spPr bwMode="auto">
              <a:xfrm>
                <a:off x="3957638" y="3402518"/>
                <a:ext cx="352425" cy="84138"/>
              </a:xfrm>
              <a:custGeom>
                <a:gdLst>
                  <a:gd fmla="*/ 22 w 25" name="T0"/>
                  <a:gd fmla="*/ 6 h 6" name="T1"/>
                  <a:gd fmla="*/ 3 w 25" name="T2"/>
                  <a:gd fmla="*/ 6 h 6" name="T3"/>
                  <a:gd fmla="*/ 0 w 25" name="T4"/>
                  <a:gd fmla="*/ 3 h 6" name="T5"/>
                  <a:gd fmla="*/ 3 w 25" name="T6"/>
                  <a:gd fmla="*/ 0 h 6" name="T7"/>
                  <a:gd fmla="*/ 22 w 25" name="T8"/>
                  <a:gd fmla="*/ 0 h 6" name="T9"/>
                  <a:gd fmla="*/ 25 w 25" name="T10"/>
                  <a:gd fmla="*/ 3 h 6" name="T11"/>
                  <a:gd fmla="*/ 22 w 25" name="T12"/>
                  <a:gd fmla="*/ 6 h 6" name="T13"/>
                </a:gdLst>
                <a:cxnLst>
                  <a:cxn ang="0">
                    <a:pos x="T0" y="T1"/>
                  </a:cxn>
                  <a:cxn ang="0">
                    <a:pos x="T2" y="T3"/>
                  </a:cxn>
                  <a:cxn ang="0">
                    <a:pos x="T4" y="T5"/>
                  </a:cxn>
                  <a:cxn ang="0">
                    <a:pos x="T6" y="T7"/>
                  </a:cxn>
                  <a:cxn ang="0">
                    <a:pos x="T8" y="T9"/>
                  </a:cxn>
                  <a:cxn ang="0">
                    <a:pos x="T10" y="T11"/>
                  </a:cxn>
                  <a:cxn ang="0">
                    <a:pos x="T12" y="T13"/>
                  </a:cxn>
                </a:cxnLst>
                <a:rect b="b" l="0" r="r" t="0"/>
                <a:pathLst>
                  <a:path h="6" w="25">
                    <a:moveTo>
                      <a:pt x="22" y="6"/>
                    </a:moveTo>
                    <a:cubicBezTo>
                      <a:pt x="3" y="6"/>
                      <a:pt x="3" y="6"/>
                      <a:pt x="3" y="6"/>
                    </a:cubicBezTo>
                    <a:cubicBezTo>
                      <a:pt x="1" y="6"/>
                      <a:pt x="0" y="4"/>
                      <a:pt x="0" y="3"/>
                    </a:cubicBezTo>
                    <a:cubicBezTo>
                      <a:pt x="0" y="1"/>
                      <a:pt x="1" y="0"/>
                      <a:pt x="3" y="0"/>
                    </a:cubicBezTo>
                    <a:cubicBezTo>
                      <a:pt x="22" y="0"/>
                      <a:pt x="22" y="0"/>
                      <a:pt x="22" y="0"/>
                    </a:cubicBezTo>
                    <a:cubicBezTo>
                      <a:pt x="23" y="0"/>
                      <a:pt x="25" y="1"/>
                      <a:pt x="25" y="3"/>
                    </a:cubicBezTo>
                    <a:cubicBezTo>
                      <a:pt x="25" y="4"/>
                      <a:pt x="23" y="6"/>
                      <a:pt x="22" y="6"/>
                    </a:cubicBezTo>
                    <a:close/>
                  </a:path>
                </a:pathLst>
              </a:custGeom>
              <a:solidFill>
                <a:schemeClr val="tx1">
                  <a:lumMod val="65000"/>
                  <a:lumOff val="35000"/>
                </a:schemeClr>
              </a:solidFill>
              <a:ln>
                <a:noFill/>
              </a:ln>
            </p:spPr>
            <p:txBody>
              <a:bodyPr anchor="ctr"/>
              <a:lstStyle/>
              <a:p>
                <a:pPr algn="ctr"/>
                <a:endParaRPr/>
              </a:p>
            </p:txBody>
          </p:sp>
        </p:grpSp>
      </p:grpSp>
      <p:sp>
        <p:nvSpPr>
          <p:cNvPr id="55" name="íṡḷíḓê">
            <a:extLst>
              <a:ext uri="{FF2B5EF4-FFF2-40B4-BE49-F238E27FC236}">
                <a16:creationId xmlns:a16="http://schemas.microsoft.com/office/drawing/2014/main" id="{E44EFA3C-5D9A-4707-B930-E311491C51D6}"/>
              </a:ext>
            </a:extLst>
          </p:cNvPr>
          <p:cNvSpPr/>
          <p:nvPr/>
        </p:nvSpPr>
        <p:spPr bwMode="auto">
          <a:xfrm>
            <a:off x="1400176" y="5505956"/>
            <a:ext cx="354013" cy="352425"/>
          </a:xfrm>
          <a:custGeom>
            <a:gdLst>
              <a:gd fmla="*/ 12 w 25" name="T0"/>
              <a:gd fmla="*/ 25 h 25" name="T1"/>
              <a:gd fmla="*/ 0 w 25" name="T2"/>
              <a:gd fmla="*/ 13 h 25" name="T3"/>
              <a:gd fmla="*/ 12 w 25" name="T4"/>
              <a:gd fmla="*/ 0 h 25" name="T5"/>
              <a:gd fmla="*/ 25 w 25" name="T6"/>
              <a:gd fmla="*/ 13 h 25" name="T7"/>
              <a:gd fmla="*/ 12 w 25" name="T8"/>
              <a:gd fmla="*/ 25 h 25" name="T9"/>
              <a:gd fmla="*/ 12 w 25" name="T10"/>
              <a:gd fmla="*/ 7 h 25" name="T11"/>
              <a:gd fmla="*/ 6 w 25" name="T12"/>
              <a:gd fmla="*/ 13 h 25" name="T13"/>
              <a:gd fmla="*/ 12 w 25" name="T14"/>
              <a:gd fmla="*/ 19 h 25" name="T15"/>
              <a:gd fmla="*/ 18 w 25" name="T16"/>
              <a:gd fmla="*/ 13 h 25" name="T17"/>
              <a:gd fmla="*/ 12 w 25" name="T18"/>
              <a:gd fmla="*/ 7 h 25" name="T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b="b" l="0" r="r" t="0"/>
            <a:pathLst>
              <a:path h="25" w="25">
                <a:moveTo>
                  <a:pt x="12" y="25"/>
                </a:moveTo>
                <a:cubicBezTo>
                  <a:pt x="5" y="25"/>
                  <a:pt x="0" y="20"/>
                  <a:pt x="0" y="13"/>
                </a:cubicBezTo>
                <a:cubicBezTo>
                  <a:pt x="0" y="6"/>
                  <a:pt x="5" y="0"/>
                  <a:pt x="12" y="0"/>
                </a:cubicBezTo>
                <a:cubicBezTo>
                  <a:pt x="19" y="0"/>
                  <a:pt x="25" y="6"/>
                  <a:pt x="25" y="13"/>
                </a:cubicBezTo>
                <a:cubicBezTo>
                  <a:pt x="25" y="20"/>
                  <a:pt x="19" y="25"/>
                  <a:pt x="12" y="25"/>
                </a:cubicBezTo>
                <a:close/>
                <a:moveTo>
                  <a:pt x="12" y="7"/>
                </a:moveTo>
                <a:cubicBezTo>
                  <a:pt x="9" y="7"/>
                  <a:pt x="6" y="9"/>
                  <a:pt x="6" y="13"/>
                </a:cubicBezTo>
                <a:cubicBezTo>
                  <a:pt x="6" y="16"/>
                  <a:pt x="9" y="19"/>
                  <a:pt x="12" y="19"/>
                </a:cubicBezTo>
                <a:cubicBezTo>
                  <a:pt x="16" y="19"/>
                  <a:pt x="18" y="16"/>
                  <a:pt x="18" y="13"/>
                </a:cubicBezTo>
                <a:cubicBezTo>
                  <a:pt x="18" y="9"/>
                  <a:pt x="16" y="7"/>
                  <a:pt x="12" y="7"/>
                </a:cubicBezTo>
                <a:close/>
              </a:path>
            </a:pathLst>
          </a:custGeom>
          <a:solidFill>
            <a:srgbClr val="A0CBD0"/>
          </a:solidFill>
          <a:ln>
            <a:noFill/>
          </a:ln>
        </p:spPr>
        <p:txBody>
          <a:bodyPr anchor="ctr"/>
          <a:lstStyle/>
          <a:p>
            <a:pPr algn="ctr"/>
            <a:endParaRPr/>
          </a:p>
        </p:txBody>
      </p:sp>
      <p:sp>
        <p:nvSpPr>
          <p:cNvPr id="56" name="iṥľidè">
            <a:extLst>
              <a:ext uri="{FF2B5EF4-FFF2-40B4-BE49-F238E27FC236}">
                <a16:creationId xmlns:a16="http://schemas.microsoft.com/office/drawing/2014/main" id="{3E58B4E5-024F-40D3-A33D-CD6004637E06}"/>
              </a:ext>
            </a:extLst>
          </p:cNvPr>
          <p:cNvSpPr/>
          <p:nvPr/>
        </p:nvSpPr>
        <p:spPr bwMode="auto">
          <a:xfrm>
            <a:off x="5016501" y="3302506"/>
            <a:ext cx="354013" cy="354013"/>
          </a:xfrm>
          <a:custGeom>
            <a:gdLst>
              <a:gd fmla="*/ 12 w 25" name="T0"/>
              <a:gd fmla="*/ 25 h 25" name="T1"/>
              <a:gd fmla="*/ 0 w 25" name="T2"/>
              <a:gd fmla="*/ 13 h 25" name="T3"/>
              <a:gd fmla="*/ 12 w 25" name="T4"/>
              <a:gd fmla="*/ 0 h 25" name="T5"/>
              <a:gd fmla="*/ 25 w 25" name="T6"/>
              <a:gd fmla="*/ 13 h 25" name="T7"/>
              <a:gd fmla="*/ 12 w 25" name="T8"/>
              <a:gd fmla="*/ 25 h 25" name="T9"/>
              <a:gd fmla="*/ 12 w 25" name="T10"/>
              <a:gd fmla="*/ 7 h 25" name="T11"/>
              <a:gd fmla="*/ 6 w 25" name="T12"/>
              <a:gd fmla="*/ 13 h 25" name="T13"/>
              <a:gd fmla="*/ 12 w 25" name="T14"/>
              <a:gd fmla="*/ 19 h 25" name="T15"/>
              <a:gd fmla="*/ 18 w 25" name="T16"/>
              <a:gd fmla="*/ 13 h 25" name="T17"/>
              <a:gd fmla="*/ 12 w 25" name="T18"/>
              <a:gd fmla="*/ 7 h 25" name="T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b="b" l="0" r="r" t="0"/>
            <a:pathLst>
              <a:path h="25" w="25">
                <a:moveTo>
                  <a:pt x="12" y="25"/>
                </a:moveTo>
                <a:cubicBezTo>
                  <a:pt x="5" y="25"/>
                  <a:pt x="0" y="20"/>
                  <a:pt x="0" y="13"/>
                </a:cubicBezTo>
                <a:cubicBezTo>
                  <a:pt x="0" y="6"/>
                  <a:pt x="5" y="0"/>
                  <a:pt x="12" y="0"/>
                </a:cubicBezTo>
                <a:cubicBezTo>
                  <a:pt x="19" y="0"/>
                  <a:pt x="25" y="6"/>
                  <a:pt x="25" y="13"/>
                </a:cubicBezTo>
                <a:cubicBezTo>
                  <a:pt x="25" y="20"/>
                  <a:pt x="19" y="25"/>
                  <a:pt x="12" y="25"/>
                </a:cubicBezTo>
                <a:close/>
                <a:moveTo>
                  <a:pt x="12" y="7"/>
                </a:moveTo>
                <a:cubicBezTo>
                  <a:pt x="9" y="7"/>
                  <a:pt x="6" y="9"/>
                  <a:pt x="6" y="13"/>
                </a:cubicBezTo>
                <a:cubicBezTo>
                  <a:pt x="6" y="16"/>
                  <a:pt x="9" y="19"/>
                  <a:pt x="12" y="19"/>
                </a:cubicBezTo>
                <a:cubicBezTo>
                  <a:pt x="16" y="19"/>
                  <a:pt x="18" y="16"/>
                  <a:pt x="18" y="13"/>
                </a:cubicBezTo>
                <a:cubicBezTo>
                  <a:pt x="18" y="9"/>
                  <a:pt x="16" y="7"/>
                  <a:pt x="12" y="7"/>
                </a:cubicBezTo>
                <a:close/>
              </a:path>
            </a:pathLst>
          </a:custGeom>
          <a:solidFill>
            <a:srgbClr val="FAD3D4"/>
          </a:solidFill>
          <a:ln>
            <a:noFill/>
          </a:ln>
        </p:spPr>
        <p:txBody>
          <a:bodyPr anchor="ctr"/>
          <a:lstStyle/>
          <a:p>
            <a:pPr algn="ctr"/>
            <a:endParaRPr/>
          </a:p>
        </p:txBody>
      </p:sp>
      <p:sp>
        <p:nvSpPr>
          <p:cNvPr id="3" name="文本框 2">
            <a:extLst>
              <a:ext uri="{FF2B5EF4-FFF2-40B4-BE49-F238E27FC236}">
                <a16:creationId xmlns:a16="http://schemas.microsoft.com/office/drawing/2014/main" id="{91E7C0FA-D697-4973-BC47-1BC3D77FB31C}"/>
              </a:ext>
            </a:extLst>
          </p:cNvPr>
          <p:cNvSpPr txBox="1"/>
          <p:nvPr/>
        </p:nvSpPr>
        <p:spPr>
          <a:xfrm>
            <a:off x="2019525" y="2407582"/>
            <a:ext cx="2631626" cy="822960"/>
          </a:xfrm>
          <a:prstGeom prst="rect">
            <a:avLst/>
          </a:prstGeom>
          <a:noFill/>
        </p:spPr>
        <p:txBody>
          <a:bodyPr rtlCol="0" wrap="square">
            <a:spAutoFit/>
          </a:bodyPr>
          <a:lstStyle/>
          <a:p>
            <a:pPr algn="ctr"/>
            <a:r>
              <a:rPr altLang="zh-CN" b="1" lang="en-US" sz="4800">
                <a:solidFill>
                  <a:srgbClr val="FF626C"/>
                </a:solidFill>
                <a:latin typeface="+mn-ea"/>
              </a:rPr>
              <a:t>+4800万</a:t>
            </a:r>
          </a:p>
        </p:txBody>
      </p:sp>
      <p:sp>
        <p:nvSpPr>
          <p:cNvPr id="57" name="Freeform 645">
            <a:extLst>
              <a:ext uri="{FF2B5EF4-FFF2-40B4-BE49-F238E27FC236}">
                <a16:creationId xmlns:a16="http://schemas.microsoft.com/office/drawing/2014/main" id="{5426BBC8-41F0-4D20-A24B-6192A9B906DD}"/>
              </a:ext>
            </a:extLst>
          </p:cNvPr>
          <p:cNvSpPr/>
          <p:nvPr/>
        </p:nvSpPr>
        <p:spPr bwMode="auto">
          <a:xfrm>
            <a:off x="6135495" y="2394919"/>
            <a:ext cx="332285" cy="331497"/>
          </a:xfrm>
          <a:custGeom>
            <a:gdLst>
              <a:gd fmla="*/ 400 w 845" name="T0"/>
              <a:gd fmla="*/ 846 h 846" name="T1"/>
              <a:gd fmla="*/ 336 w 845" name="T2"/>
              <a:gd fmla="*/ 837 h 846" name="T3"/>
              <a:gd fmla="*/ 277 w 845" name="T4"/>
              <a:gd fmla="*/ 820 h 846" name="T5"/>
              <a:gd fmla="*/ 221 w 845" name="T6"/>
              <a:gd fmla="*/ 795 h 846" name="T7"/>
              <a:gd fmla="*/ 169 w 845" name="T8"/>
              <a:gd fmla="*/ 761 h 846" name="T9"/>
              <a:gd fmla="*/ 123 w 845" name="T10"/>
              <a:gd fmla="*/ 722 h 846" name="T11"/>
              <a:gd fmla="*/ 83 w 845" name="T12"/>
              <a:gd fmla="*/ 675 h 846" name="T13"/>
              <a:gd fmla="*/ 51 w 845" name="T14"/>
              <a:gd fmla="*/ 624 h 846" name="T15"/>
              <a:gd fmla="*/ 24 w 845" name="T16"/>
              <a:gd fmla="*/ 569 h 846" name="T17"/>
              <a:gd fmla="*/ 8 w 845" name="T18"/>
              <a:gd fmla="*/ 508 h 846" name="T19"/>
              <a:gd fmla="*/ 0 w 845" name="T20"/>
              <a:gd fmla="*/ 445 h 846" name="T21"/>
              <a:gd fmla="*/ 0 w 845" name="T22"/>
              <a:gd fmla="*/ 401 h 846" name="T23"/>
              <a:gd fmla="*/ 8 w 845" name="T24"/>
              <a:gd fmla="*/ 339 h 846" name="T25"/>
              <a:gd fmla="*/ 24 w 845" name="T26"/>
              <a:gd fmla="*/ 277 h 846" name="T27"/>
              <a:gd fmla="*/ 51 w 845" name="T28"/>
              <a:gd fmla="*/ 222 h 846" name="T29"/>
              <a:gd fmla="*/ 83 w 845" name="T30"/>
              <a:gd fmla="*/ 171 h 846" name="T31"/>
              <a:gd fmla="*/ 123 w 845" name="T32"/>
              <a:gd fmla="*/ 124 h 846" name="T33"/>
              <a:gd fmla="*/ 169 w 845" name="T34"/>
              <a:gd fmla="*/ 85 h 846" name="T35"/>
              <a:gd fmla="*/ 221 w 845" name="T36"/>
              <a:gd fmla="*/ 51 h 846" name="T37"/>
              <a:gd fmla="*/ 277 w 845" name="T38"/>
              <a:gd fmla="*/ 27 h 846" name="T39"/>
              <a:gd fmla="*/ 336 w 845" name="T40"/>
              <a:gd fmla="*/ 9 h 846" name="T41"/>
              <a:gd fmla="*/ 400 w 845" name="T42"/>
              <a:gd fmla="*/ 0 h 846" name="T43"/>
              <a:gd fmla="*/ 444 w 845" name="T44"/>
              <a:gd fmla="*/ 0 h 846" name="T45"/>
              <a:gd fmla="*/ 507 w 845" name="T46"/>
              <a:gd fmla="*/ 9 h 846" name="T47"/>
              <a:gd fmla="*/ 567 w 845" name="T48"/>
              <a:gd fmla="*/ 27 h 846" name="T49"/>
              <a:gd fmla="*/ 624 w 845" name="T50"/>
              <a:gd fmla="*/ 51 h 846" name="T51"/>
              <a:gd fmla="*/ 675 w 845" name="T52"/>
              <a:gd fmla="*/ 85 h 846" name="T53"/>
              <a:gd fmla="*/ 721 w 845" name="T54"/>
              <a:gd fmla="*/ 124 h 846" name="T55"/>
              <a:gd fmla="*/ 761 w 845" name="T56"/>
              <a:gd fmla="*/ 171 h 846" name="T57"/>
              <a:gd fmla="*/ 794 w 845" name="T58"/>
              <a:gd fmla="*/ 222 h 846" name="T59"/>
              <a:gd fmla="*/ 819 w 845" name="T60"/>
              <a:gd fmla="*/ 277 h 846" name="T61"/>
              <a:gd fmla="*/ 836 w 845" name="T62"/>
              <a:gd fmla="*/ 339 h 846" name="T63"/>
              <a:gd fmla="*/ 844 w 845" name="T64"/>
              <a:gd fmla="*/ 401 h 846" name="T65"/>
              <a:gd fmla="*/ 844 w 845" name="T66"/>
              <a:gd fmla="*/ 445 h 846" name="T67"/>
              <a:gd fmla="*/ 836 w 845" name="T68"/>
              <a:gd fmla="*/ 508 h 846" name="T69"/>
              <a:gd fmla="*/ 819 w 845" name="T70"/>
              <a:gd fmla="*/ 569 h 846" name="T71"/>
              <a:gd fmla="*/ 794 w 845" name="T72"/>
              <a:gd fmla="*/ 624 h 846" name="T73"/>
              <a:gd fmla="*/ 761 w 845" name="T74"/>
              <a:gd fmla="*/ 675 h 846" name="T75"/>
              <a:gd fmla="*/ 721 w 845" name="T76"/>
              <a:gd fmla="*/ 722 h 846" name="T77"/>
              <a:gd fmla="*/ 675 w 845" name="T78"/>
              <a:gd fmla="*/ 761 h 846" name="T79"/>
              <a:gd fmla="*/ 624 w 845" name="T80"/>
              <a:gd fmla="*/ 795 h 846" name="T81"/>
              <a:gd fmla="*/ 567 w 845" name="T82"/>
              <a:gd fmla="*/ 820 h 846" name="T83"/>
              <a:gd fmla="*/ 507 w 845" name="T84"/>
              <a:gd fmla="*/ 837 h 846" name="T85"/>
              <a:gd fmla="*/ 444 w 845" name="T86"/>
              <a:gd fmla="*/ 846 h 846" name="T8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b="b" l="0" r="r" t="0"/>
            <a:pathLst>
              <a:path h="845" w="845">
                <a:moveTo>
                  <a:pt x="422" y="846"/>
                </a:moveTo>
                <a:lnTo>
                  <a:pt x="422" y="846"/>
                </a:lnTo>
                <a:lnTo>
                  <a:pt x="400" y="846"/>
                </a:lnTo>
                <a:lnTo>
                  <a:pt x="379" y="843"/>
                </a:lnTo>
                <a:lnTo>
                  <a:pt x="358" y="842"/>
                </a:lnTo>
                <a:lnTo>
                  <a:pt x="336" y="837"/>
                </a:lnTo>
                <a:lnTo>
                  <a:pt x="316" y="833"/>
                </a:lnTo>
                <a:lnTo>
                  <a:pt x="297" y="827"/>
                </a:lnTo>
                <a:lnTo>
                  <a:pt x="277" y="820"/>
                </a:lnTo>
                <a:lnTo>
                  <a:pt x="258" y="812"/>
                </a:lnTo>
                <a:lnTo>
                  <a:pt x="239" y="804"/>
                </a:lnTo>
                <a:lnTo>
                  <a:pt x="221" y="795"/>
                </a:lnTo>
                <a:lnTo>
                  <a:pt x="204" y="785"/>
                </a:lnTo>
                <a:lnTo>
                  <a:pt x="186" y="773"/>
                </a:lnTo>
                <a:lnTo>
                  <a:pt x="169" y="761"/>
                </a:lnTo>
                <a:lnTo>
                  <a:pt x="153" y="750"/>
                </a:lnTo>
                <a:lnTo>
                  <a:pt x="138" y="737"/>
                </a:lnTo>
                <a:lnTo>
                  <a:pt x="123" y="722"/>
                </a:lnTo>
                <a:lnTo>
                  <a:pt x="109" y="707"/>
                </a:lnTo>
                <a:lnTo>
                  <a:pt x="96" y="691"/>
                </a:lnTo>
                <a:lnTo>
                  <a:pt x="83" y="675"/>
                </a:lnTo>
                <a:lnTo>
                  <a:pt x="71" y="659"/>
                </a:lnTo>
                <a:lnTo>
                  <a:pt x="61" y="642"/>
                </a:lnTo>
                <a:lnTo>
                  <a:pt x="51" y="624"/>
                </a:lnTo>
                <a:lnTo>
                  <a:pt x="40" y="607"/>
                </a:lnTo>
                <a:lnTo>
                  <a:pt x="33" y="588"/>
                </a:lnTo>
                <a:lnTo>
                  <a:pt x="24" y="569"/>
                </a:lnTo>
                <a:lnTo>
                  <a:pt x="18" y="549"/>
                </a:lnTo>
                <a:lnTo>
                  <a:pt x="13" y="528"/>
                </a:lnTo>
                <a:lnTo>
                  <a:pt x="8" y="508"/>
                </a:lnTo>
                <a:lnTo>
                  <a:pt x="4" y="487"/>
                </a:lnTo>
                <a:lnTo>
                  <a:pt x="1" y="467"/>
                </a:lnTo>
                <a:lnTo>
                  <a:pt x="0" y="445"/>
                </a:lnTo>
                <a:lnTo>
                  <a:pt x="0" y="423"/>
                </a:lnTo>
                <a:lnTo>
                  <a:pt x="0" y="423"/>
                </a:lnTo>
                <a:lnTo>
                  <a:pt x="0" y="401"/>
                </a:lnTo>
                <a:lnTo>
                  <a:pt x="1" y="379"/>
                </a:lnTo>
                <a:lnTo>
                  <a:pt x="4" y="359"/>
                </a:lnTo>
                <a:lnTo>
                  <a:pt x="8" y="339"/>
                </a:lnTo>
                <a:lnTo>
                  <a:pt x="13" y="318"/>
                </a:lnTo>
                <a:lnTo>
                  <a:pt x="18" y="298"/>
                </a:lnTo>
                <a:lnTo>
                  <a:pt x="24" y="277"/>
                </a:lnTo>
                <a:lnTo>
                  <a:pt x="33" y="258"/>
                </a:lnTo>
                <a:lnTo>
                  <a:pt x="40" y="239"/>
                </a:lnTo>
                <a:lnTo>
                  <a:pt x="51" y="222"/>
                </a:lnTo>
                <a:lnTo>
                  <a:pt x="61" y="204"/>
                </a:lnTo>
                <a:lnTo>
                  <a:pt x="71" y="187"/>
                </a:lnTo>
                <a:lnTo>
                  <a:pt x="83" y="171"/>
                </a:lnTo>
                <a:lnTo>
                  <a:pt x="96" y="155"/>
                </a:lnTo>
                <a:lnTo>
                  <a:pt x="109" y="139"/>
                </a:lnTo>
                <a:lnTo>
                  <a:pt x="123" y="124"/>
                </a:lnTo>
                <a:lnTo>
                  <a:pt x="138" y="110"/>
                </a:lnTo>
                <a:lnTo>
                  <a:pt x="153" y="97"/>
                </a:lnTo>
                <a:lnTo>
                  <a:pt x="169" y="85"/>
                </a:lnTo>
                <a:lnTo>
                  <a:pt x="186" y="73"/>
                </a:lnTo>
                <a:lnTo>
                  <a:pt x="204" y="62"/>
                </a:lnTo>
                <a:lnTo>
                  <a:pt x="221" y="51"/>
                </a:lnTo>
                <a:lnTo>
                  <a:pt x="239" y="43"/>
                </a:lnTo>
                <a:lnTo>
                  <a:pt x="258" y="34"/>
                </a:lnTo>
                <a:lnTo>
                  <a:pt x="277" y="27"/>
                </a:lnTo>
                <a:lnTo>
                  <a:pt x="297" y="19"/>
                </a:lnTo>
                <a:lnTo>
                  <a:pt x="316" y="13"/>
                </a:lnTo>
                <a:lnTo>
                  <a:pt x="336" y="9"/>
                </a:lnTo>
                <a:lnTo>
                  <a:pt x="358" y="5"/>
                </a:lnTo>
                <a:lnTo>
                  <a:pt x="379" y="2"/>
                </a:lnTo>
                <a:lnTo>
                  <a:pt x="400" y="0"/>
                </a:lnTo>
                <a:lnTo>
                  <a:pt x="422" y="0"/>
                </a:lnTo>
                <a:lnTo>
                  <a:pt x="422" y="0"/>
                </a:lnTo>
                <a:lnTo>
                  <a:pt x="444" y="0"/>
                </a:lnTo>
                <a:lnTo>
                  <a:pt x="465" y="2"/>
                </a:lnTo>
                <a:lnTo>
                  <a:pt x="487" y="5"/>
                </a:lnTo>
                <a:lnTo>
                  <a:pt x="507" y="9"/>
                </a:lnTo>
                <a:lnTo>
                  <a:pt x="527" y="13"/>
                </a:lnTo>
                <a:lnTo>
                  <a:pt x="548" y="19"/>
                </a:lnTo>
                <a:lnTo>
                  <a:pt x="567" y="27"/>
                </a:lnTo>
                <a:lnTo>
                  <a:pt x="587" y="34"/>
                </a:lnTo>
                <a:lnTo>
                  <a:pt x="605" y="43"/>
                </a:lnTo>
                <a:lnTo>
                  <a:pt x="624" y="51"/>
                </a:lnTo>
                <a:lnTo>
                  <a:pt x="641" y="62"/>
                </a:lnTo>
                <a:lnTo>
                  <a:pt x="659" y="73"/>
                </a:lnTo>
                <a:lnTo>
                  <a:pt x="675" y="85"/>
                </a:lnTo>
                <a:lnTo>
                  <a:pt x="691" y="97"/>
                </a:lnTo>
                <a:lnTo>
                  <a:pt x="707" y="110"/>
                </a:lnTo>
                <a:lnTo>
                  <a:pt x="721" y="124"/>
                </a:lnTo>
                <a:lnTo>
                  <a:pt x="734" y="139"/>
                </a:lnTo>
                <a:lnTo>
                  <a:pt x="747" y="155"/>
                </a:lnTo>
                <a:lnTo>
                  <a:pt x="761" y="171"/>
                </a:lnTo>
                <a:lnTo>
                  <a:pt x="772" y="187"/>
                </a:lnTo>
                <a:lnTo>
                  <a:pt x="784" y="204"/>
                </a:lnTo>
                <a:lnTo>
                  <a:pt x="794" y="222"/>
                </a:lnTo>
                <a:lnTo>
                  <a:pt x="803" y="239"/>
                </a:lnTo>
                <a:lnTo>
                  <a:pt x="812" y="258"/>
                </a:lnTo>
                <a:lnTo>
                  <a:pt x="819" y="277"/>
                </a:lnTo>
                <a:lnTo>
                  <a:pt x="826" y="298"/>
                </a:lnTo>
                <a:lnTo>
                  <a:pt x="832" y="318"/>
                </a:lnTo>
                <a:lnTo>
                  <a:pt x="836" y="339"/>
                </a:lnTo>
                <a:lnTo>
                  <a:pt x="839" y="359"/>
                </a:lnTo>
                <a:lnTo>
                  <a:pt x="842" y="379"/>
                </a:lnTo>
                <a:lnTo>
                  <a:pt x="844" y="401"/>
                </a:lnTo>
                <a:lnTo>
                  <a:pt x="845" y="423"/>
                </a:lnTo>
                <a:lnTo>
                  <a:pt x="845" y="423"/>
                </a:lnTo>
                <a:lnTo>
                  <a:pt x="844" y="445"/>
                </a:lnTo>
                <a:lnTo>
                  <a:pt x="842" y="467"/>
                </a:lnTo>
                <a:lnTo>
                  <a:pt x="839" y="487"/>
                </a:lnTo>
                <a:lnTo>
                  <a:pt x="836" y="508"/>
                </a:lnTo>
                <a:lnTo>
                  <a:pt x="832" y="528"/>
                </a:lnTo>
                <a:lnTo>
                  <a:pt x="826" y="549"/>
                </a:lnTo>
                <a:lnTo>
                  <a:pt x="819" y="569"/>
                </a:lnTo>
                <a:lnTo>
                  <a:pt x="812" y="588"/>
                </a:lnTo>
                <a:lnTo>
                  <a:pt x="803" y="607"/>
                </a:lnTo>
                <a:lnTo>
                  <a:pt x="794" y="624"/>
                </a:lnTo>
                <a:lnTo>
                  <a:pt x="784" y="642"/>
                </a:lnTo>
                <a:lnTo>
                  <a:pt x="772" y="659"/>
                </a:lnTo>
                <a:lnTo>
                  <a:pt x="761" y="675"/>
                </a:lnTo>
                <a:lnTo>
                  <a:pt x="747" y="691"/>
                </a:lnTo>
                <a:lnTo>
                  <a:pt x="734" y="707"/>
                </a:lnTo>
                <a:lnTo>
                  <a:pt x="721" y="722"/>
                </a:lnTo>
                <a:lnTo>
                  <a:pt x="707" y="737"/>
                </a:lnTo>
                <a:lnTo>
                  <a:pt x="691" y="750"/>
                </a:lnTo>
                <a:lnTo>
                  <a:pt x="675" y="761"/>
                </a:lnTo>
                <a:lnTo>
                  <a:pt x="659" y="773"/>
                </a:lnTo>
                <a:lnTo>
                  <a:pt x="641" y="785"/>
                </a:lnTo>
                <a:lnTo>
                  <a:pt x="624" y="795"/>
                </a:lnTo>
                <a:lnTo>
                  <a:pt x="605" y="804"/>
                </a:lnTo>
                <a:lnTo>
                  <a:pt x="587" y="812"/>
                </a:lnTo>
                <a:lnTo>
                  <a:pt x="567" y="820"/>
                </a:lnTo>
                <a:lnTo>
                  <a:pt x="548" y="827"/>
                </a:lnTo>
                <a:lnTo>
                  <a:pt x="527" y="833"/>
                </a:lnTo>
                <a:lnTo>
                  <a:pt x="507" y="837"/>
                </a:lnTo>
                <a:lnTo>
                  <a:pt x="487" y="842"/>
                </a:lnTo>
                <a:lnTo>
                  <a:pt x="465" y="843"/>
                </a:lnTo>
                <a:lnTo>
                  <a:pt x="444" y="846"/>
                </a:lnTo>
                <a:lnTo>
                  <a:pt x="422" y="846"/>
                </a:lnTo>
                <a:lnTo>
                  <a:pt x="422" y="846"/>
                </a:lnTo>
                <a:close/>
              </a:path>
            </a:pathLst>
          </a:custGeom>
          <a:solidFill>
            <a:srgbClr val="60A8AF"/>
          </a:solidFill>
          <a:ln w="9525">
            <a:noFill/>
            <a:round/>
          </a:ln>
        </p:spPr>
        <p:txBody>
          <a:bodyPr anchor="t" anchorCtr="0" bIns="45720" compatLnSpc="1" lIns="91440" numCol="1" rIns="91440" tIns="45720" vert="horz" wrap="square">
            <a:prstTxWarp prst="textNoShape">
              <a:avLst/>
            </a:prstTxWarp>
          </a:bodyPr>
          <a:lstStyle/>
          <a:p>
            <a:endParaRPr lang="en-US" sz="5000"/>
          </a:p>
        </p:txBody>
      </p:sp>
      <p:sp>
        <p:nvSpPr>
          <p:cNvPr id="58" name="Freeform 645">
            <a:extLst>
              <a:ext uri="{FF2B5EF4-FFF2-40B4-BE49-F238E27FC236}">
                <a16:creationId xmlns:a16="http://schemas.microsoft.com/office/drawing/2014/main" id="{432E020E-9BB1-4155-92E2-8ABEE23D97EE}"/>
              </a:ext>
            </a:extLst>
          </p:cNvPr>
          <p:cNvSpPr/>
          <p:nvPr/>
        </p:nvSpPr>
        <p:spPr bwMode="auto">
          <a:xfrm>
            <a:off x="6135495" y="3266363"/>
            <a:ext cx="332285" cy="331497"/>
          </a:xfrm>
          <a:custGeom>
            <a:gdLst>
              <a:gd fmla="*/ 400 w 845" name="T0"/>
              <a:gd fmla="*/ 846 h 846" name="T1"/>
              <a:gd fmla="*/ 336 w 845" name="T2"/>
              <a:gd fmla="*/ 837 h 846" name="T3"/>
              <a:gd fmla="*/ 277 w 845" name="T4"/>
              <a:gd fmla="*/ 820 h 846" name="T5"/>
              <a:gd fmla="*/ 221 w 845" name="T6"/>
              <a:gd fmla="*/ 795 h 846" name="T7"/>
              <a:gd fmla="*/ 169 w 845" name="T8"/>
              <a:gd fmla="*/ 761 h 846" name="T9"/>
              <a:gd fmla="*/ 123 w 845" name="T10"/>
              <a:gd fmla="*/ 722 h 846" name="T11"/>
              <a:gd fmla="*/ 83 w 845" name="T12"/>
              <a:gd fmla="*/ 675 h 846" name="T13"/>
              <a:gd fmla="*/ 51 w 845" name="T14"/>
              <a:gd fmla="*/ 624 h 846" name="T15"/>
              <a:gd fmla="*/ 24 w 845" name="T16"/>
              <a:gd fmla="*/ 569 h 846" name="T17"/>
              <a:gd fmla="*/ 8 w 845" name="T18"/>
              <a:gd fmla="*/ 508 h 846" name="T19"/>
              <a:gd fmla="*/ 0 w 845" name="T20"/>
              <a:gd fmla="*/ 445 h 846" name="T21"/>
              <a:gd fmla="*/ 0 w 845" name="T22"/>
              <a:gd fmla="*/ 401 h 846" name="T23"/>
              <a:gd fmla="*/ 8 w 845" name="T24"/>
              <a:gd fmla="*/ 339 h 846" name="T25"/>
              <a:gd fmla="*/ 24 w 845" name="T26"/>
              <a:gd fmla="*/ 277 h 846" name="T27"/>
              <a:gd fmla="*/ 51 w 845" name="T28"/>
              <a:gd fmla="*/ 222 h 846" name="T29"/>
              <a:gd fmla="*/ 83 w 845" name="T30"/>
              <a:gd fmla="*/ 171 h 846" name="T31"/>
              <a:gd fmla="*/ 123 w 845" name="T32"/>
              <a:gd fmla="*/ 124 h 846" name="T33"/>
              <a:gd fmla="*/ 169 w 845" name="T34"/>
              <a:gd fmla="*/ 85 h 846" name="T35"/>
              <a:gd fmla="*/ 221 w 845" name="T36"/>
              <a:gd fmla="*/ 51 h 846" name="T37"/>
              <a:gd fmla="*/ 277 w 845" name="T38"/>
              <a:gd fmla="*/ 27 h 846" name="T39"/>
              <a:gd fmla="*/ 336 w 845" name="T40"/>
              <a:gd fmla="*/ 9 h 846" name="T41"/>
              <a:gd fmla="*/ 400 w 845" name="T42"/>
              <a:gd fmla="*/ 0 h 846" name="T43"/>
              <a:gd fmla="*/ 444 w 845" name="T44"/>
              <a:gd fmla="*/ 0 h 846" name="T45"/>
              <a:gd fmla="*/ 507 w 845" name="T46"/>
              <a:gd fmla="*/ 9 h 846" name="T47"/>
              <a:gd fmla="*/ 567 w 845" name="T48"/>
              <a:gd fmla="*/ 27 h 846" name="T49"/>
              <a:gd fmla="*/ 624 w 845" name="T50"/>
              <a:gd fmla="*/ 51 h 846" name="T51"/>
              <a:gd fmla="*/ 675 w 845" name="T52"/>
              <a:gd fmla="*/ 85 h 846" name="T53"/>
              <a:gd fmla="*/ 721 w 845" name="T54"/>
              <a:gd fmla="*/ 124 h 846" name="T55"/>
              <a:gd fmla="*/ 761 w 845" name="T56"/>
              <a:gd fmla="*/ 171 h 846" name="T57"/>
              <a:gd fmla="*/ 794 w 845" name="T58"/>
              <a:gd fmla="*/ 222 h 846" name="T59"/>
              <a:gd fmla="*/ 819 w 845" name="T60"/>
              <a:gd fmla="*/ 277 h 846" name="T61"/>
              <a:gd fmla="*/ 836 w 845" name="T62"/>
              <a:gd fmla="*/ 339 h 846" name="T63"/>
              <a:gd fmla="*/ 844 w 845" name="T64"/>
              <a:gd fmla="*/ 401 h 846" name="T65"/>
              <a:gd fmla="*/ 844 w 845" name="T66"/>
              <a:gd fmla="*/ 445 h 846" name="T67"/>
              <a:gd fmla="*/ 836 w 845" name="T68"/>
              <a:gd fmla="*/ 508 h 846" name="T69"/>
              <a:gd fmla="*/ 819 w 845" name="T70"/>
              <a:gd fmla="*/ 569 h 846" name="T71"/>
              <a:gd fmla="*/ 794 w 845" name="T72"/>
              <a:gd fmla="*/ 624 h 846" name="T73"/>
              <a:gd fmla="*/ 761 w 845" name="T74"/>
              <a:gd fmla="*/ 675 h 846" name="T75"/>
              <a:gd fmla="*/ 721 w 845" name="T76"/>
              <a:gd fmla="*/ 722 h 846" name="T77"/>
              <a:gd fmla="*/ 675 w 845" name="T78"/>
              <a:gd fmla="*/ 761 h 846" name="T79"/>
              <a:gd fmla="*/ 624 w 845" name="T80"/>
              <a:gd fmla="*/ 795 h 846" name="T81"/>
              <a:gd fmla="*/ 567 w 845" name="T82"/>
              <a:gd fmla="*/ 820 h 846" name="T83"/>
              <a:gd fmla="*/ 507 w 845" name="T84"/>
              <a:gd fmla="*/ 837 h 846" name="T85"/>
              <a:gd fmla="*/ 444 w 845" name="T86"/>
              <a:gd fmla="*/ 846 h 846" name="T8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b="b" l="0" r="r" t="0"/>
            <a:pathLst>
              <a:path h="845" w="845">
                <a:moveTo>
                  <a:pt x="422" y="846"/>
                </a:moveTo>
                <a:lnTo>
                  <a:pt x="422" y="846"/>
                </a:lnTo>
                <a:lnTo>
                  <a:pt x="400" y="846"/>
                </a:lnTo>
                <a:lnTo>
                  <a:pt x="379" y="843"/>
                </a:lnTo>
                <a:lnTo>
                  <a:pt x="358" y="842"/>
                </a:lnTo>
                <a:lnTo>
                  <a:pt x="336" y="837"/>
                </a:lnTo>
                <a:lnTo>
                  <a:pt x="316" y="833"/>
                </a:lnTo>
                <a:lnTo>
                  <a:pt x="297" y="827"/>
                </a:lnTo>
                <a:lnTo>
                  <a:pt x="277" y="820"/>
                </a:lnTo>
                <a:lnTo>
                  <a:pt x="258" y="812"/>
                </a:lnTo>
                <a:lnTo>
                  <a:pt x="239" y="804"/>
                </a:lnTo>
                <a:lnTo>
                  <a:pt x="221" y="795"/>
                </a:lnTo>
                <a:lnTo>
                  <a:pt x="204" y="785"/>
                </a:lnTo>
                <a:lnTo>
                  <a:pt x="186" y="773"/>
                </a:lnTo>
                <a:lnTo>
                  <a:pt x="169" y="761"/>
                </a:lnTo>
                <a:lnTo>
                  <a:pt x="153" y="750"/>
                </a:lnTo>
                <a:lnTo>
                  <a:pt x="138" y="737"/>
                </a:lnTo>
                <a:lnTo>
                  <a:pt x="123" y="722"/>
                </a:lnTo>
                <a:lnTo>
                  <a:pt x="109" y="707"/>
                </a:lnTo>
                <a:lnTo>
                  <a:pt x="96" y="691"/>
                </a:lnTo>
                <a:lnTo>
                  <a:pt x="83" y="675"/>
                </a:lnTo>
                <a:lnTo>
                  <a:pt x="71" y="659"/>
                </a:lnTo>
                <a:lnTo>
                  <a:pt x="61" y="642"/>
                </a:lnTo>
                <a:lnTo>
                  <a:pt x="51" y="624"/>
                </a:lnTo>
                <a:lnTo>
                  <a:pt x="40" y="607"/>
                </a:lnTo>
                <a:lnTo>
                  <a:pt x="33" y="588"/>
                </a:lnTo>
                <a:lnTo>
                  <a:pt x="24" y="569"/>
                </a:lnTo>
                <a:lnTo>
                  <a:pt x="18" y="549"/>
                </a:lnTo>
                <a:lnTo>
                  <a:pt x="13" y="528"/>
                </a:lnTo>
                <a:lnTo>
                  <a:pt x="8" y="508"/>
                </a:lnTo>
                <a:lnTo>
                  <a:pt x="4" y="487"/>
                </a:lnTo>
                <a:lnTo>
                  <a:pt x="1" y="467"/>
                </a:lnTo>
                <a:lnTo>
                  <a:pt x="0" y="445"/>
                </a:lnTo>
                <a:lnTo>
                  <a:pt x="0" y="423"/>
                </a:lnTo>
                <a:lnTo>
                  <a:pt x="0" y="423"/>
                </a:lnTo>
                <a:lnTo>
                  <a:pt x="0" y="401"/>
                </a:lnTo>
                <a:lnTo>
                  <a:pt x="1" y="379"/>
                </a:lnTo>
                <a:lnTo>
                  <a:pt x="4" y="359"/>
                </a:lnTo>
                <a:lnTo>
                  <a:pt x="8" y="339"/>
                </a:lnTo>
                <a:lnTo>
                  <a:pt x="13" y="318"/>
                </a:lnTo>
                <a:lnTo>
                  <a:pt x="18" y="298"/>
                </a:lnTo>
                <a:lnTo>
                  <a:pt x="24" y="277"/>
                </a:lnTo>
                <a:lnTo>
                  <a:pt x="33" y="258"/>
                </a:lnTo>
                <a:lnTo>
                  <a:pt x="40" y="239"/>
                </a:lnTo>
                <a:lnTo>
                  <a:pt x="51" y="222"/>
                </a:lnTo>
                <a:lnTo>
                  <a:pt x="61" y="204"/>
                </a:lnTo>
                <a:lnTo>
                  <a:pt x="71" y="187"/>
                </a:lnTo>
                <a:lnTo>
                  <a:pt x="83" y="171"/>
                </a:lnTo>
                <a:lnTo>
                  <a:pt x="96" y="155"/>
                </a:lnTo>
                <a:lnTo>
                  <a:pt x="109" y="139"/>
                </a:lnTo>
                <a:lnTo>
                  <a:pt x="123" y="124"/>
                </a:lnTo>
                <a:lnTo>
                  <a:pt x="138" y="110"/>
                </a:lnTo>
                <a:lnTo>
                  <a:pt x="153" y="97"/>
                </a:lnTo>
                <a:lnTo>
                  <a:pt x="169" y="85"/>
                </a:lnTo>
                <a:lnTo>
                  <a:pt x="186" y="73"/>
                </a:lnTo>
                <a:lnTo>
                  <a:pt x="204" y="62"/>
                </a:lnTo>
                <a:lnTo>
                  <a:pt x="221" y="51"/>
                </a:lnTo>
                <a:lnTo>
                  <a:pt x="239" y="43"/>
                </a:lnTo>
                <a:lnTo>
                  <a:pt x="258" y="34"/>
                </a:lnTo>
                <a:lnTo>
                  <a:pt x="277" y="27"/>
                </a:lnTo>
                <a:lnTo>
                  <a:pt x="297" y="19"/>
                </a:lnTo>
                <a:lnTo>
                  <a:pt x="316" y="13"/>
                </a:lnTo>
                <a:lnTo>
                  <a:pt x="336" y="9"/>
                </a:lnTo>
                <a:lnTo>
                  <a:pt x="358" y="5"/>
                </a:lnTo>
                <a:lnTo>
                  <a:pt x="379" y="2"/>
                </a:lnTo>
                <a:lnTo>
                  <a:pt x="400" y="0"/>
                </a:lnTo>
                <a:lnTo>
                  <a:pt x="422" y="0"/>
                </a:lnTo>
                <a:lnTo>
                  <a:pt x="422" y="0"/>
                </a:lnTo>
                <a:lnTo>
                  <a:pt x="444" y="0"/>
                </a:lnTo>
                <a:lnTo>
                  <a:pt x="465" y="2"/>
                </a:lnTo>
                <a:lnTo>
                  <a:pt x="487" y="5"/>
                </a:lnTo>
                <a:lnTo>
                  <a:pt x="507" y="9"/>
                </a:lnTo>
                <a:lnTo>
                  <a:pt x="527" y="13"/>
                </a:lnTo>
                <a:lnTo>
                  <a:pt x="548" y="19"/>
                </a:lnTo>
                <a:lnTo>
                  <a:pt x="567" y="27"/>
                </a:lnTo>
                <a:lnTo>
                  <a:pt x="587" y="34"/>
                </a:lnTo>
                <a:lnTo>
                  <a:pt x="605" y="43"/>
                </a:lnTo>
                <a:lnTo>
                  <a:pt x="624" y="51"/>
                </a:lnTo>
                <a:lnTo>
                  <a:pt x="641" y="62"/>
                </a:lnTo>
                <a:lnTo>
                  <a:pt x="659" y="73"/>
                </a:lnTo>
                <a:lnTo>
                  <a:pt x="675" y="85"/>
                </a:lnTo>
                <a:lnTo>
                  <a:pt x="691" y="97"/>
                </a:lnTo>
                <a:lnTo>
                  <a:pt x="707" y="110"/>
                </a:lnTo>
                <a:lnTo>
                  <a:pt x="721" y="124"/>
                </a:lnTo>
                <a:lnTo>
                  <a:pt x="734" y="139"/>
                </a:lnTo>
                <a:lnTo>
                  <a:pt x="747" y="155"/>
                </a:lnTo>
                <a:lnTo>
                  <a:pt x="761" y="171"/>
                </a:lnTo>
                <a:lnTo>
                  <a:pt x="772" y="187"/>
                </a:lnTo>
                <a:lnTo>
                  <a:pt x="784" y="204"/>
                </a:lnTo>
                <a:lnTo>
                  <a:pt x="794" y="222"/>
                </a:lnTo>
                <a:lnTo>
                  <a:pt x="803" y="239"/>
                </a:lnTo>
                <a:lnTo>
                  <a:pt x="812" y="258"/>
                </a:lnTo>
                <a:lnTo>
                  <a:pt x="819" y="277"/>
                </a:lnTo>
                <a:lnTo>
                  <a:pt x="826" y="298"/>
                </a:lnTo>
                <a:lnTo>
                  <a:pt x="832" y="318"/>
                </a:lnTo>
                <a:lnTo>
                  <a:pt x="836" y="339"/>
                </a:lnTo>
                <a:lnTo>
                  <a:pt x="839" y="359"/>
                </a:lnTo>
                <a:lnTo>
                  <a:pt x="842" y="379"/>
                </a:lnTo>
                <a:lnTo>
                  <a:pt x="844" y="401"/>
                </a:lnTo>
                <a:lnTo>
                  <a:pt x="845" y="423"/>
                </a:lnTo>
                <a:lnTo>
                  <a:pt x="845" y="423"/>
                </a:lnTo>
                <a:lnTo>
                  <a:pt x="844" y="445"/>
                </a:lnTo>
                <a:lnTo>
                  <a:pt x="842" y="467"/>
                </a:lnTo>
                <a:lnTo>
                  <a:pt x="839" y="487"/>
                </a:lnTo>
                <a:lnTo>
                  <a:pt x="836" y="508"/>
                </a:lnTo>
                <a:lnTo>
                  <a:pt x="832" y="528"/>
                </a:lnTo>
                <a:lnTo>
                  <a:pt x="826" y="549"/>
                </a:lnTo>
                <a:lnTo>
                  <a:pt x="819" y="569"/>
                </a:lnTo>
                <a:lnTo>
                  <a:pt x="812" y="588"/>
                </a:lnTo>
                <a:lnTo>
                  <a:pt x="803" y="607"/>
                </a:lnTo>
                <a:lnTo>
                  <a:pt x="794" y="624"/>
                </a:lnTo>
                <a:lnTo>
                  <a:pt x="784" y="642"/>
                </a:lnTo>
                <a:lnTo>
                  <a:pt x="772" y="659"/>
                </a:lnTo>
                <a:lnTo>
                  <a:pt x="761" y="675"/>
                </a:lnTo>
                <a:lnTo>
                  <a:pt x="747" y="691"/>
                </a:lnTo>
                <a:lnTo>
                  <a:pt x="734" y="707"/>
                </a:lnTo>
                <a:lnTo>
                  <a:pt x="721" y="722"/>
                </a:lnTo>
                <a:lnTo>
                  <a:pt x="707" y="737"/>
                </a:lnTo>
                <a:lnTo>
                  <a:pt x="691" y="750"/>
                </a:lnTo>
                <a:lnTo>
                  <a:pt x="675" y="761"/>
                </a:lnTo>
                <a:lnTo>
                  <a:pt x="659" y="773"/>
                </a:lnTo>
                <a:lnTo>
                  <a:pt x="641" y="785"/>
                </a:lnTo>
                <a:lnTo>
                  <a:pt x="624" y="795"/>
                </a:lnTo>
                <a:lnTo>
                  <a:pt x="605" y="804"/>
                </a:lnTo>
                <a:lnTo>
                  <a:pt x="587" y="812"/>
                </a:lnTo>
                <a:lnTo>
                  <a:pt x="567" y="820"/>
                </a:lnTo>
                <a:lnTo>
                  <a:pt x="548" y="827"/>
                </a:lnTo>
                <a:lnTo>
                  <a:pt x="527" y="833"/>
                </a:lnTo>
                <a:lnTo>
                  <a:pt x="507" y="837"/>
                </a:lnTo>
                <a:lnTo>
                  <a:pt x="487" y="842"/>
                </a:lnTo>
                <a:lnTo>
                  <a:pt x="465" y="843"/>
                </a:lnTo>
                <a:lnTo>
                  <a:pt x="444" y="846"/>
                </a:lnTo>
                <a:lnTo>
                  <a:pt x="422" y="846"/>
                </a:lnTo>
                <a:lnTo>
                  <a:pt x="422" y="846"/>
                </a:lnTo>
                <a:close/>
              </a:path>
            </a:pathLst>
          </a:custGeom>
          <a:solidFill>
            <a:srgbClr val="FF626C"/>
          </a:solidFill>
          <a:ln w="9525">
            <a:noFill/>
            <a:round/>
          </a:ln>
        </p:spPr>
        <p:txBody>
          <a:bodyPr anchor="t" anchorCtr="0" bIns="45720" compatLnSpc="1" lIns="91440" numCol="1" rIns="91440" tIns="45720" vert="horz" wrap="square">
            <a:prstTxWarp prst="textNoShape">
              <a:avLst/>
            </a:prstTxWarp>
          </a:bodyPr>
          <a:lstStyle/>
          <a:p>
            <a:endParaRPr lang="en-US" sz="5000"/>
          </a:p>
        </p:txBody>
      </p:sp>
      <p:sp>
        <p:nvSpPr>
          <p:cNvPr id="59" name="Freeform 645">
            <a:extLst>
              <a:ext uri="{FF2B5EF4-FFF2-40B4-BE49-F238E27FC236}">
                <a16:creationId xmlns:a16="http://schemas.microsoft.com/office/drawing/2014/main" id="{5BCEB3B0-2CAD-4443-A136-B5EF3C4C4762}"/>
              </a:ext>
            </a:extLst>
          </p:cNvPr>
          <p:cNvSpPr/>
          <p:nvPr/>
        </p:nvSpPr>
        <p:spPr bwMode="auto">
          <a:xfrm>
            <a:off x="6135495" y="4137807"/>
            <a:ext cx="332285" cy="331497"/>
          </a:xfrm>
          <a:custGeom>
            <a:gdLst>
              <a:gd fmla="*/ 400 w 845" name="T0"/>
              <a:gd fmla="*/ 846 h 846" name="T1"/>
              <a:gd fmla="*/ 336 w 845" name="T2"/>
              <a:gd fmla="*/ 837 h 846" name="T3"/>
              <a:gd fmla="*/ 277 w 845" name="T4"/>
              <a:gd fmla="*/ 820 h 846" name="T5"/>
              <a:gd fmla="*/ 221 w 845" name="T6"/>
              <a:gd fmla="*/ 795 h 846" name="T7"/>
              <a:gd fmla="*/ 169 w 845" name="T8"/>
              <a:gd fmla="*/ 761 h 846" name="T9"/>
              <a:gd fmla="*/ 123 w 845" name="T10"/>
              <a:gd fmla="*/ 722 h 846" name="T11"/>
              <a:gd fmla="*/ 83 w 845" name="T12"/>
              <a:gd fmla="*/ 675 h 846" name="T13"/>
              <a:gd fmla="*/ 51 w 845" name="T14"/>
              <a:gd fmla="*/ 624 h 846" name="T15"/>
              <a:gd fmla="*/ 24 w 845" name="T16"/>
              <a:gd fmla="*/ 569 h 846" name="T17"/>
              <a:gd fmla="*/ 8 w 845" name="T18"/>
              <a:gd fmla="*/ 508 h 846" name="T19"/>
              <a:gd fmla="*/ 0 w 845" name="T20"/>
              <a:gd fmla="*/ 445 h 846" name="T21"/>
              <a:gd fmla="*/ 0 w 845" name="T22"/>
              <a:gd fmla="*/ 401 h 846" name="T23"/>
              <a:gd fmla="*/ 8 w 845" name="T24"/>
              <a:gd fmla="*/ 339 h 846" name="T25"/>
              <a:gd fmla="*/ 24 w 845" name="T26"/>
              <a:gd fmla="*/ 277 h 846" name="T27"/>
              <a:gd fmla="*/ 51 w 845" name="T28"/>
              <a:gd fmla="*/ 222 h 846" name="T29"/>
              <a:gd fmla="*/ 83 w 845" name="T30"/>
              <a:gd fmla="*/ 171 h 846" name="T31"/>
              <a:gd fmla="*/ 123 w 845" name="T32"/>
              <a:gd fmla="*/ 124 h 846" name="T33"/>
              <a:gd fmla="*/ 169 w 845" name="T34"/>
              <a:gd fmla="*/ 85 h 846" name="T35"/>
              <a:gd fmla="*/ 221 w 845" name="T36"/>
              <a:gd fmla="*/ 51 h 846" name="T37"/>
              <a:gd fmla="*/ 277 w 845" name="T38"/>
              <a:gd fmla="*/ 27 h 846" name="T39"/>
              <a:gd fmla="*/ 336 w 845" name="T40"/>
              <a:gd fmla="*/ 9 h 846" name="T41"/>
              <a:gd fmla="*/ 400 w 845" name="T42"/>
              <a:gd fmla="*/ 0 h 846" name="T43"/>
              <a:gd fmla="*/ 444 w 845" name="T44"/>
              <a:gd fmla="*/ 0 h 846" name="T45"/>
              <a:gd fmla="*/ 507 w 845" name="T46"/>
              <a:gd fmla="*/ 9 h 846" name="T47"/>
              <a:gd fmla="*/ 567 w 845" name="T48"/>
              <a:gd fmla="*/ 27 h 846" name="T49"/>
              <a:gd fmla="*/ 624 w 845" name="T50"/>
              <a:gd fmla="*/ 51 h 846" name="T51"/>
              <a:gd fmla="*/ 675 w 845" name="T52"/>
              <a:gd fmla="*/ 85 h 846" name="T53"/>
              <a:gd fmla="*/ 721 w 845" name="T54"/>
              <a:gd fmla="*/ 124 h 846" name="T55"/>
              <a:gd fmla="*/ 761 w 845" name="T56"/>
              <a:gd fmla="*/ 171 h 846" name="T57"/>
              <a:gd fmla="*/ 794 w 845" name="T58"/>
              <a:gd fmla="*/ 222 h 846" name="T59"/>
              <a:gd fmla="*/ 819 w 845" name="T60"/>
              <a:gd fmla="*/ 277 h 846" name="T61"/>
              <a:gd fmla="*/ 836 w 845" name="T62"/>
              <a:gd fmla="*/ 339 h 846" name="T63"/>
              <a:gd fmla="*/ 844 w 845" name="T64"/>
              <a:gd fmla="*/ 401 h 846" name="T65"/>
              <a:gd fmla="*/ 844 w 845" name="T66"/>
              <a:gd fmla="*/ 445 h 846" name="T67"/>
              <a:gd fmla="*/ 836 w 845" name="T68"/>
              <a:gd fmla="*/ 508 h 846" name="T69"/>
              <a:gd fmla="*/ 819 w 845" name="T70"/>
              <a:gd fmla="*/ 569 h 846" name="T71"/>
              <a:gd fmla="*/ 794 w 845" name="T72"/>
              <a:gd fmla="*/ 624 h 846" name="T73"/>
              <a:gd fmla="*/ 761 w 845" name="T74"/>
              <a:gd fmla="*/ 675 h 846" name="T75"/>
              <a:gd fmla="*/ 721 w 845" name="T76"/>
              <a:gd fmla="*/ 722 h 846" name="T77"/>
              <a:gd fmla="*/ 675 w 845" name="T78"/>
              <a:gd fmla="*/ 761 h 846" name="T79"/>
              <a:gd fmla="*/ 624 w 845" name="T80"/>
              <a:gd fmla="*/ 795 h 846" name="T81"/>
              <a:gd fmla="*/ 567 w 845" name="T82"/>
              <a:gd fmla="*/ 820 h 846" name="T83"/>
              <a:gd fmla="*/ 507 w 845" name="T84"/>
              <a:gd fmla="*/ 837 h 846" name="T85"/>
              <a:gd fmla="*/ 444 w 845" name="T86"/>
              <a:gd fmla="*/ 846 h 846" name="T8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b="b" l="0" r="r" t="0"/>
            <a:pathLst>
              <a:path h="845" w="845">
                <a:moveTo>
                  <a:pt x="422" y="846"/>
                </a:moveTo>
                <a:lnTo>
                  <a:pt x="422" y="846"/>
                </a:lnTo>
                <a:lnTo>
                  <a:pt x="400" y="846"/>
                </a:lnTo>
                <a:lnTo>
                  <a:pt x="379" y="843"/>
                </a:lnTo>
                <a:lnTo>
                  <a:pt x="358" y="842"/>
                </a:lnTo>
                <a:lnTo>
                  <a:pt x="336" y="837"/>
                </a:lnTo>
                <a:lnTo>
                  <a:pt x="316" y="833"/>
                </a:lnTo>
                <a:lnTo>
                  <a:pt x="297" y="827"/>
                </a:lnTo>
                <a:lnTo>
                  <a:pt x="277" y="820"/>
                </a:lnTo>
                <a:lnTo>
                  <a:pt x="258" y="812"/>
                </a:lnTo>
                <a:lnTo>
                  <a:pt x="239" y="804"/>
                </a:lnTo>
                <a:lnTo>
                  <a:pt x="221" y="795"/>
                </a:lnTo>
                <a:lnTo>
                  <a:pt x="204" y="785"/>
                </a:lnTo>
                <a:lnTo>
                  <a:pt x="186" y="773"/>
                </a:lnTo>
                <a:lnTo>
                  <a:pt x="169" y="761"/>
                </a:lnTo>
                <a:lnTo>
                  <a:pt x="153" y="750"/>
                </a:lnTo>
                <a:lnTo>
                  <a:pt x="138" y="737"/>
                </a:lnTo>
                <a:lnTo>
                  <a:pt x="123" y="722"/>
                </a:lnTo>
                <a:lnTo>
                  <a:pt x="109" y="707"/>
                </a:lnTo>
                <a:lnTo>
                  <a:pt x="96" y="691"/>
                </a:lnTo>
                <a:lnTo>
                  <a:pt x="83" y="675"/>
                </a:lnTo>
                <a:lnTo>
                  <a:pt x="71" y="659"/>
                </a:lnTo>
                <a:lnTo>
                  <a:pt x="61" y="642"/>
                </a:lnTo>
                <a:lnTo>
                  <a:pt x="51" y="624"/>
                </a:lnTo>
                <a:lnTo>
                  <a:pt x="40" y="607"/>
                </a:lnTo>
                <a:lnTo>
                  <a:pt x="33" y="588"/>
                </a:lnTo>
                <a:lnTo>
                  <a:pt x="24" y="569"/>
                </a:lnTo>
                <a:lnTo>
                  <a:pt x="18" y="549"/>
                </a:lnTo>
                <a:lnTo>
                  <a:pt x="13" y="528"/>
                </a:lnTo>
                <a:lnTo>
                  <a:pt x="8" y="508"/>
                </a:lnTo>
                <a:lnTo>
                  <a:pt x="4" y="487"/>
                </a:lnTo>
                <a:lnTo>
                  <a:pt x="1" y="467"/>
                </a:lnTo>
                <a:lnTo>
                  <a:pt x="0" y="445"/>
                </a:lnTo>
                <a:lnTo>
                  <a:pt x="0" y="423"/>
                </a:lnTo>
                <a:lnTo>
                  <a:pt x="0" y="423"/>
                </a:lnTo>
                <a:lnTo>
                  <a:pt x="0" y="401"/>
                </a:lnTo>
                <a:lnTo>
                  <a:pt x="1" y="379"/>
                </a:lnTo>
                <a:lnTo>
                  <a:pt x="4" y="359"/>
                </a:lnTo>
                <a:lnTo>
                  <a:pt x="8" y="339"/>
                </a:lnTo>
                <a:lnTo>
                  <a:pt x="13" y="318"/>
                </a:lnTo>
                <a:lnTo>
                  <a:pt x="18" y="298"/>
                </a:lnTo>
                <a:lnTo>
                  <a:pt x="24" y="277"/>
                </a:lnTo>
                <a:lnTo>
                  <a:pt x="33" y="258"/>
                </a:lnTo>
                <a:lnTo>
                  <a:pt x="40" y="239"/>
                </a:lnTo>
                <a:lnTo>
                  <a:pt x="51" y="222"/>
                </a:lnTo>
                <a:lnTo>
                  <a:pt x="61" y="204"/>
                </a:lnTo>
                <a:lnTo>
                  <a:pt x="71" y="187"/>
                </a:lnTo>
                <a:lnTo>
                  <a:pt x="83" y="171"/>
                </a:lnTo>
                <a:lnTo>
                  <a:pt x="96" y="155"/>
                </a:lnTo>
                <a:lnTo>
                  <a:pt x="109" y="139"/>
                </a:lnTo>
                <a:lnTo>
                  <a:pt x="123" y="124"/>
                </a:lnTo>
                <a:lnTo>
                  <a:pt x="138" y="110"/>
                </a:lnTo>
                <a:lnTo>
                  <a:pt x="153" y="97"/>
                </a:lnTo>
                <a:lnTo>
                  <a:pt x="169" y="85"/>
                </a:lnTo>
                <a:lnTo>
                  <a:pt x="186" y="73"/>
                </a:lnTo>
                <a:lnTo>
                  <a:pt x="204" y="62"/>
                </a:lnTo>
                <a:lnTo>
                  <a:pt x="221" y="51"/>
                </a:lnTo>
                <a:lnTo>
                  <a:pt x="239" y="43"/>
                </a:lnTo>
                <a:lnTo>
                  <a:pt x="258" y="34"/>
                </a:lnTo>
                <a:lnTo>
                  <a:pt x="277" y="27"/>
                </a:lnTo>
                <a:lnTo>
                  <a:pt x="297" y="19"/>
                </a:lnTo>
                <a:lnTo>
                  <a:pt x="316" y="13"/>
                </a:lnTo>
                <a:lnTo>
                  <a:pt x="336" y="9"/>
                </a:lnTo>
                <a:lnTo>
                  <a:pt x="358" y="5"/>
                </a:lnTo>
                <a:lnTo>
                  <a:pt x="379" y="2"/>
                </a:lnTo>
                <a:lnTo>
                  <a:pt x="400" y="0"/>
                </a:lnTo>
                <a:lnTo>
                  <a:pt x="422" y="0"/>
                </a:lnTo>
                <a:lnTo>
                  <a:pt x="422" y="0"/>
                </a:lnTo>
                <a:lnTo>
                  <a:pt x="444" y="0"/>
                </a:lnTo>
                <a:lnTo>
                  <a:pt x="465" y="2"/>
                </a:lnTo>
                <a:lnTo>
                  <a:pt x="487" y="5"/>
                </a:lnTo>
                <a:lnTo>
                  <a:pt x="507" y="9"/>
                </a:lnTo>
                <a:lnTo>
                  <a:pt x="527" y="13"/>
                </a:lnTo>
                <a:lnTo>
                  <a:pt x="548" y="19"/>
                </a:lnTo>
                <a:lnTo>
                  <a:pt x="567" y="27"/>
                </a:lnTo>
                <a:lnTo>
                  <a:pt x="587" y="34"/>
                </a:lnTo>
                <a:lnTo>
                  <a:pt x="605" y="43"/>
                </a:lnTo>
                <a:lnTo>
                  <a:pt x="624" y="51"/>
                </a:lnTo>
                <a:lnTo>
                  <a:pt x="641" y="62"/>
                </a:lnTo>
                <a:lnTo>
                  <a:pt x="659" y="73"/>
                </a:lnTo>
                <a:lnTo>
                  <a:pt x="675" y="85"/>
                </a:lnTo>
                <a:lnTo>
                  <a:pt x="691" y="97"/>
                </a:lnTo>
                <a:lnTo>
                  <a:pt x="707" y="110"/>
                </a:lnTo>
                <a:lnTo>
                  <a:pt x="721" y="124"/>
                </a:lnTo>
                <a:lnTo>
                  <a:pt x="734" y="139"/>
                </a:lnTo>
                <a:lnTo>
                  <a:pt x="747" y="155"/>
                </a:lnTo>
                <a:lnTo>
                  <a:pt x="761" y="171"/>
                </a:lnTo>
                <a:lnTo>
                  <a:pt x="772" y="187"/>
                </a:lnTo>
                <a:lnTo>
                  <a:pt x="784" y="204"/>
                </a:lnTo>
                <a:lnTo>
                  <a:pt x="794" y="222"/>
                </a:lnTo>
                <a:lnTo>
                  <a:pt x="803" y="239"/>
                </a:lnTo>
                <a:lnTo>
                  <a:pt x="812" y="258"/>
                </a:lnTo>
                <a:lnTo>
                  <a:pt x="819" y="277"/>
                </a:lnTo>
                <a:lnTo>
                  <a:pt x="826" y="298"/>
                </a:lnTo>
                <a:lnTo>
                  <a:pt x="832" y="318"/>
                </a:lnTo>
                <a:lnTo>
                  <a:pt x="836" y="339"/>
                </a:lnTo>
                <a:lnTo>
                  <a:pt x="839" y="359"/>
                </a:lnTo>
                <a:lnTo>
                  <a:pt x="842" y="379"/>
                </a:lnTo>
                <a:lnTo>
                  <a:pt x="844" y="401"/>
                </a:lnTo>
                <a:lnTo>
                  <a:pt x="845" y="423"/>
                </a:lnTo>
                <a:lnTo>
                  <a:pt x="845" y="423"/>
                </a:lnTo>
                <a:lnTo>
                  <a:pt x="844" y="445"/>
                </a:lnTo>
                <a:lnTo>
                  <a:pt x="842" y="467"/>
                </a:lnTo>
                <a:lnTo>
                  <a:pt x="839" y="487"/>
                </a:lnTo>
                <a:lnTo>
                  <a:pt x="836" y="508"/>
                </a:lnTo>
                <a:lnTo>
                  <a:pt x="832" y="528"/>
                </a:lnTo>
                <a:lnTo>
                  <a:pt x="826" y="549"/>
                </a:lnTo>
                <a:lnTo>
                  <a:pt x="819" y="569"/>
                </a:lnTo>
                <a:lnTo>
                  <a:pt x="812" y="588"/>
                </a:lnTo>
                <a:lnTo>
                  <a:pt x="803" y="607"/>
                </a:lnTo>
                <a:lnTo>
                  <a:pt x="794" y="624"/>
                </a:lnTo>
                <a:lnTo>
                  <a:pt x="784" y="642"/>
                </a:lnTo>
                <a:lnTo>
                  <a:pt x="772" y="659"/>
                </a:lnTo>
                <a:lnTo>
                  <a:pt x="761" y="675"/>
                </a:lnTo>
                <a:lnTo>
                  <a:pt x="747" y="691"/>
                </a:lnTo>
                <a:lnTo>
                  <a:pt x="734" y="707"/>
                </a:lnTo>
                <a:lnTo>
                  <a:pt x="721" y="722"/>
                </a:lnTo>
                <a:lnTo>
                  <a:pt x="707" y="737"/>
                </a:lnTo>
                <a:lnTo>
                  <a:pt x="691" y="750"/>
                </a:lnTo>
                <a:lnTo>
                  <a:pt x="675" y="761"/>
                </a:lnTo>
                <a:lnTo>
                  <a:pt x="659" y="773"/>
                </a:lnTo>
                <a:lnTo>
                  <a:pt x="641" y="785"/>
                </a:lnTo>
                <a:lnTo>
                  <a:pt x="624" y="795"/>
                </a:lnTo>
                <a:lnTo>
                  <a:pt x="605" y="804"/>
                </a:lnTo>
                <a:lnTo>
                  <a:pt x="587" y="812"/>
                </a:lnTo>
                <a:lnTo>
                  <a:pt x="567" y="820"/>
                </a:lnTo>
                <a:lnTo>
                  <a:pt x="548" y="827"/>
                </a:lnTo>
                <a:lnTo>
                  <a:pt x="527" y="833"/>
                </a:lnTo>
                <a:lnTo>
                  <a:pt x="507" y="837"/>
                </a:lnTo>
                <a:lnTo>
                  <a:pt x="487" y="842"/>
                </a:lnTo>
                <a:lnTo>
                  <a:pt x="465" y="843"/>
                </a:lnTo>
                <a:lnTo>
                  <a:pt x="444" y="846"/>
                </a:lnTo>
                <a:lnTo>
                  <a:pt x="422" y="846"/>
                </a:lnTo>
                <a:lnTo>
                  <a:pt x="422" y="846"/>
                </a:lnTo>
                <a:close/>
              </a:path>
            </a:pathLst>
          </a:custGeom>
          <a:solidFill>
            <a:srgbClr val="FFC73E"/>
          </a:solidFill>
          <a:ln w="9525">
            <a:noFill/>
            <a:round/>
          </a:ln>
        </p:spPr>
        <p:txBody>
          <a:bodyPr anchor="t" anchorCtr="0" bIns="45720" compatLnSpc="1" lIns="91440" numCol="1" rIns="91440" tIns="45720" vert="horz" wrap="square">
            <a:prstTxWarp prst="textNoShape">
              <a:avLst/>
            </a:prstTxWarp>
          </a:bodyPr>
          <a:lstStyle/>
          <a:p>
            <a:endParaRPr lang="en-US" sz="5000"/>
          </a:p>
        </p:txBody>
      </p:sp>
      <p:sp>
        <p:nvSpPr>
          <p:cNvPr id="60" name="Freeform 645">
            <a:extLst>
              <a:ext uri="{FF2B5EF4-FFF2-40B4-BE49-F238E27FC236}">
                <a16:creationId xmlns:a16="http://schemas.microsoft.com/office/drawing/2014/main" id="{EFF1ABF9-2402-45A9-A479-A0306F3FFFCD}"/>
              </a:ext>
            </a:extLst>
          </p:cNvPr>
          <p:cNvSpPr/>
          <p:nvPr/>
        </p:nvSpPr>
        <p:spPr bwMode="auto">
          <a:xfrm>
            <a:off x="6135495" y="5018904"/>
            <a:ext cx="332285" cy="331497"/>
          </a:xfrm>
          <a:custGeom>
            <a:gdLst>
              <a:gd fmla="*/ 400 w 845" name="T0"/>
              <a:gd fmla="*/ 846 h 846" name="T1"/>
              <a:gd fmla="*/ 336 w 845" name="T2"/>
              <a:gd fmla="*/ 837 h 846" name="T3"/>
              <a:gd fmla="*/ 277 w 845" name="T4"/>
              <a:gd fmla="*/ 820 h 846" name="T5"/>
              <a:gd fmla="*/ 221 w 845" name="T6"/>
              <a:gd fmla="*/ 795 h 846" name="T7"/>
              <a:gd fmla="*/ 169 w 845" name="T8"/>
              <a:gd fmla="*/ 761 h 846" name="T9"/>
              <a:gd fmla="*/ 123 w 845" name="T10"/>
              <a:gd fmla="*/ 722 h 846" name="T11"/>
              <a:gd fmla="*/ 83 w 845" name="T12"/>
              <a:gd fmla="*/ 675 h 846" name="T13"/>
              <a:gd fmla="*/ 51 w 845" name="T14"/>
              <a:gd fmla="*/ 624 h 846" name="T15"/>
              <a:gd fmla="*/ 24 w 845" name="T16"/>
              <a:gd fmla="*/ 569 h 846" name="T17"/>
              <a:gd fmla="*/ 8 w 845" name="T18"/>
              <a:gd fmla="*/ 508 h 846" name="T19"/>
              <a:gd fmla="*/ 0 w 845" name="T20"/>
              <a:gd fmla="*/ 445 h 846" name="T21"/>
              <a:gd fmla="*/ 0 w 845" name="T22"/>
              <a:gd fmla="*/ 401 h 846" name="T23"/>
              <a:gd fmla="*/ 8 w 845" name="T24"/>
              <a:gd fmla="*/ 339 h 846" name="T25"/>
              <a:gd fmla="*/ 24 w 845" name="T26"/>
              <a:gd fmla="*/ 277 h 846" name="T27"/>
              <a:gd fmla="*/ 51 w 845" name="T28"/>
              <a:gd fmla="*/ 222 h 846" name="T29"/>
              <a:gd fmla="*/ 83 w 845" name="T30"/>
              <a:gd fmla="*/ 171 h 846" name="T31"/>
              <a:gd fmla="*/ 123 w 845" name="T32"/>
              <a:gd fmla="*/ 124 h 846" name="T33"/>
              <a:gd fmla="*/ 169 w 845" name="T34"/>
              <a:gd fmla="*/ 85 h 846" name="T35"/>
              <a:gd fmla="*/ 221 w 845" name="T36"/>
              <a:gd fmla="*/ 51 h 846" name="T37"/>
              <a:gd fmla="*/ 277 w 845" name="T38"/>
              <a:gd fmla="*/ 27 h 846" name="T39"/>
              <a:gd fmla="*/ 336 w 845" name="T40"/>
              <a:gd fmla="*/ 9 h 846" name="T41"/>
              <a:gd fmla="*/ 400 w 845" name="T42"/>
              <a:gd fmla="*/ 0 h 846" name="T43"/>
              <a:gd fmla="*/ 444 w 845" name="T44"/>
              <a:gd fmla="*/ 0 h 846" name="T45"/>
              <a:gd fmla="*/ 507 w 845" name="T46"/>
              <a:gd fmla="*/ 9 h 846" name="T47"/>
              <a:gd fmla="*/ 567 w 845" name="T48"/>
              <a:gd fmla="*/ 27 h 846" name="T49"/>
              <a:gd fmla="*/ 624 w 845" name="T50"/>
              <a:gd fmla="*/ 51 h 846" name="T51"/>
              <a:gd fmla="*/ 675 w 845" name="T52"/>
              <a:gd fmla="*/ 85 h 846" name="T53"/>
              <a:gd fmla="*/ 721 w 845" name="T54"/>
              <a:gd fmla="*/ 124 h 846" name="T55"/>
              <a:gd fmla="*/ 761 w 845" name="T56"/>
              <a:gd fmla="*/ 171 h 846" name="T57"/>
              <a:gd fmla="*/ 794 w 845" name="T58"/>
              <a:gd fmla="*/ 222 h 846" name="T59"/>
              <a:gd fmla="*/ 819 w 845" name="T60"/>
              <a:gd fmla="*/ 277 h 846" name="T61"/>
              <a:gd fmla="*/ 836 w 845" name="T62"/>
              <a:gd fmla="*/ 339 h 846" name="T63"/>
              <a:gd fmla="*/ 844 w 845" name="T64"/>
              <a:gd fmla="*/ 401 h 846" name="T65"/>
              <a:gd fmla="*/ 844 w 845" name="T66"/>
              <a:gd fmla="*/ 445 h 846" name="T67"/>
              <a:gd fmla="*/ 836 w 845" name="T68"/>
              <a:gd fmla="*/ 508 h 846" name="T69"/>
              <a:gd fmla="*/ 819 w 845" name="T70"/>
              <a:gd fmla="*/ 569 h 846" name="T71"/>
              <a:gd fmla="*/ 794 w 845" name="T72"/>
              <a:gd fmla="*/ 624 h 846" name="T73"/>
              <a:gd fmla="*/ 761 w 845" name="T74"/>
              <a:gd fmla="*/ 675 h 846" name="T75"/>
              <a:gd fmla="*/ 721 w 845" name="T76"/>
              <a:gd fmla="*/ 722 h 846" name="T77"/>
              <a:gd fmla="*/ 675 w 845" name="T78"/>
              <a:gd fmla="*/ 761 h 846" name="T79"/>
              <a:gd fmla="*/ 624 w 845" name="T80"/>
              <a:gd fmla="*/ 795 h 846" name="T81"/>
              <a:gd fmla="*/ 567 w 845" name="T82"/>
              <a:gd fmla="*/ 820 h 846" name="T83"/>
              <a:gd fmla="*/ 507 w 845" name="T84"/>
              <a:gd fmla="*/ 837 h 846" name="T85"/>
              <a:gd fmla="*/ 444 w 845" name="T86"/>
              <a:gd fmla="*/ 846 h 846" name="T8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b="b" l="0" r="r" t="0"/>
            <a:pathLst>
              <a:path h="845" w="845">
                <a:moveTo>
                  <a:pt x="422" y="846"/>
                </a:moveTo>
                <a:lnTo>
                  <a:pt x="422" y="846"/>
                </a:lnTo>
                <a:lnTo>
                  <a:pt x="400" y="846"/>
                </a:lnTo>
                <a:lnTo>
                  <a:pt x="379" y="843"/>
                </a:lnTo>
                <a:lnTo>
                  <a:pt x="358" y="842"/>
                </a:lnTo>
                <a:lnTo>
                  <a:pt x="336" y="837"/>
                </a:lnTo>
                <a:lnTo>
                  <a:pt x="316" y="833"/>
                </a:lnTo>
                <a:lnTo>
                  <a:pt x="297" y="827"/>
                </a:lnTo>
                <a:lnTo>
                  <a:pt x="277" y="820"/>
                </a:lnTo>
                <a:lnTo>
                  <a:pt x="258" y="812"/>
                </a:lnTo>
                <a:lnTo>
                  <a:pt x="239" y="804"/>
                </a:lnTo>
                <a:lnTo>
                  <a:pt x="221" y="795"/>
                </a:lnTo>
                <a:lnTo>
                  <a:pt x="204" y="785"/>
                </a:lnTo>
                <a:lnTo>
                  <a:pt x="186" y="773"/>
                </a:lnTo>
                <a:lnTo>
                  <a:pt x="169" y="761"/>
                </a:lnTo>
                <a:lnTo>
                  <a:pt x="153" y="750"/>
                </a:lnTo>
                <a:lnTo>
                  <a:pt x="138" y="737"/>
                </a:lnTo>
                <a:lnTo>
                  <a:pt x="123" y="722"/>
                </a:lnTo>
                <a:lnTo>
                  <a:pt x="109" y="707"/>
                </a:lnTo>
                <a:lnTo>
                  <a:pt x="96" y="691"/>
                </a:lnTo>
                <a:lnTo>
                  <a:pt x="83" y="675"/>
                </a:lnTo>
                <a:lnTo>
                  <a:pt x="71" y="659"/>
                </a:lnTo>
                <a:lnTo>
                  <a:pt x="61" y="642"/>
                </a:lnTo>
                <a:lnTo>
                  <a:pt x="51" y="624"/>
                </a:lnTo>
                <a:lnTo>
                  <a:pt x="40" y="607"/>
                </a:lnTo>
                <a:lnTo>
                  <a:pt x="33" y="588"/>
                </a:lnTo>
                <a:lnTo>
                  <a:pt x="24" y="569"/>
                </a:lnTo>
                <a:lnTo>
                  <a:pt x="18" y="549"/>
                </a:lnTo>
                <a:lnTo>
                  <a:pt x="13" y="528"/>
                </a:lnTo>
                <a:lnTo>
                  <a:pt x="8" y="508"/>
                </a:lnTo>
                <a:lnTo>
                  <a:pt x="4" y="487"/>
                </a:lnTo>
                <a:lnTo>
                  <a:pt x="1" y="467"/>
                </a:lnTo>
                <a:lnTo>
                  <a:pt x="0" y="445"/>
                </a:lnTo>
                <a:lnTo>
                  <a:pt x="0" y="423"/>
                </a:lnTo>
                <a:lnTo>
                  <a:pt x="0" y="423"/>
                </a:lnTo>
                <a:lnTo>
                  <a:pt x="0" y="401"/>
                </a:lnTo>
                <a:lnTo>
                  <a:pt x="1" y="379"/>
                </a:lnTo>
                <a:lnTo>
                  <a:pt x="4" y="359"/>
                </a:lnTo>
                <a:lnTo>
                  <a:pt x="8" y="339"/>
                </a:lnTo>
                <a:lnTo>
                  <a:pt x="13" y="318"/>
                </a:lnTo>
                <a:lnTo>
                  <a:pt x="18" y="298"/>
                </a:lnTo>
                <a:lnTo>
                  <a:pt x="24" y="277"/>
                </a:lnTo>
                <a:lnTo>
                  <a:pt x="33" y="258"/>
                </a:lnTo>
                <a:lnTo>
                  <a:pt x="40" y="239"/>
                </a:lnTo>
                <a:lnTo>
                  <a:pt x="51" y="222"/>
                </a:lnTo>
                <a:lnTo>
                  <a:pt x="61" y="204"/>
                </a:lnTo>
                <a:lnTo>
                  <a:pt x="71" y="187"/>
                </a:lnTo>
                <a:lnTo>
                  <a:pt x="83" y="171"/>
                </a:lnTo>
                <a:lnTo>
                  <a:pt x="96" y="155"/>
                </a:lnTo>
                <a:lnTo>
                  <a:pt x="109" y="139"/>
                </a:lnTo>
                <a:lnTo>
                  <a:pt x="123" y="124"/>
                </a:lnTo>
                <a:lnTo>
                  <a:pt x="138" y="110"/>
                </a:lnTo>
                <a:lnTo>
                  <a:pt x="153" y="97"/>
                </a:lnTo>
                <a:lnTo>
                  <a:pt x="169" y="85"/>
                </a:lnTo>
                <a:lnTo>
                  <a:pt x="186" y="73"/>
                </a:lnTo>
                <a:lnTo>
                  <a:pt x="204" y="62"/>
                </a:lnTo>
                <a:lnTo>
                  <a:pt x="221" y="51"/>
                </a:lnTo>
                <a:lnTo>
                  <a:pt x="239" y="43"/>
                </a:lnTo>
                <a:lnTo>
                  <a:pt x="258" y="34"/>
                </a:lnTo>
                <a:lnTo>
                  <a:pt x="277" y="27"/>
                </a:lnTo>
                <a:lnTo>
                  <a:pt x="297" y="19"/>
                </a:lnTo>
                <a:lnTo>
                  <a:pt x="316" y="13"/>
                </a:lnTo>
                <a:lnTo>
                  <a:pt x="336" y="9"/>
                </a:lnTo>
                <a:lnTo>
                  <a:pt x="358" y="5"/>
                </a:lnTo>
                <a:lnTo>
                  <a:pt x="379" y="2"/>
                </a:lnTo>
                <a:lnTo>
                  <a:pt x="400" y="0"/>
                </a:lnTo>
                <a:lnTo>
                  <a:pt x="422" y="0"/>
                </a:lnTo>
                <a:lnTo>
                  <a:pt x="422" y="0"/>
                </a:lnTo>
                <a:lnTo>
                  <a:pt x="444" y="0"/>
                </a:lnTo>
                <a:lnTo>
                  <a:pt x="465" y="2"/>
                </a:lnTo>
                <a:lnTo>
                  <a:pt x="487" y="5"/>
                </a:lnTo>
                <a:lnTo>
                  <a:pt x="507" y="9"/>
                </a:lnTo>
                <a:lnTo>
                  <a:pt x="527" y="13"/>
                </a:lnTo>
                <a:lnTo>
                  <a:pt x="548" y="19"/>
                </a:lnTo>
                <a:lnTo>
                  <a:pt x="567" y="27"/>
                </a:lnTo>
                <a:lnTo>
                  <a:pt x="587" y="34"/>
                </a:lnTo>
                <a:lnTo>
                  <a:pt x="605" y="43"/>
                </a:lnTo>
                <a:lnTo>
                  <a:pt x="624" y="51"/>
                </a:lnTo>
                <a:lnTo>
                  <a:pt x="641" y="62"/>
                </a:lnTo>
                <a:lnTo>
                  <a:pt x="659" y="73"/>
                </a:lnTo>
                <a:lnTo>
                  <a:pt x="675" y="85"/>
                </a:lnTo>
                <a:lnTo>
                  <a:pt x="691" y="97"/>
                </a:lnTo>
                <a:lnTo>
                  <a:pt x="707" y="110"/>
                </a:lnTo>
                <a:lnTo>
                  <a:pt x="721" y="124"/>
                </a:lnTo>
                <a:lnTo>
                  <a:pt x="734" y="139"/>
                </a:lnTo>
                <a:lnTo>
                  <a:pt x="747" y="155"/>
                </a:lnTo>
                <a:lnTo>
                  <a:pt x="761" y="171"/>
                </a:lnTo>
                <a:lnTo>
                  <a:pt x="772" y="187"/>
                </a:lnTo>
                <a:lnTo>
                  <a:pt x="784" y="204"/>
                </a:lnTo>
                <a:lnTo>
                  <a:pt x="794" y="222"/>
                </a:lnTo>
                <a:lnTo>
                  <a:pt x="803" y="239"/>
                </a:lnTo>
                <a:lnTo>
                  <a:pt x="812" y="258"/>
                </a:lnTo>
                <a:lnTo>
                  <a:pt x="819" y="277"/>
                </a:lnTo>
                <a:lnTo>
                  <a:pt x="826" y="298"/>
                </a:lnTo>
                <a:lnTo>
                  <a:pt x="832" y="318"/>
                </a:lnTo>
                <a:lnTo>
                  <a:pt x="836" y="339"/>
                </a:lnTo>
                <a:lnTo>
                  <a:pt x="839" y="359"/>
                </a:lnTo>
                <a:lnTo>
                  <a:pt x="842" y="379"/>
                </a:lnTo>
                <a:lnTo>
                  <a:pt x="844" y="401"/>
                </a:lnTo>
                <a:lnTo>
                  <a:pt x="845" y="423"/>
                </a:lnTo>
                <a:lnTo>
                  <a:pt x="845" y="423"/>
                </a:lnTo>
                <a:lnTo>
                  <a:pt x="844" y="445"/>
                </a:lnTo>
                <a:lnTo>
                  <a:pt x="842" y="467"/>
                </a:lnTo>
                <a:lnTo>
                  <a:pt x="839" y="487"/>
                </a:lnTo>
                <a:lnTo>
                  <a:pt x="836" y="508"/>
                </a:lnTo>
                <a:lnTo>
                  <a:pt x="832" y="528"/>
                </a:lnTo>
                <a:lnTo>
                  <a:pt x="826" y="549"/>
                </a:lnTo>
                <a:lnTo>
                  <a:pt x="819" y="569"/>
                </a:lnTo>
                <a:lnTo>
                  <a:pt x="812" y="588"/>
                </a:lnTo>
                <a:lnTo>
                  <a:pt x="803" y="607"/>
                </a:lnTo>
                <a:lnTo>
                  <a:pt x="794" y="624"/>
                </a:lnTo>
                <a:lnTo>
                  <a:pt x="784" y="642"/>
                </a:lnTo>
                <a:lnTo>
                  <a:pt x="772" y="659"/>
                </a:lnTo>
                <a:lnTo>
                  <a:pt x="761" y="675"/>
                </a:lnTo>
                <a:lnTo>
                  <a:pt x="747" y="691"/>
                </a:lnTo>
                <a:lnTo>
                  <a:pt x="734" y="707"/>
                </a:lnTo>
                <a:lnTo>
                  <a:pt x="721" y="722"/>
                </a:lnTo>
                <a:lnTo>
                  <a:pt x="707" y="737"/>
                </a:lnTo>
                <a:lnTo>
                  <a:pt x="691" y="750"/>
                </a:lnTo>
                <a:lnTo>
                  <a:pt x="675" y="761"/>
                </a:lnTo>
                <a:lnTo>
                  <a:pt x="659" y="773"/>
                </a:lnTo>
                <a:lnTo>
                  <a:pt x="641" y="785"/>
                </a:lnTo>
                <a:lnTo>
                  <a:pt x="624" y="795"/>
                </a:lnTo>
                <a:lnTo>
                  <a:pt x="605" y="804"/>
                </a:lnTo>
                <a:lnTo>
                  <a:pt x="587" y="812"/>
                </a:lnTo>
                <a:lnTo>
                  <a:pt x="567" y="820"/>
                </a:lnTo>
                <a:lnTo>
                  <a:pt x="548" y="827"/>
                </a:lnTo>
                <a:lnTo>
                  <a:pt x="527" y="833"/>
                </a:lnTo>
                <a:lnTo>
                  <a:pt x="507" y="837"/>
                </a:lnTo>
                <a:lnTo>
                  <a:pt x="487" y="842"/>
                </a:lnTo>
                <a:lnTo>
                  <a:pt x="465" y="843"/>
                </a:lnTo>
                <a:lnTo>
                  <a:pt x="444" y="846"/>
                </a:lnTo>
                <a:lnTo>
                  <a:pt x="422" y="846"/>
                </a:lnTo>
                <a:lnTo>
                  <a:pt x="422" y="846"/>
                </a:lnTo>
                <a:close/>
              </a:path>
            </a:pathLst>
          </a:custGeom>
          <a:solidFill>
            <a:srgbClr val="00456B"/>
          </a:solidFill>
          <a:ln w="9525">
            <a:noFill/>
            <a:round/>
          </a:ln>
        </p:spPr>
        <p:txBody>
          <a:bodyPr anchor="t" anchorCtr="0" bIns="45720" compatLnSpc="1" lIns="91440" numCol="1" rIns="91440" tIns="45720" vert="horz" wrap="square">
            <a:prstTxWarp prst="textNoShape">
              <a:avLst/>
            </a:prstTxWarp>
          </a:bodyPr>
          <a:lstStyle/>
          <a:p>
            <a:endParaRPr lang="en-US" sz="5000"/>
          </a:p>
        </p:txBody>
      </p:sp>
      <p:sp>
        <p:nvSpPr>
          <p:cNvPr id="61" name="Title 20">
            <a:extLst>
              <a:ext uri="{FF2B5EF4-FFF2-40B4-BE49-F238E27FC236}">
                <a16:creationId xmlns:a16="http://schemas.microsoft.com/office/drawing/2014/main" id="{9FAADA5D-90E2-4F5F-8AB8-4696840E657E}"/>
              </a:ext>
            </a:extLst>
          </p:cNvPr>
          <p:cNvSpPr txBox="1"/>
          <p:nvPr/>
        </p:nvSpPr>
        <p:spPr>
          <a:xfrm>
            <a:off x="6470652" y="2292482"/>
            <a:ext cx="3924300" cy="670534"/>
          </a:xfrm>
          <a:prstGeom prst="rect">
            <a:avLst/>
          </a:prstGeom>
        </p:spPr>
        <p:txBody>
          <a:bodyPr anchor="t" bIns="60947" lIns="121893" rIns="121893" rtlCol="0" tIns="60947" vert="horz" wrap="square">
            <a:spAutoFit/>
          </a:bodyPr>
          <a:lstStyle>
            <a:lvl1pPr algn="ctr" defTabSz="457200" eaLnBrk="1" hangingPunct="1" latinLnBrk="0" rtl="0">
              <a:spcBef>
                <a:spcPct val="0"/>
              </a:spcBef>
              <a:buNone/>
              <a:defRPr kern="1200" sz="2900">
                <a:solidFill>
                  <a:schemeClr val="accent6"/>
                </a:solidFill>
                <a:latin typeface="Source Sans Pro ExtraLight"/>
                <a:ea typeface="+mj-ea"/>
                <a:cs typeface="Source Sans Pro ExtraLight"/>
              </a:defRPr>
            </a:lvl1pPr>
          </a:lstStyle>
          <a:p>
            <a:pPr algn="l">
              <a:lnSpc>
                <a:spcPct val="150000"/>
              </a:lnSpc>
            </a:pPr>
            <a:r>
              <a:rPr altLang="en-US" lang="zh-CN" sz="1200">
                <a:solidFill>
                  <a:srgbClr val="616F83"/>
                </a:solidFill>
                <a:latin typeface="+mn-ea"/>
                <a:ea typeface="+mn-ea"/>
              </a:rPr>
              <a:t>这里可以添加主要内容这里可以添加主要内容这里可以添加主要内容这里可以添加主要内容</a:t>
            </a:r>
          </a:p>
        </p:txBody>
      </p:sp>
      <p:sp>
        <p:nvSpPr>
          <p:cNvPr id="62" name="Title 20">
            <a:extLst>
              <a:ext uri="{FF2B5EF4-FFF2-40B4-BE49-F238E27FC236}">
                <a16:creationId xmlns:a16="http://schemas.microsoft.com/office/drawing/2014/main" id="{284E63C5-9E76-4AAC-B108-9DF1CD331811}"/>
              </a:ext>
            </a:extLst>
          </p:cNvPr>
          <p:cNvSpPr txBox="1"/>
          <p:nvPr/>
        </p:nvSpPr>
        <p:spPr>
          <a:xfrm>
            <a:off x="6470652" y="3125763"/>
            <a:ext cx="3924300" cy="670534"/>
          </a:xfrm>
          <a:prstGeom prst="rect">
            <a:avLst/>
          </a:prstGeom>
        </p:spPr>
        <p:txBody>
          <a:bodyPr anchor="t" bIns="60947" lIns="121893" rIns="121893" rtlCol="0" tIns="60947" vert="horz" wrap="square">
            <a:spAutoFit/>
          </a:bodyPr>
          <a:lstStyle>
            <a:lvl1pPr algn="ctr" defTabSz="457200" eaLnBrk="1" hangingPunct="1" latinLnBrk="0" rtl="0">
              <a:spcBef>
                <a:spcPct val="0"/>
              </a:spcBef>
              <a:buNone/>
              <a:defRPr kern="1200" sz="2900">
                <a:solidFill>
                  <a:schemeClr val="accent6"/>
                </a:solidFill>
                <a:latin typeface="Source Sans Pro ExtraLight"/>
                <a:ea typeface="+mj-ea"/>
                <a:cs typeface="Source Sans Pro ExtraLight"/>
              </a:defRPr>
            </a:lvl1pPr>
          </a:lstStyle>
          <a:p>
            <a:pPr algn="l">
              <a:lnSpc>
                <a:spcPct val="150000"/>
              </a:lnSpc>
            </a:pPr>
            <a:r>
              <a:rPr altLang="en-US" lang="zh-CN" sz="1200">
                <a:solidFill>
                  <a:srgbClr val="616F83"/>
                </a:solidFill>
                <a:latin typeface="+mn-ea"/>
                <a:ea typeface="+mn-ea"/>
              </a:rPr>
              <a:t>这里可以添加主要内容这里可以添加主要内容这里可以添加主要内容这里可以添加主要内容</a:t>
            </a:r>
          </a:p>
        </p:txBody>
      </p:sp>
      <p:sp>
        <p:nvSpPr>
          <p:cNvPr id="63" name="Title 20">
            <a:extLst>
              <a:ext uri="{FF2B5EF4-FFF2-40B4-BE49-F238E27FC236}">
                <a16:creationId xmlns:a16="http://schemas.microsoft.com/office/drawing/2014/main" id="{E9234ADA-F26E-45A2-9039-8CFFF44C9032}"/>
              </a:ext>
            </a:extLst>
          </p:cNvPr>
          <p:cNvSpPr txBox="1"/>
          <p:nvPr/>
        </p:nvSpPr>
        <p:spPr>
          <a:xfrm>
            <a:off x="6470652" y="4006811"/>
            <a:ext cx="3924300" cy="670534"/>
          </a:xfrm>
          <a:prstGeom prst="rect">
            <a:avLst/>
          </a:prstGeom>
        </p:spPr>
        <p:txBody>
          <a:bodyPr anchor="t" bIns="60947" lIns="121893" rIns="121893" rtlCol="0" tIns="60947" vert="horz" wrap="square">
            <a:spAutoFit/>
          </a:bodyPr>
          <a:lstStyle>
            <a:lvl1pPr algn="ctr" defTabSz="457200" eaLnBrk="1" hangingPunct="1" latinLnBrk="0" rtl="0">
              <a:spcBef>
                <a:spcPct val="0"/>
              </a:spcBef>
              <a:buNone/>
              <a:defRPr kern="1200" sz="2900">
                <a:solidFill>
                  <a:schemeClr val="accent6"/>
                </a:solidFill>
                <a:latin typeface="Source Sans Pro ExtraLight"/>
                <a:ea typeface="+mj-ea"/>
                <a:cs typeface="Source Sans Pro ExtraLight"/>
              </a:defRPr>
            </a:lvl1pPr>
          </a:lstStyle>
          <a:p>
            <a:pPr algn="l">
              <a:lnSpc>
                <a:spcPct val="150000"/>
              </a:lnSpc>
            </a:pPr>
            <a:r>
              <a:rPr altLang="en-US" lang="zh-CN" sz="1200">
                <a:solidFill>
                  <a:srgbClr val="616F83"/>
                </a:solidFill>
                <a:latin typeface="+mn-ea"/>
                <a:ea typeface="+mn-ea"/>
              </a:rPr>
              <a:t>这里可以添加主要内容这里可以添加主要内容这里可以添加主要内容这里可以添加主要内容</a:t>
            </a:r>
          </a:p>
        </p:txBody>
      </p:sp>
      <p:sp>
        <p:nvSpPr>
          <p:cNvPr id="64" name="Title 20">
            <a:extLst>
              <a:ext uri="{FF2B5EF4-FFF2-40B4-BE49-F238E27FC236}">
                <a16:creationId xmlns:a16="http://schemas.microsoft.com/office/drawing/2014/main" id="{D8E69A8B-15D8-44E7-8572-DE45DAAE909A}"/>
              </a:ext>
            </a:extLst>
          </p:cNvPr>
          <p:cNvSpPr txBox="1"/>
          <p:nvPr/>
        </p:nvSpPr>
        <p:spPr>
          <a:xfrm>
            <a:off x="6470652" y="4854809"/>
            <a:ext cx="3924300" cy="670534"/>
          </a:xfrm>
          <a:prstGeom prst="rect">
            <a:avLst/>
          </a:prstGeom>
        </p:spPr>
        <p:txBody>
          <a:bodyPr anchor="t" bIns="60947" lIns="121893" rIns="121893" rtlCol="0" tIns="60947" vert="horz" wrap="square">
            <a:spAutoFit/>
          </a:bodyPr>
          <a:lstStyle>
            <a:lvl1pPr algn="ctr" defTabSz="457200" eaLnBrk="1" hangingPunct="1" latinLnBrk="0" rtl="0">
              <a:spcBef>
                <a:spcPct val="0"/>
              </a:spcBef>
              <a:buNone/>
              <a:defRPr kern="1200" sz="2900">
                <a:solidFill>
                  <a:schemeClr val="accent6"/>
                </a:solidFill>
                <a:latin typeface="Source Sans Pro ExtraLight"/>
                <a:ea typeface="+mj-ea"/>
                <a:cs typeface="Source Sans Pro ExtraLight"/>
              </a:defRPr>
            </a:lvl1pPr>
          </a:lstStyle>
          <a:p>
            <a:pPr algn="l">
              <a:lnSpc>
                <a:spcPct val="150000"/>
              </a:lnSpc>
            </a:pPr>
            <a:r>
              <a:rPr altLang="en-US" lang="zh-CN" sz="1200">
                <a:solidFill>
                  <a:srgbClr val="616F83"/>
                </a:solidFill>
                <a:latin typeface="+mn-ea"/>
                <a:ea typeface="+mn-ea"/>
              </a:rPr>
              <a:t>这里可以添加主要内容这里可以添加主要内容这里可以添加主要内容这里可以添加主要内容</a:t>
            </a:r>
          </a:p>
        </p:txBody>
      </p:sp>
    </p:spTree>
    <p:extLst>
      <p:ext uri="{BB962C8B-B14F-4D97-AF65-F5344CB8AC3E}">
        <p14:creationId val="1891023168"/>
      </p:ext>
    </p:extLst>
  </p:cSld>
  <p:clrMapOvr>
    <a:masterClrMapping/>
  </p:clrMapOvr>
  <mc:AlternateContent>
    <mc:Choice Requires="p14">
      <p:transition p14:dur="1500" spd="slow">
        <p:random/>
      </p:transition>
    </mc:Choice>
    <mc:Fallback>
      <p:transition spd="slow">
        <p:random/>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decel="100000" fill="hold" grpId="0" id="5" nodeType="withEffect" presetClass="entr" presetID="50" presetSubtype="0">
                                  <p:stCondLst>
                                    <p:cond delay="0"/>
                                  </p:stCondLst>
                                  <p:childTnLst>
                                    <p:set>
                                      <p:cBhvr>
                                        <p:cTn dur="1" fill="hold" id="6">
                                          <p:stCondLst>
                                            <p:cond delay="0"/>
                                          </p:stCondLst>
                                        </p:cTn>
                                        <p:tgtEl>
                                          <p:spTgt spid="10"/>
                                        </p:tgtEl>
                                        <p:attrNameLst>
                                          <p:attrName>style.visibility</p:attrName>
                                        </p:attrNameLst>
                                      </p:cBhvr>
                                      <p:to>
                                        <p:strVal val="visible"/>
                                      </p:to>
                                    </p:set>
                                    <p:anim calcmode="lin" valueType="num">
                                      <p:cBhvr>
                                        <p:cTn dur="1000" fill="hold" id="7"/>
                                        <p:tgtEl>
                                          <p:spTgt spid="10"/>
                                        </p:tgtEl>
                                        <p:attrNameLst>
                                          <p:attrName>ppt_w</p:attrName>
                                        </p:attrNameLst>
                                      </p:cBhvr>
                                      <p:tavLst>
                                        <p:tav tm="0">
                                          <p:val>
                                            <p:strVal val="#ppt_w+.3"/>
                                          </p:val>
                                        </p:tav>
                                        <p:tav tm="100000">
                                          <p:val>
                                            <p:strVal val="#ppt_w"/>
                                          </p:val>
                                        </p:tav>
                                      </p:tavLst>
                                    </p:anim>
                                    <p:anim calcmode="lin" valueType="num">
                                      <p:cBhvr>
                                        <p:cTn dur="1000" fill="hold" id="8"/>
                                        <p:tgtEl>
                                          <p:spTgt spid="10"/>
                                        </p:tgtEl>
                                        <p:attrNameLst>
                                          <p:attrName>ppt_h</p:attrName>
                                        </p:attrNameLst>
                                      </p:cBhvr>
                                      <p:tavLst>
                                        <p:tav tm="0">
                                          <p:val>
                                            <p:strVal val="#ppt_h"/>
                                          </p:val>
                                        </p:tav>
                                        <p:tav tm="100000">
                                          <p:val>
                                            <p:strVal val="#ppt_h"/>
                                          </p:val>
                                        </p:tav>
                                      </p:tavLst>
                                    </p:anim>
                                    <p:animEffect filter="fade" transition="in">
                                      <p:cBhvr>
                                        <p:cTn dur="1000" id="9"/>
                                        <p:tgtEl>
                                          <p:spTgt spid="10"/>
                                        </p:tgtEl>
                                      </p:cBhvr>
                                    </p:animEffect>
                                  </p:childTnLst>
                                </p:cTn>
                              </p:par>
                              <p:par>
                                <p:cTn fill="hold" id="10" nodeType="withEffect" presetClass="entr" presetID="53" presetSubtype="0">
                                  <p:stCondLst>
                                    <p:cond delay="250"/>
                                  </p:stCondLst>
                                  <p:childTnLst>
                                    <p:set>
                                      <p:cBhvr>
                                        <p:cTn dur="1" fill="hold" id="11">
                                          <p:stCondLst>
                                            <p:cond delay="0"/>
                                          </p:stCondLst>
                                        </p:cTn>
                                        <p:tgtEl>
                                          <p:spTgt spid="15"/>
                                        </p:tgtEl>
                                        <p:attrNameLst>
                                          <p:attrName>style.visibility</p:attrName>
                                        </p:attrNameLst>
                                      </p:cBhvr>
                                      <p:to>
                                        <p:strVal val="visible"/>
                                      </p:to>
                                    </p:set>
                                    <p:anim calcmode="lin" valueType="num">
                                      <p:cBhvr>
                                        <p:cTn dur="500" fill="hold" id="12"/>
                                        <p:tgtEl>
                                          <p:spTgt spid="15"/>
                                        </p:tgtEl>
                                        <p:attrNameLst>
                                          <p:attrName>ppt_w</p:attrName>
                                        </p:attrNameLst>
                                      </p:cBhvr>
                                      <p:tavLst>
                                        <p:tav tm="0">
                                          <p:val>
                                            <p:fltVal val="0"/>
                                          </p:val>
                                        </p:tav>
                                        <p:tav tm="100000">
                                          <p:val>
                                            <p:strVal val="#ppt_w"/>
                                          </p:val>
                                        </p:tav>
                                      </p:tavLst>
                                    </p:anim>
                                    <p:anim calcmode="lin" valueType="num">
                                      <p:cBhvr>
                                        <p:cTn dur="500" fill="hold" id="13"/>
                                        <p:tgtEl>
                                          <p:spTgt spid="15"/>
                                        </p:tgtEl>
                                        <p:attrNameLst>
                                          <p:attrName>ppt_h</p:attrName>
                                        </p:attrNameLst>
                                      </p:cBhvr>
                                      <p:tavLst>
                                        <p:tav tm="0">
                                          <p:val>
                                            <p:fltVal val="0"/>
                                          </p:val>
                                        </p:tav>
                                        <p:tav tm="100000">
                                          <p:val>
                                            <p:strVal val="#ppt_h"/>
                                          </p:val>
                                        </p:tav>
                                      </p:tavLst>
                                    </p:anim>
                                    <p:animEffect filter="fade" transition="in">
                                      <p:cBhvr>
                                        <p:cTn dur="500" id="14"/>
                                        <p:tgtEl>
                                          <p:spTgt spid="15"/>
                                        </p:tgtEl>
                                      </p:cBhvr>
                                    </p:animEffect>
                                  </p:childTnLst>
                                </p:cTn>
                              </p:par>
                              <p:par>
                                <p:cTn fill="hold" id="15" nodeType="withEffect" presetClass="entr" presetID="53" presetSubtype="0">
                                  <p:stCondLst>
                                    <p:cond delay="250"/>
                                  </p:stCondLst>
                                  <p:childTnLst>
                                    <p:set>
                                      <p:cBhvr>
                                        <p:cTn dur="1" fill="hold" id="16">
                                          <p:stCondLst>
                                            <p:cond delay="0"/>
                                          </p:stCondLst>
                                        </p:cTn>
                                        <p:tgtEl>
                                          <p:spTgt spid="16"/>
                                        </p:tgtEl>
                                        <p:attrNameLst>
                                          <p:attrName>style.visibility</p:attrName>
                                        </p:attrNameLst>
                                      </p:cBhvr>
                                      <p:to>
                                        <p:strVal val="visible"/>
                                      </p:to>
                                    </p:set>
                                    <p:anim calcmode="lin" valueType="num">
                                      <p:cBhvr>
                                        <p:cTn dur="500" fill="hold" id="17"/>
                                        <p:tgtEl>
                                          <p:spTgt spid="16"/>
                                        </p:tgtEl>
                                        <p:attrNameLst>
                                          <p:attrName>ppt_w</p:attrName>
                                        </p:attrNameLst>
                                      </p:cBhvr>
                                      <p:tavLst>
                                        <p:tav tm="0">
                                          <p:val>
                                            <p:fltVal val="0"/>
                                          </p:val>
                                        </p:tav>
                                        <p:tav tm="100000">
                                          <p:val>
                                            <p:strVal val="#ppt_w"/>
                                          </p:val>
                                        </p:tav>
                                      </p:tavLst>
                                    </p:anim>
                                    <p:anim calcmode="lin" valueType="num">
                                      <p:cBhvr>
                                        <p:cTn dur="500" fill="hold" id="18"/>
                                        <p:tgtEl>
                                          <p:spTgt spid="16"/>
                                        </p:tgtEl>
                                        <p:attrNameLst>
                                          <p:attrName>ppt_h</p:attrName>
                                        </p:attrNameLst>
                                      </p:cBhvr>
                                      <p:tavLst>
                                        <p:tav tm="0">
                                          <p:val>
                                            <p:fltVal val="0"/>
                                          </p:val>
                                        </p:tav>
                                        <p:tav tm="100000">
                                          <p:val>
                                            <p:strVal val="#ppt_h"/>
                                          </p:val>
                                        </p:tav>
                                      </p:tavLst>
                                    </p:anim>
                                    <p:animEffect filter="fade" transition="in">
                                      <p:cBhvr>
                                        <p:cTn dur="500" id="19"/>
                                        <p:tgtEl>
                                          <p:spTgt spid="16"/>
                                        </p:tgtEl>
                                      </p:cBhvr>
                                    </p:animEffect>
                                  </p:childTnLst>
                                </p:cTn>
                              </p:par>
                              <p:par>
                                <p:cTn fill="hold" id="20" nodeType="withEffect" presetClass="entr" presetID="22" presetSubtype="8">
                                  <p:stCondLst>
                                    <p:cond delay="750"/>
                                  </p:stCondLst>
                                  <p:childTnLst>
                                    <p:set>
                                      <p:cBhvr>
                                        <p:cTn dur="1" fill="hold" id="21">
                                          <p:stCondLst>
                                            <p:cond delay="0"/>
                                          </p:stCondLst>
                                        </p:cTn>
                                        <p:tgtEl>
                                          <p:spTgt spid="13"/>
                                        </p:tgtEl>
                                        <p:attrNameLst>
                                          <p:attrName>style.visibility</p:attrName>
                                        </p:attrNameLst>
                                      </p:cBhvr>
                                      <p:to>
                                        <p:strVal val="visible"/>
                                      </p:to>
                                    </p:set>
                                    <p:animEffect filter="wipe(left)" transition="in">
                                      <p:cBhvr>
                                        <p:cTn dur="250" id="22"/>
                                        <p:tgtEl>
                                          <p:spTgt spid="13"/>
                                        </p:tgtEl>
                                      </p:cBhvr>
                                    </p:animEffect>
                                  </p:childTnLst>
                                </p:cTn>
                              </p:par>
                              <p:par>
                                <p:cTn fill="hold" id="23" nodeType="withEffect" presetClass="entr" presetID="22" presetSubtype="2">
                                  <p:stCondLst>
                                    <p:cond delay="750"/>
                                  </p:stCondLst>
                                  <p:childTnLst>
                                    <p:set>
                                      <p:cBhvr>
                                        <p:cTn dur="1" fill="hold" id="24">
                                          <p:stCondLst>
                                            <p:cond delay="0"/>
                                          </p:stCondLst>
                                        </p:cTn>
                                        <p:tgtEl>
                                          <p:spTgt spid="18"/>
                                        </p:tgtEl>
                                        <p:attrNameLst>
                                          <p:attrName>style.visibility</p:attrName>
                                        </p:attrNameLst>
                                      </p:cBhvr>
                                      <p:to>
                                        <p:strVal val="visible"/>
                                      </p:to>
                                    </p:set>
                                    <p:animEffect filter="wipe(right)" transition="in">
                                      <p:cBhvr>
                                        <p:cTn dur="250" id="25"/>
                                        <p:tgtEl>
                                          <p:spTgt spid="18"/>
                                        </p:tgtEl>
                                      </p:cBhvr>
                                    </p:animEffect>
                                  </p:childTnLst>
                                </p:cTn>
                              </p:par>
                            </p:childTnLst>
                          </p:cTn>
                        </p:par>
                        <p:par>
                          <p:cTn fill="hold" id="26" nodeType="afterGroup">
                            <p:stCondLst>
                              <p:cond delay="1000"/>
                            </p:stCondLst>
                            <p:childTnLst>
                              <p:par>
                                <p:cTn fill="hold" id="27" nodeType="afterEffect" presetClass="entr" presetID="42" presetSubtype="0">
                                  <p:stCondLst>
                                    <p:cond delay="0"/>
                                  </p:stCondLst>
                                  <p:childTnLst>
                                    <p:set>
                                      <p:cBhvr>
                                        <p:cTn dur="1" fill="hold" id="28">
                                          <p:stCondLst>
                                            <p:cond delay="0"/>
                                          </p:stCondLst>
                                        </p:cTn>
                                        <p:tgtEl>
                                          <p:spTgt spid="6"/>
                                        </p:tgtEl>
                                        <p:attrNameLst>
                                          <p:attrName>style.visibility</p:attrName>
                                        </p:attrNameLst>
                                      </p:cBhvr>
                                      <p:to>
                                        <p:strVal val="visible"/>
                                      </p:to>
                                    </p:set>
                                    <p:animEffect filter="fade" transition="in">
                                      <p:cBhvr>
                                        <p:cTn dur="1000" id="29"/>
                                        <p:tgtEl>
                                          <p:spTgt spid="6"/>
                                        </p:tgtEl>
                                      </p:cBhvr>
                                    </p:animEffect>
                                    <p:anim calcmode="lin" valueType="num">
                                      <p:cBhvr>
                                        <p:cTn dur="1000" fill="hold" id="30"/>
                                        <p:tgtEl>
                                          <p:spTgt spid="6"/>
                                        </p:tgtEl>
                                        <p:attrNameLst>
                                          <p:attrName>ppt_x</p:attrName>
                                        </p:attrNameLst>
                                      </p:cBhvr>
                                      <p:tavLst>
                                        <p:tav tm="0">
                                          <p:val>
                                            <p:strVal val="#ppt_x"/>
                                          </p:val>
                                        </p:tav>
                                        <p:tav tm="100000">
                                          <p:val>
                                            <p:strVal val="#ppt_x"/>
                                          </p:val>
                                        </p:tav>
                                      </p:tavLst>
                                    </p:anim>
                                    <p:anim calcmode="lin" valueType="num">
                                      <p:cBhvr>
                                        <p:cTn dur="1000" fill="hold" id="31"/>
                                        <p:tgtEl>
                                          <p:spTgt spid="6"/>
                                        </p:tgtEl>
                                        <p:attrNameLst>
                                          <p:attrName>ppt_y</p:attrName>
                                        </p:attrNameLst>
                                      </p:cBhvr>
                                      <p:tavLst>
                                        <p:tav tm="0">
                                          <p:val>
                                            <p:strVal val="#ppt_y+.1"/>
                                          </p:val>
                                        </p:tav>
                                        <p:tav tm="100000">
                                          <p:val>
                                            <p:strVal val="#ppt_y"/>
                                          </p:val>
                                        </p:tav>
                                      </p:tavLst>
                                    </p:anim>
                                  </p:childTnLst>
                                </p:cTn>
                              </p:par>
                            </p:childTnLst>
                          </p:cTn>
                        </p:par>
                        <p:par>
                          <p:cTn fill="hold" id="32" nodeType="afterGroup">
                            <p:stCondLst>
                              <p:cond delay="2000"/>
                            </p:stCondLst>
                            <p:childTnLst>
                              <p:par>
                                <p:cTn fill="hold" grpId="0" id="33" nodeType="afterEffect" presetClass="entr" presetID="53" presetSubtype="0">
                                  <p:stCondLst>
                                    <p:cond delay="0"/>
                                  </p:stCondLst>
                                  <p:childTnLst>
                                    <p:set>
                                      <p:cBhvr>
                                        <p:cTn dur="1" fill="hold" id="34">
                                          <p:stCondLst>
                                            <p:cond delay="0"/>
                                          </p:stCondLst>
                                        </p:cTn>
                                        <p:tgtEl>
                                          <p:spTgt spid="17"/>
                                        </p:tgtEl>
                                        <p:attrNameLst>
                                          <p:attrName>style.visibility</p:attrName>
                                        </p:attrNameLst>
                                      </p:cBhvr>
                                      <p:to>
                                        <p:strVal val="visible"/>
                                      </p:to>
                                    </p:set>
                                    <p:anim calcmode="lin" valueType="num">
                                      <p:cBhvr>
                                        <p:cTn dur="500" fill="hold" id="35"/>
                                        <p:tgtEl>
                                          <p:spTgt spid="17"/>
                                        </p:tgtEl>
                                        <p:attrNameLst>
                                          <p:attrName>ppt_w</p:attrName>
                                        </p:attrNameLst>
                                      </p:cBhvr>
                                      <p:tavLst>
                                        <p:tav tm="0">
                                          <p:val>
                                            <p:fltVal val="0"/>
                                          </p:val>
                                        </p:tav>
                                        <p:tav tm="100000">
                                          <p:val>
                                            <p:strVal val="#ppt_w"/>
                                          </p:val>
                                        </p:tav>
                                      </p:tavLst>
                                    </p:anim>
                                    <p:anim calcmode="lin" valueType="num">
                                      <p:cBhvr>
                                        <p:cTn dur="500" fill="hold" id="36"/>
                                        <p:tgtEl>
                                          <p:spTgt spid="17"/>
                                        </p:tgtEl>
                                        <p:attrNameLst>
                                          <p:attrName>ppt_h</p:attrName>
                                        </p:attrNameLst>
                                      </p:cBhvr>
                                      <p:tavLst>
                                        <p:tav tm="0">
                                          <p:val>
                                            <p:fltVal val="0"/>
                                          </p:val>
                                        </p:tav>
                                        <p:tav tm="100000">
                                          <p:val>
                                            <p:strVal val="#ppt_h"/>
                                          </p:val>
                                        </p:tav>
                                      </p:tavLst>
                                    </p:anim>
                                    <p:animEffect filter="fade" transition="in">
                                      <p:cBhvr>
                                        <p:cTn dur="500" id="37"/>
                                        <p:tgtEl>
                                          <p:spTgt spid="17"/>
                                        </p:tgtEl>
                                      </p:cBhvr>
                                    </p:animEffect>
                                  </p:childTnLst>
                                </p:cTn>
                              </p:par>
                              <p:par>
                                <p:cTn fill="hold" grpId="0" id="38" nodeType="withEffect" presetClass="entr" presetID="53" presetSubtype="0">
                                  <p:stCondLst>
                                    <p:cond delay="0"/>
                                  </p:stCondLst>
                                  <p:childTnLst>
                                    <p:set>
                                      <p:cBhvr>
                                        <p:cTn dur="1" fill="hold" id="39">
                                          <p:stCondLst>
                                            <p:cond delay="0"/>
                                          </p:stCondLst>
                                        </p:cTn>
                                        <p:tgtEl>
                                          <p:spTgt spid="34"/>
                                        </p:tgtEl>
                                        <p:attrNameLst>
                                          <p:attrName>style.visibility</p:attrName>
                                        </p:attrNameLst>
                                      </p:cBhvr>
                                      <p:to>
                                        <p:strVal val="visible"/>
                                      </p:to>
                                    </p:set>
                                    <p:anim calcmode="lin" valueType="num">
                                      <p:cBhvr>
                                        <p:cTn dur="500" fill="hold" id="40"/>
                                        <p:tgtEl>
                                          <p:spTgt spid="34"/>
                                        </p:tgtEl>
                                        <p:attrNameLst>
                                          <p:attrName>ppt_w</p:attrName>
                                        </p:attrNameLst>
                                      </p:cBhvr>
                                      <p:tavLst>
                                        <p:tav tm="0">
                                          <p:val>
                                            <p:fltVal val="0"/>
                                          </p:val>
                                        </p:tav>
                                        <p:tav tm="100000">
                                          <p:val>
                                            <p:strVal val="#ppt_w"/>
                                          </p:val>
                                        </p:tav>
                                      </p:tavLst>
                                    </p:anim>
                                    <p:anim calcmode="lin" valueType="num">
                                      <p:cBhvr>
                                        <p:cTn dur="500" fill="hold" id="41"/>
                                        <p:tgtEl>
                                          <p:spTgt spid="34"/>
                                        </p:tgtEl>
                                        <p:attrNameLst>
                                          <p:attrName>ppt_h</p:attrName>
                                        </p:attrNameLst>
                                      </p:cBhvr>
                                      <p:tavLst>
                                        <p:tav tm="0">
                                          <p:val>
                                            <p:fltVal val="0"/>
                                          </p:val>
                                        </p:tav>
                                        <p:tav tm="100000">
                                          <p:val>
                                            <p:strVal val="#ppt_h"/>
                                          </p:val>
                                        </p:tav>
                                      </p:tavLst>
                                    </p:anim>
                                    <p:animEffect filter="fade" transition="in">
                                      <p:cBhvr>
                                        <p:cTn dur="500" id="42"/>
                                        <p:tgtEl>
                                          <p:spTgt spid="34"/>
                                        </p:tgtEl>
                                      </p:cBhvr>
                                    </p:animEffect>
                                  </p:childTnLst>
                                </p:cTn>
                              </p:par>
                              <p:par>
                                <p:cTn fill="hold" grpId="0" id="43" nodeType="withEffect" presetClass="entr" presetID="53" presetSubtype="0">
                                  <p:stCondLst>
                                    <p:cond delay="0"/>
                                  </p:stCondLst>
                                  <p:childTnLst>
                                    <p:set>
                                      <p:cBhvr>
                                        <p:cTn dur="1" fill="hold" id="44">
                                          <p:stCondLst>
                                            <p:cond delay="0"/>
                                          </p:stCondLst>
                                        </p:cTn>
                                        <p:tgtEl>
                                          <p:spTgt spid="35"/>
                                        </p:tgtEl>
                                        <p:attrNameLst>
                                          <p:attrName>style.visibility</p:attrName>
                                        </p:attrNameLst>
                                      </p:cBhvr>
                                      <p:to>
                                        <p:strVal val="visible"/>
                                      </p:to>
                                    </p:set>
                                    <p:anim calcmode="lin" valueType="num">
                                      <p:cBhvr>
                                        <p:cTn dur="500" fill="hold" id="45"/>
                                        <p:tgtEl>
                                          <p:spTgt spid="35"/>
                                        </p:tgtEl>
                                        <p:attrNameLst>
                                          <p:attrName>ppt_w</p:attrName>
                                        </p:attrNameLst>
                                      </p:cBhvr>
                                      <p:tavLst>
                                        <p:tav tm="0">
                                          <p:val>
                                            <p:fltVal val="0"/>
                                          </p:val>
                                        </p:tav>
                                        <p:tav tm="100000">
                                          <p:val>
                                            <p:strVal val="#ppt_w"/>
                                          </p:val>
                                        </p:tav>
                                      </p:tavLst>
                                    </p:anim>
                                    <p:anim calcmode="lin" valueType="num">
                                      <p:cBhvr>
                                        <p:cTn dur="500" fill="hold" id="46"/>
                                        <p:tgtEl>
                                          <p:spTgt spid="35"/>
                                        </p:tgtEl>
                                        <p:attrNameLst>
                                          <p:attrName>ppt_h</p:attrName>
                                        </p:attrNameLst>
                                      </p:cBhvr>
                                      <p:tavLst>
                                        <p:tav tm="0">
                                          <p:val>
                                            <p:fltVal val="0"/>
                                          </p:val>
                                        </p:tav>
                                        <p:tav tm="100000">
                                          <p:val>
                                            <p:strVal val="#ppt_h"/>
                                          </p:val>
                                        </p:tav>
                                      </p:tavLst>
                                    </p:anim>
                                    <p:animEffect filter="fade" transition="in">
                                      <p:cBhvr>
                                        <p:cTn dur="500" id="47"/>
                                        <p:tgtEl>
                                          <p:spTgt spid="35"/>
                                        </p:tgtEl>
                                      </p:cBhvr>
                                    </p:animEffect>
                                  </p:childTnLst>
                                </p:cTn>
                              </p:par>
                              <p:par>
                                <p:cTn fill="hold" grpId="0" id="48" nodeType="withEffect" presetClass="entr" presetID="53" presetSubtype="0">
                                  <p:stCondLst>
                                    <p:cond delay="0"/>
                                  </p:stCondLst>
                                  <p:childTnLst>
                                    <p:set>
                                      <p:cBhvr>
                                        <p:cTn dur="1" fill="hold" id="49">
                                          <p:stCondLst>
                                            <p:cond delay="0"/>
                                          </p:stCondLst>
                                        </p:cTn>
                                        <p:tgtEl>
                                          <p:spTgt spid="55"/>
                                        </p:tgtEl>
                                        <p:attrNameLst>
                                          <p:attrName>style.visibility</p:attrName>
                                        </p:attrNameLst>
                                      </p:cBhvr>
                                      <p:to>
                                        <p:strVal val="visible"/>
                                      </p:to>
                                    </p:set>
                                    <p:anim calcmode="lin" valueType="num">
                                      <p:cBhvr>
                                        <p:cTn dur="500" fill="hold" id="50"/>
                                        <p:tgtEl>
                                          <p:spTgt spid="55"/>
                                        </p:tgtEl>
                                        <p:attrNameLst>
                                          <p:attrName>ppt_w</p:attrName>
                                        </p:attrNameLst>
                                      </p:cBhvr>
                                      <p:tavLst>
                                        <p:tav tm="0">
                                          <p:val>
                                            <p:fltVal val="0"/>
                                          </p:val>
                                        </p:tav>
                                        <p:tav tm="100000">
                                          <p:val>
                                            <p:strVal val="#ppt_w"/>
                                          </p:val>
                                        </p:tav>
                                      </p:tavLst>
                                    </p:anim>
                                    <p:anim calcmode="lin" valueType="num">
                                      <p:cBhvr>
                                        <p:cTn dur="500" fill="hold" id="51"/>
                                        <p:tgtEl>
                                          <p:spTgt spid="55"/>
                                        </p:tgtEl>
                                        <p:attrNameLst>
                                          <p:attrName>ppt_h</p:attrName>
                                        </p:attrNameLst>
                                      </p:cBhvr>
                                      <p:tavLst>
                                        <p:tav tm="0">
                                          <p:val>
                                            <p:fltVal val="0"/>
                                          </p:val>
                                        </p:tav>
                                        <p:tav tm="100000">
                                          <p:val>
                                            <p:strVal val="#ppt_h"/>
                                          </p:val>
                                        </p:tav>
                                      </p:tavLst>
                                    </p:anim>
                                    <p:animEffect filter="fade" transition="in">
                                      <p:cBhvr>
                                        <p:cTn dur="500" id="52"/>
                                        <p:tgtEl>
                                          <p:spTgt spid="55"/>
                                        </p:tgtEl>
                                      </p:cBhvr>
                                    </p:animEffect>
                                  </p:childTnLst>
                                </p:cTn>
                              </p:par>
                              <p:par>
                                <p:cTn fill="hold" grpId="0" id="53" nodeType="withEffect" presetClass="entr" presetID="53" presetSubtype="0">
                                  <p:stCondLst>
                                    <p:cond delay="0"/>
                                  </p:stCondLst>
                                  <p:childTnLst>
                                    <p:set>
                                      <p:cBhvr>
                                        <p:cTn dur="1" fill="hold" id="54">
                                          <p:stCondLst>
                                            <p:cond delay="0"/>
                                          </p:stCondLst>
                                        </p:cTn>
                                        <p:tgtEl>
                                          <p:spTgt spid="19"/>
                                        </p:tgtEl>
                                        <p:attrNameLst>
                                          <p:attrName>style.visibility</p:attrName>
                                        </p:attrNameLst>
                                      </p:cBhvr>
                                      <p:to>
                                        <p:strVal val="visible"/>
                                      </p:to>
                                    </p:set>
                                    <p:anim calcmode="lin" valueType="num">
                                      <p:cBhvr>
                                        <p:cTn dur="500" fill="hold" id="55"/>
                                        <p:tgtEl>
                                          <p:spTgt spid="19"/>
                                        </p:tgtEl>
                                        <p:attrNameLst>
                                          <p:attrName>ppt_w</p:attrName>
                                        </p:attrNameLst>
                                      </p:cBhvr>
                                      <p:tavLst>
                                        <p:tav tm="0">
                                          <p:val>
                                            <p:fltVal val="0"/>
                                          </p:val>
                                        </p:tav>
                                        <p:tav tm="100000">
                                          <p:val>
                                            <p:strVal val="#ppt_w"/>
                                          </p:val>
                                        </p:tav>
                                      </p:tavLst>
                                    </p:anim>
                                    <p:anim calcmode="lin" valueType="num">
                                      <p:cBhvr>
                                        <p:cTn dur="500" fill="hold" id="56"/>
                                        <p:tgtEl>
                                          <p:spTgt spid="19"/>
                                        </p:tgtEl>
                                        <p:attrNameLst>
                                          <p:attrName>ppt_h</p:attrName>
                                        </p:attrNameLst>
                                      </p:cBhvr>
                                      <p:tavLst>
                                        <p:tav tm="0">
                                          <p:val>
                                            <p:fltVal val="0"/>
                                          </p:val>
                                        </p:tav>
                                        <p:tav tm="100000">
                                          <p:val>
                                            <p:strVal val="#ppt_h"/>
                                          </p:val>
                                        </p:tav>
                                      </p:tavLst>
                                    </p:anim>
                                    <p:animEffect filter="fade" transition="in">
                                      <p:cBhvr>
                                        <p:cTn dur="500" id="57"/>
                                        <p:tgtEl>
                                          <p:spTgt spid="19"/>
                                        </p:tgtEl>
                                      </p:cBhvr>
                                    </p:animEffect>
                                  </p:childTnLst>
                                </p:cTn>
                              </p:par>
                              <p:par>
                                <p:cTn fill="hold" grpId="0" id="58" nodeType="withEffect" presetClass="entr" presetID="53" presetSubtype="0">
                                  <p:stCondLst>
                                    <p:cond delay="0"/>
                                  </p:stCondLst>
                                  <p:childTnLst>
                                    <p:set>
                                      <p:cBhvr>
                                        <p:cTn dur="1" fill="hold" id="59">
                                          <p:stCondLst>
                                            <p:cond delay="0"/>
                                          </p:stCondLst>
                                        </p:cTn>
                                        <p:tgtEl>
                                          <p:spTgt spid="23"/>
                                        </p:tgtEl>
                                        <p:attrNameLst>
                                          <p:attrName>style.visibility</p:attrName>
                                        </p:attrNameLst>
                                      </p:cBhvr>
                                      <p:to>
                                        <p:strVal val="visible"/>
                                      </p:to>
                                    </p:set>
                                    <p:anim calcmode="lin" valueType="num">
                                      <p:cBhvr>
                                        <p:cTn dur="500" fill="hold" id="60"/>
                                        <p:tgtEl>
                                          <p:spTgt spid="23"/>
                                        </p:tgtEl>
                                        <p:attrNameLst>
                                          <p:attrName>ppt_w</p:attrName>
                                        </p:attrNameLst>
                                      </p:cBhvr>
                                      <p:tavLst>
                                        <p:tav tm="0">
                                          <p:val>
                                            <p:fltVal val="0"/>
                                          </p:val>
                                        </p:tav>
                                        <p:tav tm="100000">
                                          <p:val>
                                            <p:strVal val="#ppt_w"/>
                                          </p:val>
                                        </p:tav>
                                      </p:tavLst>
                                    </p:anim>
                                    <p:anim calcmode="lin" valueType="num">
                                      <p:cBhvr>
                                        <p:cTn dur="500" fill="hold" id="61"/>
                                        <p:tgtEl>
                                          <p:spTgt spid="23"/>
                                        </p:tgtEl>
                                        <p:attrNameLst>
                                          <p:attrName>ppt_h</p:attrName>
                                        </p:attrNameLst>
                                      </p:cBhvr>
                                      <p:tavLst>
                                        <p:tav tm="0">
                                          <p:val>
                                            <p:fltVal val="0"/>
                                          </p:val>
                                        </p:tav>
                                        <p:tav tm="100000">
                                          <p:val>
                                            <p:strVal val="#ppt_h"/>
                                          </p:val>
                                        </p:tav>
                                      </p:tavLst>
                                    </p:anim>
                                    <p:animEffect filter="fade" transition="in">
                                      <p:cBhvr>
                                        <p:cTn dur="500" id="62"/>
                                        <p:tgtEl>
                                          <p:spTgt spid="23"/>
                                        </p:tgtEl>
                                      </p:cBhvr>
                                    </p:animEffect>
                                  </p:childTnLst>
                                </p:cTn>
                              </p:par>
                              <p:par>
                                <p:cTn fill="hold" grpId="0" id="63" nodeType="withEffect" presetClass="entr" presetID="53" presetSubtype="0">
                                  <p:stCondLst>
                                    <p:cond delay="0"/>
                                  </p:stCondLst>
                                  <p:childTnLst>
                                    <p:set>
                                      <p:cBhvr>
                                        <p:cTn dur="1" fill="hold" id="64">
                                          <p:stCondLst>
                                            <p:cond delay="0"/>
                                          </p:stCondLst>
                                        </p:cTn>
                                        <p:tgtEl>
                                          <p:spTgt spid="24"/>
                                        </p:tgtEl>
                                        <p:attrNameLst>
                                          <p:attrName>style.visibility</p:attrName>
                                        </p:attrNameLst>
                                      </p:cBhvr>
                                      <p:to>
                                        <p:strVal val="visible"/>
                                      </p:to>
                                    </p:set>
                                    <p:anim calcmode="lin" valueType="num">
                                      <p:cBhvr>
                                        <p:cTn dur="500" fill="hold" id="65"/>
                                        <p:tgtEl>
                                          <p:spTgt spid="24"/>
                                        </p:tgtEl>
                                        <p:attrNameLst>
                                          <p:attrName>ppt_w</p:attrName>
                                        </p:attrNameLst>
                                      </p:cBhvr>
                                      <p:tavLst>
                                        <p:tav tm="0">
                                          <p:val>
                                            <p:fltVal val="0"/>
                                          </p:val>
                                        </p:tav>
                                        <p:tav tm="100000">
                                          <p:val>
                                            <p:strVal val="#ppt_w"/>
                                          </p:val>
                                        </p:tav>
                                      </p:tavLst>
                                    </p:anim>
                                    <p:anim calcmode="lin" valueType="num">
                                      <p:cBhvr>
                                        <p:cTn dur="500" fill="hold" id="66"/>
                                        <p:tgtEl>
                                          <p:spTgt spid="24"/>
                                        </p:tgtEl>
                                        <p:attrNameLst>
                                          <p:attrName>ppt_h</p:attrName>
                                        </p:attrNameLst>
                                      </p:cBhvr>
                                      <p:tavLst>
                                        <p:tav tm="0">
                                          <p:val>
                                            <p:fltVal val="0"/>
                                          </p:val>
                                        </p:tav>
                                        <p:tav tm="100000">
                                          <p:val>
                                            <p:strVal val="#ppt_h"/>
                                          </p:val>
                                        </p:tav>
                                      </p:tavLst>
                                    </p:anim>
                                    <p:animEffect filter="fade" transition="in">
                                      <p:cBhvr>
                                        <p:cTn dur="500" id="67"/>
                                        <p:tgtEl>
                                          <p:spTgt spid="24"/>
                                        </p:tgtEl>
                                      </p:cBhvr>
                                    </p:animEffect>
                                  </p:childTnLst>
                                </p:cTn>
                              </p:par>
                              <p:par>
                                <p:cTn fill="hold" grpId="0" id="68" nodeType="withEffect" presetClass="entr" presetID="53" presetSubtype="0">
                                  <p:stCondLst>
                                    <p:cond delay="0"/>
                                  </p:stCondLst>
                                  <p:childTnLst>
                                    <p:set>
                                      <p:cBhvr>
                                        <p:cTn dur="1" fill="hold" id="69">
                                          <p:stCondLst>
                                            <p:cond delay="0"/>
                                          </p:stCondLst>
                                        </p:cTn>
                                        <p:tgtEl>
                                          <p:spTgt spid="56"/>
                                        </p:tgtEl>
                                        <p:attrNameLst>
                                          <p:attrName>style.visibility</p:attrName>
                                        </p:attrNameLst>
                                      </p:cBhvr>
                                      <p:to>
                                        <p:strVal val="visible"/>
                                      </p:to>
                                    </p:set>
                                    <p:anim calcmode="lin" valueType="num">
                                      <p:cBhvr>
                                        <p:cTn dur="500" fill="hold" id="70"/>
                                        <p:tgtEl>
                                          <p:spTgt spid="56"/>
                                        </p:tgtEl>
                                        <p:attrNameLst>
                                          <p:attrName>ppt_w</p:attrName>
                                        </p:attrNameLst>
                                      </p:cBhvr>
                                      <p:tavLst>
                                        <p:tav tm="0">
                                          <p:val>
                                            <p:fltVal val="0"/>
                                          </p:val>
                                        </p:tav>
                                        <p:tav tm="100000">
                                          <p:val>
                                            <p:strVal val="#ppt_w"/>
                                          </p:val>
                                        </p:tav>
                                      </p:tavLst>
                                    </p:anim>
                                    <p:anim calcmode="lin" valueType="num">
                                      <p:cBhvr>
                                        <p:cTn dur="500" fill="hold" id="71"/>
                                        <p:tgtEl>
                                          <p:spTgt spid="56"/>
                                        </p:tgtEl>
                                        <p:attrNameLst>
                                          <p:attrName>ppt_h</p:attrName>
                                        </p:attrNameLst>
                                      </p:cBhvr>
                                      <p:tavLst>
                                        <p:tav tm="0">
                                          <p:val>
                                            <p:fltVal val="0"/>
                                          </p:val>
                                        </p:tav>
                                        <p:tav tm="100000">
                                          <p:val>
                                            <p:strVal val="#ppt_h"/>
                                          </p:val>
                                        </p:tav>
                                      </p:tavLst>
                                    </p:anim>
                                    <p:animEffect filter="fade" transition="in">
                                      <p:cBhvr>
                                        <p:cTn dur="500" id="72"/>
                                        <p:tgtEl>
                                          <p:spTgt spid="56"/>
                                        </p:tgtEl>
                                      </p:cBhvr>
                                    </p:animEffect>
                                  </p:childTnLst>
                                </p:cTn>
                              </p:par>
                            </p:childTnLst>
                          </p:cTn>
                        </p:par>
                        <p:par>
                          <p:cTn fill="hold" id="73" nodeType="afterGroup">
                            <p:stCondLst>
                              <p:cond delay="2500"/>
                            </p:stCondLst>
                            <p:childTnLst>
                              <p:par>
                                <p:cTn accel="50000" fill="hold" grpId="0" id="74" nodeType="afterEffect" presetClass="entr" presetID="38" presetSubtype="0">
                                  <p:stCondLst>
                                    <p:cond delay="0"/>
                                  </p:stCondLst>
                                  <p:iterate type="lt">
                                    <p:tmPct val="6667"/>
                                  </p:iterate>
                                  <p:childTnLst>
                                    <p:set>
                                      <p:cBhvr>
                                        <p:cTn dur="1" fill="hold" id="75">
                                          <p:stCondLst>
                                            <p:cond delay="0"/>
                                          </p:stCondLst>
                                        </p:cTn>
                                        <p:tgtEl>
                                          <p:spTgt spid="3"/>
                                        </p:tgtEl>
                                        <p:attrNameLst>
                                          <p:attrName>style.visibility</p:attrName>
                                        </p:attrNameLst>
                                      </p:cBhvr>
                                      <p:to>
                                        <p:strVal val="visible"/>
                                      </p:to>
                                    </p:set>
                                    <p:set>
                                      <p:cBhvr>
                                        <p:cTn dur="341" fill="hold" id="76">
                                          <p:stCondLst>
                                            <p:cond delay="0"/>
                                          </p:stCondLst>
                                        </p:cTn>
                                        <p:tgtEl>
                                          <p:spTgt spid="3"/>
                                        </p:tgtEl>
                                        <p:attrNameLst>
                                          <p:attrName>style.rotation</p:attrName>
                                        </p:attrNameLst>
                                      </p:cBhvr>
                                      <p:to>
                                        <p:strVal val="-45.0"/>
                                      </p:to>
                                    </p:set>
                                    <p:anim calcmode="lin" valueType="num">
                                      <p:cBhvr>
                                        <p:cTn dur="341" fill="hold" id="77">
                                          <p:stCondLst>
                                            <p:cond delay="341"/>
                                          </p:stCondLst>
                                        </p:cTn>
                                        <p:tgtEl>
                                          <p:spTgt spid="3"/>
                                        </p:tgtEl>
                                        <p:attrNameLst>
                                          <p:attrName>style.rotation</p:attrName>
                                        </p:attrNameLst>
                                      </p:cBhvr>
                                      <p:tavLst>
                                        <p:tav tm="0">
                                          <p:val>
                                            <p:fltVal val="-45"/>
                                          </p:val>
                                        </p:tav>
                                        <p:tav tm="69900">
                                          <p:val>
                                            <p:fltVal val="45"/>
                                          </p:val>
                                        </p:tav>
                                        <p:tav tm="100000">
                                          <p:val>
                                            <p:fltVal val="0"/>
                                          </p:val>
                                        </p:tav>
                                      </p:tavLst>
                                    </p:anim>
                                    <p:anim calcmode="lin" valueType="num">
                                      <p:cBhvr>
                                        <p:cTn dur="341" fill="hold" id="78">
                                          <p:stCondLst>
                                            <p:cond delay="0"/>
                                          </p:stCondLst>
                                        </p:cTn>
                                        <p:tgtEl>
                                          <p:spTgt spid="3"/>
                                        </p:tgtEl>
                                        <p:attrNameLst>
                                          <p:attrName>ppt_y</p:attrName>
                                        </p:attrNameLst>
                                      </p:cBhvr>
                                      <p:tavLst>
                                        <p:tav tm="0">
                                          <p:val>
                                            <p:strVal val="#ppt_y-1"/>
                                          </p:val>
                                        </p:tav>
                                        <p:tav tm="100000">
                                          <p:val>
                                            <p:strVal val="#ppt_y-(0.354*#ppt_w-0.172*#ppt_h)"/>
                                          </p:val>
                                        </p:tav>
                                      </p:tavLst>
                                    </p:anim>
                                    <p:anim calcmode="lin" valueType="num">
                                      <p:cBhvr>
                                        <p:cTn autoRev="1" decel="50000" dur="117" fill="hold" id="79">
                                          <p:stCondLst>
                                            <p:cond delay="341"/>
                                          </p:stCondLst>
                                        </p:cTn>
                                        <p:tgtEl>
                                          <p:spTgt spid="3"/>
                                        </p:tgtEl>
                                        <p:attrNameLst>
                                          <p:attrName>ppt_y</p:attrName>
                                        </p:attrNameLst>
                                      </p:cBhvr>
                                      <p:tavLst>
                                        <p:tav tm="0">
                                          <p:val>
                                            <p:strVal val="#ppt_y-(0.354*#ppt_w-0.172*#ppt_h)"/>
                                          </p:val>
                                        </p:tav>
                                        <p:tav tm="100000">
                                          <p:val>
                                            <p:strVal val="#ppt_y-(0.354*#ppt_w-0.172*#ppt_h)-#ppt_h/2"/>
                                          </p:val>
                                        </p:tav>
                                      </p:tavLst>
                                    </p:anim>
                                    <p:anim calcmode="lin" valueType="num">
                                      <p:cBhvr>
                                        <p:cTn dur="102" fill="hold" id="80">
                                          <p:stCondLst>
                                            <p:cond delay="648"/>
                                          </p:stCondLst>
                                        </p:cTn>
                                        <p:tgtEl>
                                          <p:spTgt spid="3"/>
                                        </p:tgtEl>
                                        <p:attrNameLst>
                                          <p:attrName>ppt_y</p:attrName>
                                        </p:attrNameLst>
                                      </p:cBhvr>
                                      <p:tavLst>
                                        <p:tav tm="0">
                                          <p:val>
                                            <p:strVal val="#ppt_y-(0.354*#ppt_w-0.172*#ppt_h)"/>
                                          </p:val>
                                        </p:tav>
                                        <p:tav tm="100000">
                                          <p:val>
                                            <p:strVal val="#ppt_y"/>
                                          </p:val>
                                        </p:tav>
                                      </p:tavLst>
                                    </p:anim>
                                  </p:childTnLst>
                                </p:cTn>
                              </p:par>
                            </p:childTnLst>
                          </p:cTn>
                        </p:par>
                        <p:par>
                          <p:cTn fill="hold" id="81" nodeType="afterGroup">
                            <p:stCondLst>
                              <p:cond delay="3250"/>
                            </p:stCondLst>
                            <p:childTnLst>
                              <p:par>
                                <p:cTn fill="hold" grpId="0" id="82" nodeType="afterEffect" presetClass="entr" presetID="2" presetSubtype="3">
                                  <p:stCondLst>
                                    <p:cond delay="0"/>
                                  </p:stCondLst>
                                  <p:childTnLst>
                                    <p:set>
                                      <p:cBhvr>
                                        <p:cTn dur="1" fill="hold" id="83">
                                          <p:stCondLst>
                                            <p:cond delay="0"/>
                                          </p:stCondLst>
                                        </p:cTn>
                                        <p:tgtEl>
                                          <p:spTgt spid="57"/>
                                        </p:tgtEl>
                                        <p:attrNameLst>
                                          <p:attrName>style.visibility</p:attrName>
                                        </p:attrNameLst>
                                      </p:cBhvr>
                                      <p:to>
                                        <p:strVal val="visible"/>
                                      </p:to>
                                    </p:set>
                                    <p:anim calcmode="lin" valueType="num">
                                      <p:cBhvr additive="base">
                                        <p:cTn dur="500" fill="hold" id="84"/>
                                        <p:tgtEl>
                                          <p:spTgt spid="57"/>
                                        </p:tgtEl>
                                        <p:attrNameLst>
                                          <p:attrName>ppt_x</p:attrName>
                                        </p:attrNameLst>
                                      </p:cBhvr>
                                      <p:tavLst>
                                        <p:tav tm="0">
                                          <p:val>
                                            <p:strVal val="1+#ppt_w/2"/>
                                          </p:val>
                                        </p:tav>
                                        <p:tav tm="100000">
                                          <p:val>
                                            <p:strVal val="#ppt_x"/>
                                          </p:val>
                                        </p:tav>
                                      </p:tavLst>
                                    </p:anim>
                                    <p:anim calcmode="lin" valueType="num">
                                      <p:cBhvr additive="base">
                                        <p:cTn dur="500" fill="hold" id="85"/>
                                        <p:tgtEl>
                                          <p:spTgt spid="57"/>
                                        </p:tgtEl>
                                        <p:attrNameLst>
                                          <p:attrName>ppt_y</p:attrName>
                                        </p:attrNameLst>
                                      </p:cBhvr>
                                      <p:tavLst>
                                        <p:tav tm="0">
                                          <p:val>
                                            <p:strVal val="0-#ppt_h/2"/>
                                          </p:val>
                                        </p:tav>
                                        <p:tav tm="100000">
                                          <p:val>
                                            <p:strVal val="#ppt_y"/>
                                          </p:val>
                                        </p:tav>
                                      </p:tavLst>
                                    </p:anim>
                                  </p:childTnLst>
                                </p:cTn>
                              </p:par>
                            </p:childTnLst>
                          </p:cTn>
                        </p:par>
                        <p:par>
                          <p:cTn fill="hold" id="86" nodeType="afterGroup">
                            <p:stCondLst>
                              <p:cond delay="3750"/>
                            </p:stCondLst>
                            <p:childTnLst>
                              <p:par>
                                <p:cTn fill="hold" grpId="0" id="87" nodeType="afterEffect" presetClass="entr" presetID="14" presetSubtype="10">
                                  <p:stCondLst>
                                    <p:cond delay="0"/>
                                  </p:stCondLst>
                                  <p:childTnLst>
                                    <p:set>
                                      <p:cBhvr>
                                        <p:cTn dur="1" fill="hold" id="88">
                                          <p:stCondLst>
                                            <p:cond delay="0"/>
                                          </p:stCondLst>
                                        </p:cTn>
                                        <p:tgtEl>
                                          <p:spTgt spid="61"/>
                                        </p:tgtEl>
                                        <p:attrNameLst>
                                          <p:attrName>style.visibility</p:attrName>
                                        </p:attrNameLst>
                                      </p:cBhvr>
                                      <p:to>
                                        <p:strVal val="visible"/>
                                      </p:to>
                                    </p:set>
                                    <p:animEffect filter="randombar(horizontal)" transition="in">
                                      <p:cBhvr>
                                        <p:cTn dur="500" id="89"/>
                                        <p:tgtEl>
                                          <p:spTgt spid="61"/>
                                        </p:tgtEl>
                                      </p:cBhvr>
                                    </p:animEffect>
                                  </p:childTnLst>
                                </p:cTn>
                              </p:par>
                              <p:par>
                                <p:cTn fill="hold" grpId="0" id="90" nodeType="withEffect" presetClass="entr" presetID="2" presetSubtype="3">
                                  <p:stCondLst>
                                    <p:cond delay="0"/>
                                  </p:stCondLst>
                                  <p:childTnLst>
                                    <p:set>
                                      <p:cBhvr>
                                        <p:cTn dur="1" fill="hold" id="91">
                                          <p:stCondLst>
                                            <p:cond delay="0"/>
                                          </p:stCondLst>
                                        </p:cTn>
                                        <p:tgtEl>
                                          <p:spTgt spid="58"/>
                                        </p:tgtEl>
                                        <p:attrNameLst>
                                          <p:attrName>style.visibility</p:attrName>
                                        </p:attrNameLst>
                                      </p:cBhvr>
                                      <p:to>
                                        <p:strVal val="visible"/>
                                      </p:to>
                                    </p:set>
                                    <p:anim calcmode="lin" valueType="num">
                                      <p:cBhvr additive="base">
                                        <p:cTn dur="500" fill="hold" id="92"/>
                                        <p:tgtEl>
                                          <p:spTgt spid="58"/>
                                        </p:tgtEl>
                                        <p:attrNameLst>
                                          <p:attrName>ppt_x</p:attrName>
                                        </p:attrNameLst>
                                      </p:cBhvr>
                                      <p:tavLst>
                                        <p:tav tm="0">
                                          <p:val>
                                            <p:strVal val="1+#ppt_w/2"/>
                                          </p:val>
                                        </p:tav>
                                        <p:tav tm="100000">
                                          <p:val>
                                            <p:strVal val="#ppt_x"/>
                                          </p:val>
                                        </p:tav>
                                      </p:tavLst>
                                    </p:anim>
                                    <p:anim calcmode="lin" valueType="num">
                                      <p:cBhvr additive="base">
                                        <p:cTn dur="500" fill="hold" id="93"/>
                                        <p:tgtEl>
                                          <p:spTgt spid="58"/>
                                        </p:tgtEl>
                                        <p:attrNameLst>
                                          <p:attrName>ppt_y</p:attrName>
                                        </p:attrNameLst>
                                      </p:cBhvr>
                                      <p:tavLst>
                                        <p:tav tm="0">
                                          <p:val>
                                            <p:strVal val="0-#ppt_h/2"/>
                                          </p:val>
                                        </p:tav>
                                        <p:tav tm="100000">
                                          <p:val>
                                            <p:strVal val="#ppt_y"/>
                                          </p:val>
                                        </p:tav>
                                      </p:tavLst>
                                    </p:anim>
                                  </p:childTnLst>
                                </p:cTn>
                              </p:par>
                            </p:childTnLst>
                          </p:cTn>
                        </p:par>
                        <p:par>
                          <p:cTn fill="hold" id="94" nodeType="afterGroup">
                            <p:stCondLst>
                              <p:cond delay="4250"/>
                            </p:stCondLst>
                            <p:childTnLst>
                              <p:par>
                                <p:cTn fill="hold" grpId="0" id="95" nodeType="afterEffect" presetClass="entr" presetID="14" presetSubtype="10">
                                  <p:stCondLst>
                                    <p:cond delay="0"/>
                                  </p:stCondLst>
                                  <p:childTnLst>
                                    <p:set>
                                      <p:cBhvr>
                                        <p:cTn dur="1" fill="hold" id="96">
                                          <p:stCondLst>
                                            <p:cond delay="0"/>
                                          </p:stCondLst>
                                        </p:cTn>
                                        <p:tgtEl>
                                          <p:spTgt spid="62"/>
                                        </p:tgtEl>
                                        <p:attrNameLst>
                                          <p:attrName>style.visibility</p:attrName>
                                        </p:attrNameLst>
                                      </p:cBhvr>
                                      <p:to>
                                        <p:strVal val="visible"/>
                                      </p:to>
                                    </p:set>
                                    <p:animEffect filter="randombar(horizontal)" transition="in">
                                      <p:cBhvr>
                                        <p:cTn dur="500" id="97"/>
                                        <p:tgtEl>
                                          <p:spTgt spid="62"/>
                                        </p:tgtEl>
                                      </p:cBhvr>
                                    </p:animEffect>
                                  </p:childTnLst>
                                </p:cTn>
                              </p:par>
                              <p:par>
                                <p:cTn fill="hold" grpId="0" id="98" nodeType="withEffect" presetClass="entr" presetID="2" presetSubtype="3">
                                  <p:stCondLst>
                                    <p:cond delay="0"/>
                                  </p:stCondLst>
                                  <p:childTnLst>
                                    <p:set>
                                      <p:cBhvr>
                                        <p:cTn dur="1" fill="hold" id="99">
                                          <p:stCondLst>
                                            <p:cond delay="0"/>
                                          </p:stCondLst>
                                        </p:cTn>
                                        <p:tgtEl>
                                          <p:spTgt spid="59"/>
                                        </p:tgtEl>
                                        <p:attrNameLst>
                                          <p:attrName>style.visibility</p:attrName>
                                        </p:attrNameLst>
                                      </p:cBhvr>
                                      <p:to>
                                        <p:strVal val="visible"/>
                                      </p:to>
                                    </p:set>
                                    <p:anim calcmode="lin" valueType="num">
                                      <p:cBhvr additive="base">
                                        <p:cTn dur="500" fill="hold" id="100"/>
                                        <p:tgtEl>
                                          <p:spTgt spid="59"/>
                                        </p:tgtEl>
                                        <p:attrNameLst>
                                          <p:attrName>ppt_x</p:attrName>
                                        </p:attrNameLst>
                                      </p:cBhvr>
                                      <p:tavLst>
                                        <p:tav tm="0">
                                          <p:val>
                                            <p:strVal val="1+#ppt_w/2"/>
                                          </p:val>
                                        </p:tav>
                                        <p:tav tm="100000">
                                          <p:val>
                                            <p:strVal val="#ppt_x"/>
                                          </p:val>
                                        </p:tav>
                                      </p:tavLst>
                                    </p:anim>
                                    <p:anim calcmode="lin" valueType="num">
                                      <p:cBhvr additive="base">
                                        <p:cTn dur="500" fill="hold" id="101"/>
                                        <p:tgtEl>
                                          <p:spTgt spid="59"/>
                                        </p:tgtEl>
                                        <p:attrNameLst>
                                          <p:attrName>ppt_y</p:attrName>
                                        </p:attrNameLst>
                                      </p:cBhvr>
                                      <p:tavLst>
                                        <p:tav tm="0">
                                          <p:val>
                                            <p:strVal val="0-#ppt_h/2"/>
                                          </p:val>
                                        </p:tav>
                                        <p:tav tm="100000">
                                          <p:val>
                                            <p:strVal val="#ppt_y"/>
                                          </p:val>
                                        </p:tav>
                                      </p:tavLst>
                                    </p:anim>
                                  </p:childTnLst>
                                </p:cTn>
                              </p:par>
                            </p:childTnLst>
                          </p:cTn>
                        </p:par>
                        <p:par>
                          <p:cTn fill="hold" id="102" nodeType="afterGroup">
                            <p:stCondLst>
                              <p:cond delay="4750"/>
                            </p:stCondLst>
                            <p:childTnLst>
                              <p:par>
                                <p:cTn fill="hold" grpId="0" id="103" nodeType="afterEffect" presetClass="entr" presetID="14" presetSubtype="10">
                                  <p:stCondLst>
                                    <p:cond delay="0"/>
                                  </p:stCondLst>
                                  <p:childTnLst>
                                    <p:set>
                                      <p:cBhvr>
                                        <p:cTn dur="1" fill="hold" id="104">
                                          <p:stCondLst>
                                            <p:cond delay="0"/>
                                          </p:stCondLst>
                                        </p:cTn>
                                        <p:tgtEl>
                                          <p:spTgt spid="63"/>
                                        </p:tgtEl>
                                        <p:attrNameLst>
                                          <p:attrName>style.visibility</p:attrName>
                                        </p:attrNameLst>
                                      </p:cBhvr>
                                      <p:to>
                                        <p:strVal val="visible"/>
                                      </p:to>
                                    </p:set>
                                    <p:animEffect filter="randombar(horizontal)" transition="in">
                                      <p:cBhvr>
                                        <p:cTn dur="500" id="105"/>
                                        <p:tgtEl>
                                          <p:spTgt spid="63"/>
                                        </p:tgtEl>
                                      </p:cBhvr>
                                    </p:animEffect>
                                  </p:childTnLst>
                                </p:cTn>
                              </p:par>
                              <p:par>
                                <p:cTn fill="hold" grpId="0" id="106" nodeType="withEffect" presetClass="entr" presetID="2" presetSubtype="3">
                                  <p:stCondLst>
                                    <p:cond delay="0"/>
                                  </p:stCondLst>
                                  <p:childTnLst>
                                    <p:set>
                                      <p:cBhvr>
                                        <p:cTn dur="1" fill="hold" id="107">
                                          <p:stCondLst>
                                            <p:cond delay="0"/>
                                          </p:stCondLst>
                                        </p:cTn>
                                        <p:tgtEl>
                                          <p:spTgt spid="60"/>
                                        </p:tgtEl>
                                        <p:attrNameLst>
                                          <p:attrName>style.visibility</p:attrName>
                                        </p:attrNameLst>
                                      </p:cBhvr>
                                      <p:to>
                                        <p:strVal val="visible"/>
                                      </p:to>
                                    </p:set>
                                    <p:anim calcmode="lin" valueType="num">
                                      <p:cBhvr additive="base">
                                        <p:cTn dur="500" fill="hold" id="108"/>
                                        <p:tgtEl>
                                          <p:spTgt spid="60"/>
                                        </p:tgtEl>
                                        <p:attrNameLst>
                                          <p:attrName>ppt_x</p:attrName>
                                        </p:attrNameLst>
                                      </p:cBhvr>
                                      <p:tavLst>
                                        <p:tav tm="0">
                                          <p:val>
                                            <p:strVal val="1+#ppt_w/2"/>
                                          </p:val>
                                        </p:tav>
                                        <p:tav tm="100000">
                                          <p:val>
                                            <p:strVal val="#ppt_x"/>
                                          </p:val>
                                        </p:tav>
                                      </p:tavLst>
                                    </p:anim>
                                    <p:anim calcmode="lin" valueType="num">
                                      <p:cBhvr additive="base">
                                        <p:cTn dur="500" fill="hold" id="109"/>
                                        <p:tgtEl>
                                          <p:spTgt spid="60"/>
                                        </p:tgtEl>
                                        <p:attrNameLst>
                                          <p:attrName>ppt_y</p:attrName>
                                        </p:attrNameLst>
                                      </p:cBhvr>
                                      <p:tavLst>
                                        <p:tav tm="0">
                                          <p:val>
                                            <p:strVal val="0-#ppt_h/2"/>
                                          </p:val>
                                        </p:tav>
                                        <p:tav tm="100000">
                                          <p:val>
                                            <p:strVal val="#ppt_y"/>
                                          </p:val>
                                        </p:tav>
                                      </p:tavLst>
                                    </p:anim>
                                  </p:childTnLst>
                                </p:cTn>
                              </p:par>
                            </p:childTnLst>
                          </p:cTn>
                        </p:par>
                        <p:par>
                          <p:cTn fill="hold" id="110" nodeType="afterGroup">
                            <p:stCondLst>
                              <p:cond delay="5250"/>
                            </p:stCondLst>
                            <p:childTnLst>
                              <p:par>
                                <p:cTn fill="hold" grpId="0" id="111" nodeType="afterEffect" presetClass="entr" presetID="14" presetSubtype="10">
                                  <p:stCondLst>
                                    <p:cond delay="0"/>
                                  </p:stCondLst>
                                  <p:childTnLst>
                                    <p:set>
                                      <p:cBhvr>
                                        <p:cTn dur="1" fill="hold" id="112">
                                          <p:stCondLst>
                                            <p:cond delay="0"/>
                                          </p:stCondLst>
                                        </p:cTn>
                                        <p:tgtEl>
                                          <p:spTgt spid="64"/>
                                        </p:tgtEl>
                                        <p:attrNameLst>
                                          <p:attrName>style.visibility</p:attrName>
                                        </p:attrNameLst>
                                      </p:cBhvr>
                                      <p:to>
                                        <p:strVal val="visible"/>
                                      </p:to>
                                    </p:set>
                                    <p:animEffect filter="randombar(horizontal)" transition="in">
                                      <p:cBhvr>
                                        <p:cTn dur="500" id="113"/>
                                        <p:tgtEl>
                                          <p:spTgt spid="64"/>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10"/>
      <p:bldP grpId="0" spid="17"/>
      <p:bldP grpId="0" spid="19"/>
      <p:bldP grpId="0" spid="23"/>
      <p:bldP grpId="0" spid="24"/>
      <p:bldP grpId="0" spid="34"/>
      <p:bldP grpId="0" spid="35"/>
      <p:bldP grpId="0" spid="55"/>
      <p:bldP grpId="0" spid="56"/>
      <p:bldP grpId="0" spid="3"/>
      <p:bldP grpId="0" spid="57"/>
      <p:bldP grpId="0" spid="58"/>
      <p:bldP grpId="0" spid="59"/>
      <p:bldP grpId="0" spid="60"/>
      <p:bldP grpId="0" spid="61"/>
      <p:bldP grpId="0" spid="62"/>
      <p:bldP grpId="0" spid="63"/>
      <p:bldP grpId="0" spid="64"/>
    </p:bldLst>
  </p:timing>
</p:sld>
</file>

<file path=ppt/slides/slide21.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7" name="椭圆 6">
            <a:extLst>
              <a:ext uri="{FF2B5EF4-FFF2-40B4-BE49-F238E27FC236}">
                <a16:creationId xmlns:a16="http://schemas.microsoft.com/office/drawing/2014/main" id="{97F35CCF-B1AD-40AD-9D77-E1886CA3C847}"/>
              </a:ext>
            </a:extLst>
          </p:cNvPr>
          <p:cNvSpPr/>
          <p:nvPr/>
        </p:nvSpPr>
        <p:spPr>
          <a:xfrm>
            <a:off x="11325281" y="5957455"/>
            <a:ext cx="1193212" cy="1193212"/>
          </a:xfrm>
          <a:prstGeom prst="ellipse">
            <a:avLst/>
          </a:prstGeom>
          <a:solidFill>
            <a:srgbClr val="A0CBD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10" name="文本框 9">
            <a:extLst>
              <a:ext uri="{FF2B5EF4-FFF2-40B4-BE49-F238E27FC236}">
                <a16:creationId xmlns:a16="http://schemas.microsoft.com/office/drawing/2014/main" id="{3EF1E9ED-80AB-4909-8BA5-A43F4FCE2334}"/>
              </a:ext>
            </a:extLst>
          </p:cNvPr>
          <p:cNvSpPr txBox="1"/>
          <p:nvPr/>
        </p:nvSpPr>
        <p:spPr>
          <a:xfrm>
            <a:off x="4133850" y="390618"/>
            <a:ext cx="3924300" cy="640080"/>
          </a:xfrm>
          <a:prstGeom prst="rect">
            <a:avLst/>
          </a:prstGeom>
          <a:noFill/>
        </p:spPr>
        <p:txBody>
          <a:bodyPr rtlCol="0" wrap="square">
            <a:spAutoFit/>
          </a:bodyPr>
          <a:lstStyle/>
          <a:p>
            <a:pPr algn="ctr"/>
            <a:r>
              <a:rPr altLang="en-US" lang="zh-CN" sz="3600">
                <a:solidFill>
                  <a:schemeClr val="tx1">
                    <a:lumMod val="85000"/>
                    <a:lumOff val="15000"/>
                  </a:schemeClr>
                </a:solidFill>
                <a:latin charset="-122" panose="02000500000000000000" pitchFamily="2" typeface="方正雅士黑 简"/>
                <a:ea charset="-122" panose="02000500000000000000" pitchFamily="2" typeface="方正雅士黑 简"/>
              </a:rPr>
              <a:t>未来工作计划</a:t>
            </a:r>
          </a:p>
        </p:txBody>
      </p:sp>
      <p:cxnSp>
        <p:nvCxnSpPr>
          <p:cNvPr id="13" name="直接连接符 12">
            <a:extLst>
              <a:ext uri="{FF2B5EF4-FFF2-40B4-BE49-F238E27FC236}">
                <a16:creationId xmlns:a16="http://schemas.microsoft.com/office/drawing/2014/main" id="{63C006F1-C17E-4B5D-A667-14B1AFD009FE}"/>
              </a:ext>
            </a:extLst>
          </p:cNvPr>
          <p:cNvCxnSpPr/>
          <p:nvPr/>
        </p:nvCxnSpPr>
        <p:spPr>
          <a:xfrm>
            <a:off x="7791452" y="683005"/>
            <a:ext cx="571498" cy="0"/>
          </a:xfrm>
          <a:prstGeom prst="line">
            <a:avLst/>
          </a:prstGeom>
          <a:ln cap="rnd" w="19050">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pic>
        <p:nvPicPr>
          <p:cNvPr id="15" name="图形 14">
            <a:extLst>
              <a:ext uri="{FF2B5EF4-FFF2-40B4-BE49-F238E27FC236}">
                <a16:creationId xmlns:a16="http://schemas.microsoft.com/office/drawing/2014/main" id="{D0B6809A-9193-440B-AB59-9B5857A764E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314825" y="597280"/>
            <a:ext cx="171450" cy="171450"/>
          </a:xfrm>
          <a:prstGeom prst="rect">
            <a:avLst/>
          </a:prstGeom>
        </p:spPr>
      </p:pic>
      <p:pic>
        <p:nvPicPr>
          <p:cNvPr id="16" name="图形 15">
            <a:extLst>
              <a:ext uri="{FF2B5EF4-FFF2-40B4-BE49-F238E27FC236}">
                <a16:creationId xmlns:a16="http://schemas.microsoft.com/office/drawing/2014/main" id="{1508760C-4270-4AAF-AD1C-A51CD87667C3}"/>
              </a:ext>
            </a:extLst>
          </p:cNvPr>
          <p:cNvPicPr>
            <a:picLocks noChangeAspect="1"/>
          </p:cNvPicPr>
          <p:nvPr/>
        </p:nvPicPr>
        <p:blipFill>
          <a:blip r:embed="rId3">
            <a:extLst>
              <a:ext uri="{96DAC541-7B7A-43D3-8B79-37D633B846F1}">
                <asvg:svgBlip xmlns:asvg="http://schemas.microsoft.com/office/drawing/2016/SVG/main" r:embed="rId5"/>
              </a:ext>
            </a:extLst>
          </a:blip>
          <a:stretch>
            <a:fillRect/>
          </a:stretch>
        </p:blipFill>
        <p:spPr>
          <a:xfrm>
            <a:off x="7705727" y="597280"/>
            <a:ext cx="171450" cy="171450"/>
          </a:xfrm>
          <a:prstGeom prst="rect">
            <a:avLst/>
          </a:prstGeom>
        </p:spPr>
      </p:pic>
      <p:cxnSp>
        <p:nvCxnSpPr>
          <p:cNvPr id="18" name="直接连接符 17">
            <a:extLst>
              <a:ext uri="{FF2B5EF4-FFF2-40B4-BE49-F238E27FC236}">
                <a16:creationId xmlns:a16="http://schemas.microsoft.com/office/drawing/2014/main" id="{D59B9B17-AB83-41D0-BA0B-C09A6571714C}"/>
              </a:ext>
            </a:extLst>
          </p:cNvPr>
          <p:cNvCxnSpPr/>
          <p:nvPr/>
        </p:nvCxnSpPr>
        <p:spPr>
          <a:xfrm>
            <a:off x="3829052" y="683005"/>
            <a:ext cx="571498" cy="0"/>
          </a:xfrm>
          <a:prstGeom prst="line">
            <a:avLst/>
          </a:prstGeom>
          <a:ln cap="rnd" w="19050">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pic>
        <p:nvPicPr>
          <p:cNvPr id="11" name="图形 10">
            <a:extLst>
              <a:ext uri="{FF2B5EF4-FFF2-40B4-BE49-F238E27FC236}">
                <a16:creationId xmlns:a16="http://schemas.microsoft.com/office/drawing/2014/main" id="{E1E887FF-8850-4D33-8F22-CAEB6902B244}"/>
              </a:ext>
            </a:extLst>
          </p:cNvPr>
          <p:cNvPicPr>
            <a:picLocks noChangeAspect="1"/>
          </p:cNvPicPr>
          <p:nvPr/>
        </p:nvPicPr>
        <p:blipFill>
          <a:blip r:embed="rId6">
            <a:extLst>
              <a:ext uri="{96DAC541-7B7A-43D3-8B79-37D633B846F1}">
                <asvg:svgBlip xmlns:asvg="http://schemas.microsoft.com/office/drawing/2016/SVG/main" r:embed="rId7"/>
              </a:ext>
            </a:extLst>
          </a:blip>
          <a:srcRect b="5670" l="19172" r="22017" t="1040"/>
          <a:stretch>
            <a:fillRect/>
          </a:stretch>
        </p:blipFill>
        <p:spPr>
          <a:xfrm>
            <a:off x="11287125" y="5671165"/>
            <a:ext cx="742156" cy="976539"/>
          </a:xfrm>
          <a:custGeom>
            <a:rect b="b" l="l" r="r" t="t"/>
            <a:pathLst>
              <a:path h="1297335" w="1036327">
                <a:moveTo>
                  <a:pt x="507467" y="0"/>
                </a:moveTo>
                <a:cubicBezTo>
                  <a:pt x="671202" y="0"/>
                  <a:pt x="789583" y="30522"/>
                  <a:pt x="862608" y="91567"/>
                </a:cubicBezTo>
                <a:cubicBezTo>
                  <a:pt x="935633" y="152611"/>
                  <a:pt x="972145" y="229345"/>
                  <a:pt x="972145" y="321767"/>
                </a:cubicBezTo>
                <a:cubicBezTo>
                  <a:pt x="972145" y="375965"/>
                  <a:pt x="957312" y="425029"/>
                  <a:pt x="927646" y="468958"/>
                </a:cubicBezTo>
                <a:cubicBezTo>
                  <a:pt x="897979" y="512887"/>
                  <a:pt x="853194" y="551396"/>
                  <a:pt x="793291" y="584486"/>
                </a:cubicBezTo>
                <a:cubicBezTo>
                  <a:pt x="841784" y="596466"/>
                  <a:pt x="878867" y="610444"/>
                  <a:pt x="904540" y="626418"/>
                </a:cubicBezTo>
                <a:cubicBezTo>
                  <a:pt x="946187" y="652091"/>
                  <a:pt x="978564" y="685894"/>
                  <a:pt x="1001669" y="727826"/>
                </a:cubicBezTo>
                <a:cubicBezTo>
                  <a:pt x="1024775" y="769758"/>
                  <a:pt x="1036328" y="819820"/>
                  <a:pt x="1036328" y="878012"/>
                </a:cubicBezTo>
                <a:cubicBezTo>
                  <a:pt x="1036328" y="951037"/>
                  <a:pt x="1017215" y="1021067"/>
                  <a:pt x="978991" y="1088102"/>
                </a:cubicBezTo>
                <a:cubicBezTo>
                  <a:pt x="940767" y="1155136"/>
                  <a:pt x="885713" y="1206767"/>
                  <a:pt x="813829" y="1242994"/>
                </a:cubicBezTo>
                <a:cubicBezTo>
                  <a:pt x="741945" y="1279222"/>
                  <a:pt x="647526" y="1297335"/>
                  <a:pt x="530572" y="1297335"/>
                </a:cubicBezTo>
                <a:cubicBezTo>
                  <a:pt x="416471" y="1297335"/>
                  <a:pt x="326473" y="1283928"/>
                  <a:pt x="260580" y="1257114"/>
                </a:cubicBezTo>
                <a:cubicBezTo>
                  <a:pt x="194686" y="1230301"/>
                  <a:pt x="140488" y="1191078"/>
                  <a:pt x="97985" y="1139447"/>
                </a:cubicBezTo>
                <a:cubicBezTo>
                  <a:pt x="55482" y="1087816"/>
                  <a:pt x="22820" y="1022921"/>
                  <a:pt x="0" y="944761"/>
                </a:cubicBezTo>
                <a:lnTo>
                  <a:pt x="348295" y="898550"/>
                </a:lnTo>
                <a:cubicBezTo>
                  <a:pt x="361987" y="968723"/>
                  <a:pt x="383239" y="1017359"/>
                  <a:pt x="412049" y="1044458"/>
                </a:cubicBezTo>
                <a:cubicBezTo>
                  <a:pt x="440860" y="1071557"/>
                  <a:pt x="477515" y="1085106"/>
                  <a:pt x="522015" y="1085106"/>
                </a:cubicBezTo>
                <a:cubicBezTo>
                  <a:pt x="568796" y="1085106"/>
                  <a:pt x="607734" y="1067991"/>
                  <a:pt x="638826" y="1033761"/>
                </a:cubicBezTo>
                <a:cubicBezTo>
                  <a:pt x="669919" y="999530"/>
                  <a:pt x="685465" y="953890"/>
                  <a:pt x="685465" y="896839"/>
                </a:cubicBezTo>
                <a:cubicBezTo>
                  <a:pt x="685465" y="838647"/>
                  <a:pt x="670489" y="793577"/>
                  <a:pt x="640538" y="761628"/>
                </a:cubicBezTo>
                <a:cubicBezTo>
                  <a:pt x="610586" y="729680"/>
                  <a:pt x="569937" y="713706"/>
                  <a:pt x="518592" y="713706"/>
                </a:cubicBezTo>
                <a:cubicBezTo>
                  <a:pt x="491207" y="713706"/>
                  <a:pt x="453554" y="720552"/>
                  <a:pt x="405631" y="734244"/>
                </a:cubicBezTo>
                <a:lnTo>
                  <a:pt x="423602" y="485217"/>
                </a:lnTo>
                <a:cubicBezTo>
                  <a:pt x="442999" y="488070"/>
                  <a:pt x="458118" y="489496"/>
                  <a:pt x="468957" y="489496"/>
                </a:cubicBezTo>
                <a:cubicBezTo>
                  <a:pt x="514598" y="489496"/>
                  <a:pt x="552679" y="474948"/>
                  <a:pt x="583202" y="445852"/>
                </a:cubicBezTo>
                <a:cubicBezTo>
                  <a:pt x="613724" y="416756"/>
                  <a:pt x="628985" y="382241"/>
                  <a:pt x="628985" y="342305"/>
                </a:cubicBezTo>
                <a:cubicBezTo>
                  <a:pt x="628985" y="304081"/>
                  <a:pt x="617575" y="273559"/>
                  <a:pt x="594754" y="250739"/>
                </a:cubicBezTo>
                <a:cubicBezTo>
                  <a:pt x="571934" y="227918"/>
                  <a:pt x="540556" y="216508"/>
                  <a:pt x="500621" y="216508"/>
                </a:cubicBezTo>
                <a:cubicBezTo>
                  <a:pt x="459544" y="216508"/>
                  <a:pt x="426169" y="228917"/>
                  <a:pt x="400497" y="253734"/>
                </a:cubicBezTo>
                <a:cubicBezTo>
                  <a:pt x="374824" y="278551"/>
                  <a:pt x="357423" y="322052"/>
                  <a:pt x="348295" y="384237"/>
                </a:cubicBezTo>
                <a:lnTo>
                  <a:pt x="18827" y="325190"/>
                </a:lnTo>
                <a:cubicBezTo>
                  <a:pt x="46211" y="220216"/>
                  <a:pt x="98841" y="139775"/>
                  <a:pt x="176715" y="83865"/>
                </a:cubicBezTo>
                <a:cubicBezTo>
                  <a:pt x="254589" y="27955"/>
                  <a:pt x="364840" y="0"/>
                  <a:pt x="507467" y="0"/>
                </a:cubicBezTo>
                <a:close/>
              </a:path>
            </a:pathLst>
          </a:custGeom>
        </p:spPr>
      </p:pic>
      <p:sp>
        <p:nvSpPr>
          <p:cNvPr id="80" name="Arc 39">
            <a:extLst>
              <a:ext uri="{FF2B5EF4-FFF2-40B4-BE49-F238E27FC236}">
                <a16:creationId xmlns:a16="http://schemas.microsoft.com/office/drawing/2014/main" id="{B5C85130-EEE2-41EB-9C29-06D8E8A86D3F}"/>
              </a:ext>
            </a:extLst>
          </p:cNvPr>
          <p:cNvSpPr/>
          <p:nvPr/>
        </p:nvSpPr>
        <p:spPr>
          <a:xfrm>
            <a:off x="4931408" y="2538984"/>
            <a:ext cx="2296706" cy="2296706"/>
          </a:xfrm>
          <a:prstGeom prst="arc">
            <a:avLst>
              <a:gd fmla="val 7846411" name="adj1"/>
              <a:gd fmla="val 7144191" name="adj2"/>
            </a:avLst>
          </a:prstGeom>
          <a:solidFill>
            <a:schemeClr val="bg1"/>
          </a:solidFill>
          <a:ln w="19050">
            <a:solidFill>
              <a:schemeClr val="bg1">
                <a:lumMod val="75000"/>
              </a:schemeClr>
            </a:solidFill>
            <a:headEnd len="med" type="oval" w="med"/>
            <a:tailEnd len="med" type="oval" w="med"/>
          </a:ln>
        </p:spPr>
        <p:style>
          <a:lnRef idx="1">
            <a:schemeClr val="accent1"/>
          </a:lnRef>
          <a:fillRef idx="0">
            <a:schemeClr val="accent1"/>
          </a:fillRef>
          <a:effectRef idx="0">
            <a:schemeClr val="accent1"/>
          </a:effectRef>
          <a:fontRef idx="minor">
            <a:schemeClr val="tx1"/>
          </a:fontRef>
        </p:style>
        <p:txBody>
          <a:bodyPr anchor="ctr" rtlCol="0"/>
          <a:lstStyle/>
          <a:p>
            <a:pPr defTabSz="914332"/>
            <a:endParaRPr lang="en-US" sz="3200">
              <a:solidFill>
                <a:prstClr val="black"/>
              </a:solidFill>
              <a:latin charset="-122" panose="020b0800000000000000" pitchFamily="34" typeface="思源黑体 CN Bold"/>
              <a:ea charset="-122" panose="020b0800000000000000" pitchFamily="34" typeface="思源黑体 CN Bold"/>
            </a:endParaRPr>
          </a:p>
        </p:txBody>
      </p:sp>
      <p:sp>
        <p:nvSpPr>
          <p:cNvPr id="81" name="Arc 33">
            <a:extLst>
              <a:ext uri="{FF2B5EF4-FFF2-40B4-BE49-F238E27FC236}">
                <a16:creationId xmlns:a16="http://schemas.microsoft.com/office/drawing/2014/main" id="{5D74BA8D-54A3-4FBA-9FA6-51AA20D2892A}"/>
              </a:ext>
            </a:extLst>
          </p:cNvPr>
          <p:cNvSpPr/>
          <p:nvPr/>
        </p:nvSpPr>
        <p:spPr>
          <a:xfrm>
            <a:off x="4931408" y="2538984"/>
            <a:ext cx="2296706" cy="2296706"/>
          </a:xfrm>
          <a:prstGeom prst="arc">
            <a:avLst>
              <a:gd fmla="val 7851395" name="adj1"/>
              <a:gd fmla="val 20275563" name="adj2"/>
            </a:avLst>
          </a:prstGeom>
          <a:ln cap="rnd" w="76200">
            <a:gradFill>
              <a:gsLst>
                <a:gs pos="0">
                  <a:schemeClr val="tx1">
                    <a:lumMod val="75000"/>
                    <a:lumOff val="25000"/>
                  </a:schemeClr>
                </a:gs>
                <a:gs pos="100000">
                  <a:schemeClr val="bg1">
                    <a:lumMod val="85000"/>
                  </a:schemeClr>
                </a:gs>
              </a:gsLst>
              <a:lin ang="5400000" scaled="1"/>
            </a:gradFill>
            <a:round/>
            <a:headEnd len="med" type="none" w="med"/>
            <a:tailEnd len="med" type="none" w="med"/>
          </a:ln>
        </p:spPr>
        <p:style>
          <a:lnRef idx="1">
            <a:schemeClr val="accent1"/>
          </a:lnRef>
          <a:fillRef idx="0">
            <a:schemeClr val="accent1"/>
          </a:fillRef>
          <a:effectRef idx="0">
            <a:schemeClr val="accent1"/>
          </a:effectRef>
          <a:fontRef idx="minor">
            <a:schemeClr val="tx1"/>
          </a:fontRef>
        </p:style>
        <p:txBody>
          <a:bodyPr anchor="ctr" rtlCol="0"/>
          <a:lstStyle/>
          <a:p>
            <a:pPr defTabSz="914332"/>
            <a:endParaRPr lang="en-US" sz="3200">
              <a:solidFill>
                <a:prstClr val="black"/>
              </a:solidFill>
              <a:latin panose="020f0502020204030204" typeface="Calibri"/>
            </a:endParaRPr>
          </a:p>
        </p:txBody>
      </p:sp>
      <p:grpSp>
        <p:nvGrpSpPr>
          <p:cNvPr id="82" name="Group 2">
            <a:extLst>
              <a:ext uri="{FF2B5EF4-FFF2-40B4-BE49-F238E27FC236}">
                <a16:creationId xmlns:a16="http://schemas.microsoft.com/office/drawing/2014/main" id="{330FDC8B-E75C-4DD7-9087-E30CD19AE0A2}"/>
              </a:ext>
            </a:extLst>
          </p:cNvPr>
          <p:cNvGrpSpPr/>
          <p:nvPr/>
        </p:nvGrpSpPr>
        <p:grpSpPr>
          <a:xfrm>
            <a:off x="3735432" y="2023826"/>
            <a:ext cx="949340" cy="818397"/>
            <a:chOff x="3411626" y="2333314"/>
            <a:chExt cx="949340" cy="818397"/>
          </a:xfrm>
        </p:grpSpPr>
        <p:sp>
          <p:nvSpPr>
            <p:cNvPr id="83" name="Hexagon 7">
              <a:extLst>
                <a:ext uri="{FF2B5EF4-FFF2-40B4-BE49-F238E27FC236}">
                  <a16:creationId xmlns:a16="http://schemas.microsoft.com/office/drawing/2014/main" id="{45FC5ADD-F640-4FD8-AA67-6B66AB330CA6}"/>
                </a:ext>
              </a:extLst>
            </p:cNvPr>
            <p:cNvSpPr/>
            <p:nvPr/>
          </p:nvSpPr>
          <p:spPr>
            <a:xfrm>
              <a:off x="3411626" y="2333314"/>
              <a:ext cx="949340" cy="818397"/>
            </a:xfrm>
            <a:prstGeom prst="hexagon">
              <a:avLst/>
            </a:prstGeom>
            <a:solidFill>
              <a:srgbClr val="FF626C"/>
            </a:solidFill>
            <a:ln w="12700">
              <a:noFill/>
              <a:headEnd len="med" type="oval" w="med"/>
              <a:tailEnd len="med" type="oval" w="med"/>
            </a:ln>
            <a:effectLst>
              <a:outerShdw algn="bl" blurRad="76200" dir="18900000" kx="-1200000" rotWithShape="0" sy="23000">
                <a:prstClr val="black">
                  <a:alpha val="20000"/>
                </a:prstClr>
              </a:outerShdw>
            </a:effectLst>
          </p:spPr>
          <p:style>
            <a:lnRef idx="1">
              <a:schemeClr val="accent1"/>
            </a:lnRef>
            <a:fillRef idx="0">
              <a:schemeClr val="accent1"/>
            </a:fillRef>
            <a:effectRef idx="0">
              <a:schemeClr val="accent1"/>
            </a:effectRef>
            <a:fontRef idx="minor">
              <a:schemeClr val="tx1"/>
            </a:fontRef>
          </p:style>
          <p:txBody>
            <a:bodyPr anchor="ctr" rtlCol="0"/>
            <a:lstStyle/>
            <a:p>
              <a:pPr defTabSz="914332"/>
              <a:endParaRPr lang="en-US" sz="3200">
                <a:solidFill>
                  <a:schemeClr val="bg1"/>
                </a:solidFill>
                <a:latin charset="-122" panose="020b0800000000000000" pitchFamily="34" typeface="思源黑体 CN Bold"/>
                <a:ea charset="-122" panose="020b0800000000000000" pitchFamily="34" typeface="思源黑体 CN Bold"/>
              </a:endParaRPr>
            </a:p>
          </p:txBody>
        </p:sp>
        <p:sp>
          <p:nvSpPr>
            <p:cNvPr id="84" name="Rectangle 46">
              <a:extLst>
                <a:ext uri="{FF2B5EF4-FFF2-40B4-BE49-F238E27FC236}">
                  <a16:creationId xmlns:a16="http://schemas.microsoft.com/office/drawing/2014/main" id="{70B66019-4E8F-470B-B2DA-CCEF28C6F288}"/>
                </a:ext>
              </a:extLst>
            </p:cNvPr>
            <p:cNvSpPr/>
            <p:nvPr>
              <p:custDataLst>
                <p:tags r:id="rId8"/>
              </p:custDataLst>
            </p:nvPr>
          </p:nvSpPr>
          <p:spPr>
            <a:xfrm>
              <a:off x="3427024" y="2446588"/>
              <a:ext cx="847763" cy="56644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defTabSz="914332"/>
              <a:r>
                <a:rPr b="1" lang="en-US" spc="-151" sz="3200">
                  <a:solidFill>
                    <a:schemeClr val="bg1"/>
                  </a:solidFill>
                  <a:latin charset="-122" panose="020b0800000000000000" pitchFamily="34" typeface="思源黑体 CN Bold"/>
                  <a:ea charset="-122" panose="020b0800000000000000" pitchFamily="34" typeface="思源黑体 CN Bold"/>
                  <a:cs charset="0" panose="020b0706030804020204" pitchFamily="34" typeface="Open Sans Semibold"/>
                </a:rPr>
                <a:t>65%</a:t>
              </a:r>
            </a:p>
          </p:txBody>
        </p:sp>
      </p:grpSp>
      <p:grpSp>
        <p:nvGrpSpPr>
          <p:cNvPr id="85" name="Group 4">
            <a:extLst>
              <a:ext uri="{FF2B5EF4-FFF2-40B4-BE49-F238E27FC236}">
                <a16:creationId xmlns:a16="http://schemas.microsoft.com/office/drawing/2014/main" id="{ADD9DAD0-98E6-4439-A84B-F4256E5FB735}"/>
              </a:ext>
            </a:extLst>
          </p:cNvPr>
          <p:cNvGrpSpPr/>
          <p:nvPr/>
        </p:nvGrpSpPr>
        <p:grpSpPr>
          <a:xfrm>
            <a:off x="3735432" y="4176718"/>
            <a:ext cx="949340" cy="818397"/>
            <a:chOff x="3411626" y="4486206"/>
            <a:chExt cx="949340" cy="818397"/>
          </a:xfrm>
        </p:grpSpPr>
        <p:sp>
          <p:nvSpPr>
            <p:cNvPr id="86" name="Hexagon 43">
              <a:extLst>
                <a:ext uri="{FF2B5EF4-FFF2-40B4-BE49-F238E27FC236}">
                  <a16:creationId xmlns:a16="http://schemas.microsoft.com/office/drawing/2014/main" id="{6EE7D818-59DA-4955-99C7-2AECA16576C3}"/>
                </a:ext>
              </a:extLst>
            </p:cNvPr>
            <p:cNvSpPr/>
            <p:nvPr/>
          </p:nvSpPr>
          <p:spPr>
            <a:xfrm>
              <a:off x="3411626" y="4486206"/>
              <a:ext cx="949340" cy="818397"/>
            </a:xfrm>
            <a:prstGeom prst="hexagon">
              <a:avLst/>
            </a:prstGeom>
            <a:solidFill>
              <a:srgbClr val="60A8AF"/>
            </a:solidFill>
            <a:ln w="12700">
              <a:solidFill>
                <a:schemeClr val="bg1">
                  <a:lumMod val="75000"/>
                </a:schemeClr>
              </a:solidFill>
              <a:headEnd len="med" type="oval" w="med"/>
              <a:tailEnd len="med" type="oval" w="med"/>
            </a:ln>
            <a:effectLst>
              <a:outerShdw algn="bl" blurRad="76200" dir="18900000" kx="-1200000" rotWithShape="0" sy="23000">
                <a:prstClr val="black">
                  <a:alpha val="20000"/>
                </a:prstClr>
              </a:outerShdw>
            </a:effectLst>
          </p:spPr>
          <p:style>
            <a:lnRef idx="1">
              <a:schemeClr val="accent1"/>
            </a:lnRef>
            <a:fillRef idx="0">
              <a:schemeClr val="accent1"/>
            </a:fillRef>
            <a:effectRef idx="0">
              <a:schemeClr val="accent1"/>
            </a:effectRef>
            <a:fontRef idx="minor">
              <a:schemeClr val="tx1"/>
            </a:fontRef>
          </p:style>
          <p:txBody>
            <a:bodyPr anchor="ctr" rtlCol="0"/>
            <a:lstStyle/>
            <a:p>
              <a:pPr defTabSz="914332"/>
              <a:endParaRPr lang="en-US" sz="3200">
                <a:solidFill>
                  <a:schemeClr val="bg1"/>
                </a:solidFill>
                <a:latin charset="-122" panose="020b0800000000000000" pitchFamily="34" typeface="思源黑体 CN Bold"/>
                <a:ea charset="-122" panose="020b0800000000000000" pitchFamily="34" typeface="思源黑体 CN Bold"/>
              </a:endParaRPr>
            </a:p>
          </p:txBody>
        </p:sp>
        <p:sp>
          <p:nvSpPr>
            <p:cNvPr id="87" name="Rectangle 48">
              <a:extLst>
                <a:ext uri="{FF2B5EF4-FFF2-40B4-BE49-F238E27FC236}">
                  <a16:creationId xmlns:a16="http://schemas.microsoft.com/office/drawing/2014/main" id="{927C1A0B-F16E-4113-83EB-3C0F135F01A0}"/>
                </a:ext>
              </a:extLst>
            </p:cNvPr>
            <p:cNvSpPr/>
            <p:nvPr>
              <p:custDataLst>
                <p:tags r:id="rId9"/>
              </p:custDataLst>
            </p:nvPr>
          </p:nvSpPr>
          <p:spPr>
            <a:xfrm>
              <a:off x="3452424" y="4599480"/>
              <a:ext cx="847763" cy="56644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defTabSz="914332"/>
              <a:r>
                <a:rPr b="1" lang="en-US" spc="-151" sz="3200">
                  <a:solidFill>
                    <a:schemeClr val="bg1"/>
                  </a:solidFill>
                  <a:latin charset="-122" panose="020b0800000000000000" pitchFamily="34" typeface="思源黑体 CN Bold"/>
                  <a:ea charset="-122" panose="020b0800000000000000" pitchFamily="34" typeface="思源黑体 CN Bold"/>
                  <a:cs charset="0" panose="020b0706030804020204" pitchFamily="34" typeface="Open Sans Semibold"/>
                </a:rPr>
                <a:t>86%</a:t>
              </a:r>
            </a:p>
          </p:txBody>
        </p:sp>
      </p:grpSp>
      <p:grpSp>
        <p:nvGrpSpPr>
          <p:cNvPr id="88" name="Group 6">
            <a:extLst>
              <a:ext uri="{FF2B5EF4-FFF2-40B4-BE49-F238E27FC236}">
                <a16:creationId xmlns:a16="http://schemas.microsoft.com/office/drawing/2014/main" id="{CCD51E9A-5694-4DFA-AFB3-87445978F6FA}"/>
              </a:ext>
            </a:extLst>
          </p:cNvPr>
          <p:cNvGrpSpPr/>
          <p:nvPr/>
        </p:nvGrpSpPr>
        <p:grpSpPr>
          <a:xfrm>
            <a:off x="7474662" y="2023826"/>
            <a:ext cx="949340" cy="818397"/>
            <a:chOff x="7798551" y="2333314"/>
            <a:chExt cx="949340" cy="818397"/>
          </a:xfrm>
        </p:grpSpPr>
        <p:sp>
          <p:nvSpPr>
            <p:cNvPr id="89" name="Hexagon 44">
              <a:extLst>
                <a:ext uri="{FF2B5EF4-FFF2-40B4-BE49-F238E27FC236}">
                  <a16:creationId xmlns:a16="http://schemas.microsoft.com/office/drawing/2014/main" id="{8956151D-4678-4C65-92A1-03D44358CD2B}"/>
                </a:ext>
              </a:extLst>
            </p:cNvPr>
            <p:cNvSpPr/>
            <p:nvPr/>
          </p:nvSpPr>
          <p:spPr>
            <a:xfrm>
              <a:off x="7798551" y="2333314"/>
              <a:ext cx="949340" cy="818397"/>
            </a:xfrm>
            <a:prstGeom prst="hexagon">
              <a:avLst/>
            </a:prstGeom>
            <a:solidFill>
              <a:srgbClr val="00456B"/>
            </a:solidFill>
            <a:ln w="12700">
              <a:solidFill>
                <a:schemeClr val="bg1">
                  <a:lumMod val="75000"/>
                </a:schemeClr>
              </a:solidFill>
              <a:headEnd len="med" type="oval" w="med"/>
              <a:tailEnd len="med" type="oval" w="med"/>
            </a:ln>
            <a:effectLst>
              <a:outerShdw algn="bl" blurRad="76200" dir="18900000" kx="-1200000" rotWithShape="0" sy="23000">
                <a:prstClr val="black">
                  <a:alpha val="20000"/>
                </a:prstClr>
              </a:outerShdw>
            </a:effectLst>
          </p:spPr>
          <p:style>
            <a:lnRef idx="1">
              <a:schemeClr val="accent1"/>
            </a:lnRef>
            <a:fillRef idx="0">
              <a:schemeClr val="accent1"/>
            </a:fillRef>
            <a:effectRef idx="0">
              <a:schemeClr val="accent1"/>
            </a:effectRef>
            <a:fontRef idx="minor">
              <a:schemeClr val="tx1"/>
            </a:fontRef>
          </p:style>
          <p:txBody>
            <a:bodyPr anchor="ctr" rtlCol="0"/>
            <a:lstStyle/>
            <a:p>
              <a:pPr defTabSz="914332"/>
              <a:endParaRPr lang="en-US" sz="3200">
                <a:solidFill>
                  <a:schemeClr val="bg1"/>
                </a:solidFill>
                <a:latin charset="-122" panose="020b0800000000000000" pitchFamily="34" typeface="思源黑体 CN Bold"/>
                <a:ea charset="-122" panose="020b0800000000000000" pitchFamily="34" typeface="思源黑体 CN Bold"/>
              </a:endParaRPr>
            </a:p>
          </p:txBody>
        </p:sp>
        <p:sp>
          <p:nvSpPr>
            <p:cNvPr id="90" name="Rectangle 49">
              <a:extLst>
                <a:ext uri="{FF2B5EF4-FFF2-40B4-BE49-F238E27FC236}">
                  <a16:creationId xmlns:a16="http://schemas.microsoft.com/office/drawing/2014/main" id="{B21E9460-901C-4ACF-9652-1607977DEE9C}"/>
                </a:ext>
              </a:extLst>
            </p:cNvPr>
            <p:cNvSpPr/>
            <p:nvPr>
              <p:custDataLst>
                <p:tags r:id="rId10"/>
              </p:custDataLst>
            </p:nvPr>
          </p:nvSpPr>
          <p:spPr>
            <a:xfrm>
              <a:off x="7858824" y="2446588"/>
              <a:ext cx="847763" cy="56644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defTabSz="914332"/>
              <a:r>
                <a:rPr b="1" lang="en-US" spc="-151" sz="3200">
                  <a:solidFill>
                    <a:schemeClr val="bg1"/>
                  </a:solidFill>
                  <a:latin charset="-122" panose="020b0800000000000000" pitchFamily="34" typeface="思源黑体 CN Bold"/>
                  <a:ea charset="-122" panose="020b0800000000000000" pitchFamily="34" typeface="思源黑体 CN Bold"/>
                  <a:cs charset="0" panose="020b0706030804020204" pitchFamily="34" typeface="Open Sans Semibold"/>
                </a:rPr>
                <a:t>80%</a:t>
              </a:r>
            </a:p>
          </p:txBody>
        </p:sp>
      </p:grpSp>
      <p:grpSp>
        <p:nvGrpSpPr>
          <p:cNvPr id="91" name="Group 8">
            <a:extLst>
              <a:ext uri="{FF2B5EF4-FFF2-40B4-BE49-F238E27FC236}">
                <a16:creationId xmlns:a16="http://schemas.microsoft.com/office/drawing/2014/main" id="{ECF51BB3-A93C-418E-96E0-9BFB2A6E9759}"/>
              </a:ext>
            </a:extLst>
          </p:cNvPr>
          <p:cNvGrpSpPr/>
          <p:nvPr/>
        </p:nvGrpSpPr>
        <p:grpSpPr>
          <a:xfrm>
            <a:off x="7474662" y="4176718"/>
            <a:ext cx="949340" cy="818397"/>
            <a:chOff x="7798551" y="4486206"/>
            <a:chExt cx="949340" cy="818397"/>
          </a:xfrm>
        </p:grpSpPr>
        <p:sp>
          <p:nvSpPr>
            <p:cNvPr id="92" name="Hexagon 45">
              <a:extLst>
                <a:ext uri="{FF2B5EF4-FFF2-40B4-BE49-F238E27FC236}">
                  <a16:creationId xmlns:a16="http://schemas.microsoft.com/office/drawing/2014/main" id="{F07FDD4F-E471-4D8E-97E3-B6341022C0BA}"/>
                </a:ext>
              </a:extLst>
            </p:cNvPr>
            <p:cNvSpPr/>
            <p:nvPr/>
          </p:nvSpPr>
          <p:spPr>
            <a:xfrm>
              <a:off x="7798551" y="4486206"/>
              <a:ext cx="949340" cy="818397"/>
            </a:xfrm>
            <a:prstGeom prst="hexagon">
              <a:avLst/>
            </a:prstGeom>
            <a:solidFill>
              <a:srgbClr val="FFC73E"/>
            </a:solidFill>
            <a:ln w="12700">
              <a:solidFill>
                <a:schemeClr val="bg1">
                  <a:lumMod val="75000"/>
                </a:schemeClr>
              </a:solidFill>
              <a:headEnd len="med" type="oval" w="med"/>
              <a:tailEnd len="med" type="oval" w="med"/>
            </a:ln>
            <a:effectLst>
              <a:outerShdw algn="bl" blurRad="76200" dir="18900000" kx="-1200000" rotWithShape="0" sy="23000">
                <a:prstClr val="black">
                  <a:alpha val="20000"/>
                </a:prstClr>
              </a:outerShdw>
            </a:effectLst>
          </p:spPr>
          <p:style>
            <a:lnRef idx="1">
              <a:schemeClr val="accent1"/>
            </a:lnRef>
            <a:fillRef idx="0">
              <a:schemeClr val="accent1"/>
            </a:fillRef>
            <a:effectRef idx="0">
              <a:schemeClr val="accent1"/>
            </a:effectRef>
            <a:fontRef idx="minor">
              <a:schemeClr val="tx1"/>
            </a:fontRef>
          </p:style>
          <p:txBody>
            <a:bodyPr anchor="ctr" rtlCol="0"/>
            <a:lstStyle/>
            <a:p>
              <a:pPr defTabSz="914332"/>
              <a:endParaRPr lang="en-US" sz="3200">
                <a:solidFill>
                  <a:schemeClr val="bg1"/>
                </a:solidFill>
                <a:latin charset="-122" panose="020b0800000000000000" pitchFamily="34" typeface="思源黑体 CN Bold"/>
                <a:ea charset="-122" panose="020b0800000000000000" pitchFamily="34" typeface="思源黑体 CN Bold"/>
              </a:endParaRPr>
            </a:p>
          </p:txBody>
        </p:sp>
        <p:sp>
          <p:nvSpPr>
            <p:cNvPr id="93" name="Rectangle 50">
              <a:extLst>
                <a:ext uri="{FF2B5EF4-FFF2-40B4-BE49-F238E27FC236}">
                  <a16:creationId xmlns:a16="http://schemas.microsoft.com/office/drawing/2014/main" id="{5CBC0368-D9F2-4523-91E7-E979E631DD2D}"/>
                </a:ext>
              </a:extLst>
            </p:cNvPr>
            <p:cNvSpPr/>
            <p:nvPr>
              <p:custDataLst>
                <p:tags r:id="rId11"/>
              </p:custDataLst>
            </p:nvPr>
          </p:nvSpPr>
          <p:spPr>
            <a:xfrm>
              <a:off x="7858824" y="4599480"/>
              <a:ext cx="847763" cy="56644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defTabSz="914332"/>
              <a:r>
                <a:rPr b="1" lang="en-US" spc="-151" sz="3200">
                  <a:solidFill>
                    <a:schemeClr val="bg1"/>
                  </a:solidFill>
                  <a:latin charset="-122" panose="020b0800000000000000" pitchFamily="34" typeface="思源黑体 CN Bold"/>
                  <a:ea charset="-122" panose="020b0800000000000000" pitchFamily="34" typeface="思源黑体 CN Bold"/>
                  <a:cs charset="0" panose="020b0706030804020204" pitchFamily="34" typeface="Open Sans Semibold"/>
                </a:rPr>
                <a:t>68%</a:t>
              </a:r>
            </a:p>
          </p:txBody>
        </p:sp>
      </p:grpSp>
      <p:grpSp>
        <p:nvGrpSpPr>
          <p:cNvPr id="94" name="Group 9">
            <a:extLst>
              <a:ext uri="{FF2B5EF4-FFF2-40B4-BE49-F238E27FC236}">
                <a16:creationId xmlns:a16="http://schemas.microsoft.com/office/drawing/2014/main" id="{AF399794-E981-4529-B4E7-0AED26F4BDFA}"/>
              </a:ext>
            </a:extLst>
          </p:cNvPr>
          <p:cNvGrpSpPr/>
          <p:nvPr/>
        </p:nvGrpSpPr>
        <p:grpSpPr>
          <a:xfrm>
            <a:off x="1170076" y="1955971"/>
            <a:ext cx="2294954" cy="1256300"/>
            <a:chOff x="737124" y="2265458"/>
            <a:chExt cx="2404101" cy="1256301"/>
          </a:xfrm>
        </p:grpSpPr>
        <p:sp>
          <p:nvSpPr>
            <p:cNvPr id="95" name="TextBox 56">
              <a:extLst>
                <a:ext uri="{FF2B5EF4-FFF2-40B4-BE49-F238E27FC236}">
                  <a16:creationId xmlns:a16="http://schemas.microsoft.com/office/drawing/2014/main" id="{BD46E653-EF37-46DB-8232-CB28966DF968}"/>
                </a:ext>
              </a:extLst>
            </p:cNvPr>
            <p:cNvSpPr txBox="1"/>
            <p:nvPr/>
          </p:nvSpPr>
          <p:spPr>
            <a:xfrm>
              <a:off x="1872143" y="2265458"/>
              <a:ext cx="1255898" cy="396240"/>
            </a:xfrm>
            <a:prstGeom prst="rect">
              <a:avLst/>
            </a:prstGeom>
            <a:noFill/>
          </p:spPr>
          <p:txBody>
            <a:bodyPr rtlCol="0" wrap="none">
              <a:spAutoFit/>
            </a:bodyPr>
            <a:lstStyle/>
            <a:p>
              <a:pPr algn="r" defTabSz="1219110"/>
              <a:r>
                <a:rPr altLang="en-US" b="1" lang="zh-CN" sz="2000">
                  <a:solidFill>
                    <a:schemeClr val="tx1">
                      <a:lumMod val="75000"/>
                      <a:lumOff val="25000"/>
                    </a:schemeClr>
                  </a:solidFill>
                  <a:latin panose="020f0502020204030204" typeface="等线"/>
                </a:rPr>
                <a:t>标题文本</a:t>
              </a:r>
            </a:p>
          </p:txBody>
        </p:sp>
        <p:sp>
          <p:nvSpPr>
            <p:cNvPr id="96" name="Rectangle 58">
              <a:extLst>
                <a:ext uri="{FF2B5EF4-FFF2-40B4-BE49-F238E27FC236}">
                  <a16:creationId xmlns:a16="http://schemas.microsoft.com/office/drawing/2014/main" id="{B0FD1D4C-06C0-4C28-BD0D-75ED96FC9B42}"/>
                </a:ext>
              </a:extLst>
            </p:cNvPr>
            <p:cNvSpPr/>
            <p:nvPr/>
          </p:nvSpPr>
          <p:spPr>
            <a:xfrm>
              <a:off x="737124" y="2626577"/>
              <a:ext cx="2404101" cy="914400"/>
            </a:xfrm>
            <a:prstGeom prst="rect">
              <a:avLst/>
            </a:prstGeom>
          </p:spPr>
          <p:txBody>
            <a:bodyPr wrap="square">
              <a:spAutoFit/>
            </a:bodyPr>
            <a:lstStyle/>
            <a:p>
              <a:pPr algn="r">
                <a:lnSpc>
                  <a:spcPct val="150000"/>
                </a:lnSpc>
              </a:pPr>
              <a:r>
                <a:rPr altLang="en-US" lang="zh-CN" sz="1200">
                  <a:solidFill>
                    <a:schemeClr val="tx1">
                      <a:lumMod val="75000"/>
                      <a:lumOff val="25000"/>
                    </a:schemeClr>
                  </a:solidFill>
                  <a:latin typeface="+mn-ea"/>
                </a:rPr>
                <a:t>这里可以添加主要内容这里可以添加主要内容这里可以添加主要内容</a:t>
              </a:r>
            </a:p>
          </p:txBody>
        </p:sp>
      </p:grpSp>
      <p:grpSp>
        <p:nvGrpSpPr>
          <p:cNvPr id="97" name="Group 10">
            <a:extLst>
              <a:ext uri="{FF2B5EF4-FFF2-40B4-BE49-F238E27FC236}">
                <a16:creationId xmlns:a16="http://schemas.microsoft.com/office/drawing/2014/main" id="{2F27AA15-6205-44EB-A17A-4EBA96AF0D40}"/>
              </a:ext>
            </a:extLst>
          </p:cNvPr>
          <p:cNvGrpSpPr/>
          <p:nvPr/>
        </p:nvGrpSpPr>
        <p:grpSpPr>
          <a:xfrm>
            <a:off x="1170159" y="4132042"/>
            <a:ext cx="2296706" cy="1287323"/>
            <a:chOff x="737124" y="4441535"/>
            <a:chExt cx="2405936" cy="1287324"/>
          </a:xfrm>
        </p:grpSpPr>
        <p:sp>
          <p:nvSpPr>
            <p:cNvPr id="98" name="TextBox 57">
              <a:extLst>
                <a:ext uri="{FF2B5EF4-FFF2-40B4-BE49-F238E27FC236}">
                  <a16:creationId xmlns:a16="http://schemas.microsoft.com/office/drawing/2014/main" id="{E4BE377E-5F3C-4CC4-8567-F2DCE9A48E53}"/>
                </a:ext>
              </a:extLst>
            </p:cNvPr>
            <p:cNvSpPr txBox="1"/>
            <p:nvPr/>
          </p:nvSpPr>
          <p:spPr>
            <a:xfrm>
              <a:off x="1887162" y="4441535"/>
              <a:ext cx="1255898" cy="396240"/>
            </a:xfrm>
            <a:prstGeom prst="rect">
              <a:avLst/>
            </a:prstGeom>
            <a:noFill/>
          </p:spPr>
          <p:txBody>
            <a:bodyPr rtlCol="0" wrap="none">
              <a:spAutoFit/>
            </a:bodyPr>
            <a:lstStyle/>
            <a:p>
              <a:pPr algn="r" defTabSz="1219110"/>
              <a:r>
                <a:rPr altLang="en-US" b="1" lang="zh-CN" sz="2000">
                  <a:solidFill>
                    <a:schemeClr val="tx1">
                      <a:lumMod val="75000"/>
                      <a:lumOff val="25000"/>
                    </a:schemeClr>
                  </a:solidFill>
                  <a:latin panose="020f0502020204030204" typeface="等线"/>
                </a:rPr>
                <a:t>标题文本</a:t>
              </a:r>
            </a:p>
          </p:txBody>
        </p:sp>
        <p:sp>
          <p:nvSpPr>
            <p:cNvPr id="99" name="Rectangle 59">
              <a:extLst>
                <a:ext uri="{FF2B5EF4-FFF2-40B4-BE49-F238E27FC236}">
                  <a16:creationId xmlns:a16="http://schemas.microsoft.com/office/drawing/2014/main" id="{9AEBAA8C-7A4C-457B-BC66-033845915CC2}"/>
                </a:ext>
              </a:extLst>
            </p:cNvPr>
            <p:cNvSpPr/>
            <p:nvPr/>
          </p:nvSpPr>
          <p:spPr>
            <a:xfrm>
              <a:off x="737124" y="4833677"/>
              <a:ext cx="2404101" cy="914400"/>
            </a:xfrm>
            <a:prstGeom prst="rect">
              <a:avLst/>
            </a:prstGeom>
          </p:spPr>
          <p:txBody>
            <a:bodyPr wrap="square">
              <a:spAutoFit/>
            </a:bodyPr>
            <a:lstStyle/>
            <a:p>
              <a:pPr algn="r">
                <a:lnSpc>
                  <a:spcPct val="150000"/>
                </a:lnSpc>
              </a:pPr>
              <a:r>
                <a:rPr altLang="en-US" lang="zh-CN" sz="1200">
                  <a:solidFill>
                    <a:schemeClr val="tx1">
                      <a:lumMod val="75000"/>
                      <a:lumOff val="25000"/>
                    </a:schemeClr>
                  </a:solidFill>
                  <a:latin typeface="+mn-ea"/>
                </a:rPr>
                <a:t>这里可以添加主要内容这里可以添加主要内容这里可以添加主要内容</a:t>
              </a:r>
            </a:p>
          </p:txBody>
        </p:sp>
      </p:grpSp>
      <p:grpSp>
        <p:nvGrpSpPr>
          <p:cNvPr id="100" name="Group 11">
            <a:extLst>
              <a:ext uri="{FF2B5EF4-FFF2-40B4-BE49-F238E27FC236}">
                <a16:creationId xmlns:a16="http://schemas.microsoft.com/office/drawing/2014/main" id="{05C96F73-2CB2-4FE6-862E-437A2C0DFEEF}"/>
              </a:ext>
            </a:extLst>
          </p:cNvPr>
          <p:cNvGrpSpPr/>
          <p:nvPr/>
        </p:nvGrpSpPr>
        <p:grpSpPr>
          <a:xfrm>
            <a:off x="8726891" y="1955970"/>
            <a:ext cx="2274503" cy="1249525"/>
            <a:chOff x="9050776" y="2265458"/>
            <a:chExt cx="2404101" cy="1249526"/>
          </a:xfrm>
        </p:grpSpPr>
        <p:sp>
          <p:nvSpPr>
            <p:cNvPr id="101" name="TextBox 54">
              <a:extLst>
                <a:ext uri="{FF2B5EF4-FFF2-40B4-BE49-F238E27FC236}">
                  <a16:creationId xmlns:a16="http://schemas.microsoft.com/office/drawing/2014/main" id="{BDD06F36-72AE-42E3-95E3-E33EF09957D7}"/>
                </a:ext>
              </a:extLst>
            </p:cNvPr>
            <p:cNvSpPr txBox="1"/>
            <p:nvPr/>
          </p:nvSpPr>
          <p:spPr>
            <a:xfrm>
              <a:off x="9046146" y="2265458"/>
              <a:ext cx="1267190" cy="396240"/>
            </a:xfrm>
            <a:prstGeom prst="rect">
              <a:avLst/>
            </a:prstGeom>
            <a:noFill/>
          </p:spPr>
          <p:txBody>
            <a:bodyPr rtlCol="0" wrap="none">
              <a:spAutoFit/>
            </a:bodyPr>
            <a:lstStyle/>
            <a:p>
              <a:pPr algn="ctr" defTabSz="1219110"/>
              <a:r>
                <a:rPr altLang="en-US" b="1" lang="zh-CN" sz="2000">
                  <a:solidFill>
                    <a:schemeClr val="tx1">
                      <a:lumMod val="75000"/>
                      <a:lumOff val="25000"/>
                    </a:schemeClr>
                  </a:solidFill>
                  <a:latin panose="020f0502020204030204" typeface="等线"/>
                </a:rPr>
                <a:t>标题文本</a:t>
              </a:r>
            </a:p>
          </p:txBody>
        </p:sp>
        <p:sp>
          <p:nvSpPr>
            <p:cNvPr id="102" name="Rectangle 60">
              <a:extLst>
                <a:ext uri="{FF2B5EF4-FFF2-40B4-BE49-F238E27FC236}">
                  <a16:creationId xmlns:a16="http://schemas.microsoft.com/office/drawing/2014/main" id="{C28FB152-853F-4A58-9D8B-B763677ED030}"/>
                </a:ext>
              </a:extLst>
            </p:cNvPr>
            <p:cNvSpPr/>
            <p:nvPr/>
          </p:nvSpPr>
          <p:spPr>
            <a:xfrm>
              <a:off x="9050777" y="2619802"/>
              <a:ext cx="2404101" cy="914400"/>
            </a:xfrm>
            <a:prstGeom prst="rect">
              <a:avLst/>
            </a:prstGeom>
          </p:spPr>
          <p:txBody>
            <a:bodyPr wrap="square">
              <a:spAutoFit/>
            </a:bodyPr>
            <a:lstStyle/>
            <a:p>
              <a:pPr>
                <a:lnSpc>
                  <a:spcPct val="150000"/>
                </a:lnSpc>
              </a:pPr>
              <a:r>
                <a:rPr altLang="en-US" lang="zh-CN" sz="1200">
                  <a:solidFill>
                    <a:schemeClr val="tx1">
                      <a:lumMod val="75000"/>
                      <a:lumOff val="25000"/>
                    </a:schemeClr>
                  </a:solidFill>
                  <a:latin typeface="+mn-ea"/>
                </a:rPr>
                <a:t>这里可以添加主要内容这里可以添加主要内容这里可以添加主要内容</a:t>
              </a:r>
            </a:p>
          </p:txBody>
        </p:sp>
      </p:grpSp>
      <p:grpSp>
        <p:nvGrpSpPr>
          <p:cNvPr id="103" name="Group 12">
            <a:extLst>
              <a:ext uri="{FF2B5EF4-FFF2-40B4-BE49-F238E27FC236}">
                <a16:creationId xmlns:a16="http://schemas.microsoft.com/office/drawing/2014/main" id="{BF6BA83D-9CCF-4AE8-8B06-9407EE8903D5}"/>
              </a:ext>
            </a:extLst>
          </p:cNvPr>
          <p:cNvGrpSpPr/>
          <p:nvPr/>
        </p:nvGrpSpPr>
        <p:grpSpPr>
          <a:xfrm>
            <a:off x="8726889" y="4132049"/>
            <a:ext cx="2274503" cy="1280549"/>
            <a:chOff x="9050776" y="4441535"/>
            <a:chExt cx="2404101" cy="1280550"/>
          </a:xfrm>
        </p:grpSpPr>
        <p:sp>
          <p:nvSpPr>
            <p:cNvPr id="104" name="TextBox 55">
              <a:extLst>
                <a:ext uri="{FF2B5EF4-FFF2-40B4-BE49-F238E27FC236}">
                  <a16:creationId xmlns:a16="http://schemas.microsoft.com/office/drawing/2014/main" id="{E73F0BAB-D92D-4E81-BB6F-32316D27AB44}"/>
                </a:ext>
              </a:extLst>
            </p:cNvPr>
            <p:cNvSpPr txBox="1"/>
            <p:nvPr/>
          </p:nvSpPr>
          <p:spPr>
            <a:xfrm>
              <a:off x="9087448" y="4441535"/>
              <a:ext cx="1267190" cy="396240"/>
            </a:xfrm>
            <a:prstGeom prst="rect">
              <a:avLst/>
            </a:prstGeom>
            <a:noFill/>
          </p:spPr>
          <p:txBody>
            <a:bodyPr rtlCol="0" wrap="none">
              <a:spAutoFit/>
            </a:bodyPr>
            <a:lstStyle/>
            <a:p>
              <a:pPr algn="ctr" defTabSz="1219110"/>
              <a:r>
                <a:rPr altLang="en-US" b="1" lang="zh-CN" sz="2000">
                  <a:solidFill>
                    <a:schemeClr val="tx1">
                      <a:lumMod val="75000"/>
                      <a:lumOff val="25000"/>
                    </a:schemeClr>
                  </a:solidFill>
                  <a:latin panose="020f0502020204030204" typeface="等线"/>
                </a:rPr>
                <a:t>标题文本</a:t>
              </a:r>
            </a:p>
          </p:txBody>
        </p:sp>
        <p:sp>
          <p:nvSpPr>
            <p:cNvPr id="105" name="Rectangle 61">
              <a:extLst>
                <a:ext uri="{FF2B5EF4-FFF2-40B4-BE49-F238E27FC236}">
                  <a16:creationId xmlns:a16="http://schemas.microsoft.com/office/drawing/2014/main" id="{A06523C6-8830-42C5-AA82-8363373B0914}"/>
                </a:ext>
              </a:extLst>
            </p:cNvPr>
            <p:cNvSpPr/>
            <p:nvPr/>
          </p:nvSpPr>
          <p:spPr>
            <a:xfrm>
              <a:off x="9050775" y="4826903"/>
              <a:ext cx="2404101" cy="914400"/>
            </a:xfrm>
            <a:prstGeom prst="rect">
              <a:avLst/>
            </a:prstGeom>
          </p:spPr>
          <p:txBody>
            <a:bodyPr wrap="square">
              <a:spAutoFit/>
            </a:bodyPr>
            <a:lstStyle/>
            <a:p>
              <a:pPr>
                <a:lnSpc>
                  <a:spcPct val="150000"/>
                </a:lnSpc>
              </a:pPr>
              <a:r>
                <a:rPr altLang="en-US" lang="zh-CN" sz="1200">
                  <a:solidFill>
                    <a:schemeClr val="tx1">
                      <a:lumMod val="75000"/>
                      <a:lumOff val="25000"/>
                    </a:schemeClr>
                  </a:solidFill>
                  <a:latin typeface="+mn-ea"/>
                </a:rPr>
                <a:t>这里可以添加主要内容这里可以添加主要内容这里可以添加主要内容</a:t>
              </a:r>
            </a:p>
          </p:txBody>
        </p:sp>
      </p:grpSp>
      <p:sp>
        <p:nvSpPr>
          <p:cNvPr id="106" name="Freeform 97">
            <a:extLst>
              <a:ext uri="{FF2B5EF4-FFF2-40B4-BE49-F238E27FC236}">
                <a16:creationId xmlns:a16="http://schemas.microsoft.com/office/drawing/2014/main" id="{4D2AB24C-7085-4152-9CBD-26D8E7C7F218}"/>
              </a:ext>
            </a:extLst>
          </p:cNvPr>
          <p:cNvSpPr>
            <a:spLocks noEditPoints="1"/>
          </p:cNvSpPr>
          <p:nvPr/>
        </p:nvSpPr>
        <p:spPr bwMode="auto">
          <a:xfrm>
            <a:off x="5523515" y="2914609"/>
            <a:ext cx="1112492" cy="998830"/>
          </a:xfrm>
          <a:custGeom>
            <a:gdLst>
              <a:gd fmla="*/ 6113 w 6561" name="T0"/>
              <a:gd fmla="*/ 5006 h 5901" name="T1"/>
              <a:gd fmla="*/ 5890 w 6561" name="T2"/>
              <a:gd fmla="*/ 5006 h 5901" name="T3"/>
              <a:gd fmla="*/ 5890 w 6561" name="T4"/>
              <a:gd fmla="*/ 349 h 5901" name="T5"/>
              <a:gd fmla="*/ 5540 w 6561" name="T6"/>
              <a:gd fmla="*/ 0 h 5901" name="T7"/>
              <a:gd fmla="*/ 4804 w 6561" name="T8"/>
              <a:gd fmla="*/ 0 h 5901" name="T9"/>
              <a:gd fmla="*/ 4454 w 6561" name="T10"/>
              <a:gd fmla="*/ 349 h 5901" name="T11"/>
              <a:gd fmla="*/ 4454 w 6561" name="T12"/>
              <a:gd fmla="*/ 5006 h 5901" name="T13"/>
              <a:gd fmla="*/ 4008 w 6561" name="T14"/>
              <a:gd fmla="*/ 5006 h 5901" name="T15"/>
              <a:gd fmla="*/ 4008 w 6561" name="T16"/>
              <a:gd fmla="*/ 1580 h 5901" name="T17"/>
              <a:gd fmla="*/ 3658 w 6561" name="T18"/>
              <a:gd fmla="*/ 1230 h 5901" name="T19"/>
              <a:gd fmla="*/ 2923 w 6561" name="T20"/>
              <a:gd fmla="*/ 1230 h 5901" name="T21"/>
              <a:gd fmla="*/ 2573 w 6561" name="T22"/>
              <a:gd fmla="*/ 1580 h 5901" name="T23"/>
              <a:gd fmla="*/ 2573 w 6561" name="T24"/>
              <a:gd fmla="*/ 5006 h 5901" name="T25"/>
              <a:gd fmla="*/ 2236 w 6561" name="T26"/>
              <a:gd fmla="*/ 5006 h 5901" name="T27"/>
              <a:gd fmla="*/ 2236 w 6561" name="T28"/>
              <a:gd fmla="*/ 3502 h 5901" name="T29"/>
              <a:gd fmla="*/ 1887 w 6561" name="T30"/>
              <a:gd fmla="*/ 3152 h 5901" name="T31"/>
              <a:gd fmla="*/ 1151 w 6561" name="T32"/>
              <a:gd fmla="*/ 3152 h 5901" name="T33"/>
              <a:gd fmla="*/ 801 w 6561" name="T34"/>
              <a:gd fmla="*/ 3502 h 5901" name="T35"/>
              <a:gd fmla="*/ 801 w 6561" name="T36"/>
              <a:gd fmla="*/ 5006 h 5901" name="T37"/>
              <a:gd fmla="*/ 448 w 6561" name="T38"/>
              <a:gd fmla="*/ 5006 h 5901" name="T39"/>
              <a:gd fmla="*/ 0 w 6561" name="T40"/>
              <a:gd fmla="*/ 5454 h 5901" name="T41"/>
              <a:gd fmla="*/ 448 w 6561" name="T42"/>
              <a:gd fmla="*/ 5901 h 5901" name="T43"/>
              <a:gd fmla="*/ 6113 w 6561" name="T44"/>
              <a:gd fmla="*/ 5901 h 5901" name="T45"/>
              <a:gd fmla="*/ 6561 w 6561" name="T46"/>
              <a:gd fmla="*/ 5454 h 5901" name="T47"/>
              <a:gd fmla="*/ 6113 w 6561" name="T48"/>
              <a:gd fmla="*/ 5006 h 5901" name="T49"/>
              <a:gd fmla="*/ 3021 w 6561" name="T50"/>
              <a:gd fmla="*/ 1678 h 5901" name="T51"/>
              <a:gd fmla="*/ 3561 w 6561" name="T52"/>
              <a:gd fmla="*/ 1678 h 5901" name="T53"/>
              <a:gd fmla="*/ 3561 w 6561" name="T54"/>
              <a:gd fmla="*/ 5006 h 5901" name="T55"/>
              <a:gd fmla="*/ 3021 w 6561" name="T56"/>
              <a:gd fmla="*/ 5006 h 5901" name="T57"/>
              <a:gd fmla="*/ 3021 w 6561" name="T58"/>
              <a:gd fmla="*/ 1678 h 5901" name="T5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b="b" l="0" r="r" t="0"/>
            <a:pathLst>
              <a:path h="5901" w="6561">
                <a:moveTo>
                  <a:pt x="6113" y="5006"/>
                </a:moveTo>
                <a:lnTo>
                  <a:pt x="5890" y="5006"/>
                </a:lnTo>
                <a:lnTo>
                  <a:pt x="5890" y="349"/>
                </a:lnTo>
                <a:cubicBezTo>
                  <a:pt x="5890" y="156"/>
                  <a:pt x="5733" y="0"/>
                  <a:pt x="5540" y="0"/>
                </a:cubicBezTo>
                <a:lnTo>
                  <a:pt x="4804" y="0"/>
                </a:lnTo>
                <a:cubicBezTo>
                  <a:pt x="4611" y="0"/>
                  <a:pt x="4454" y="156"/>
                  <a:pt x="4454" y="349"/>
                </a:cubicBezTo>
                <a:lnTo>
                  <a:pt x="4454" y="5006"/>
                </a:lnTo>
                <a:lnTo>
                  <a:pt x="4008" y="5006"/>
                </a:lnTo>
                <a:lnTo>
                  <a:pt x="4008" y="1580"/>
                </a:lnTo>
                <a:cubicBezTo>
                  <a:pt x="4008" y="1387"/>
                  <a:pt x="3852" y="1230"/>
                  <a:pt x="3658" y="1230"/>
                </a:cubicBezTo>
                <a:lnTo>
                  <a:pt x="2923" y="1230"/>
                </a:lnTo>
                <a:cubicBezTo>
                  <a:pt x="2730" y="1230"/>
                  <a:pt x="2573" y="1387"/>
                  <a:pt x="2573" y="1580"/>
                </a:cubicBezTo>
                <a:lnTo>
                  <a:pt x="2573" y="5006"/>
                </a:lnTo>
                <a:lnTo>
                  <a:pt x="2236" y="5006"/>
                </a:lnTo>
                <a:lnTo>
                  <a:pt x="2236" y="3502"/>
                </a:lnTo>
                <a:cubicBezTo>
                  <a:pt x="2236" y="3309"/>
                  <a:pt x="2080" y="3152"/>
                  <a:pt x="1887" y="3152"/>
                </a:cubicBezTo>
                <a:lnTo>
                  <a:pt x="1151" y="3152"/>
                </a:lnTo>
                <a:cubicBezTo>
                  <a:pt x="958" y="3152"/>
                  <a:pt x="801" y="3309"/>
                  <a:pt x="801" y="3502"/>
                </a:cubicBezTo>
                <a:lnTo>
                  <a:pt x="801" y="5006"/>
                </a:lnTo>
                <a:lnTo>
                  <a:pt x="448" y="5006"/>
                </a:lnTo>
                <a:cubicBezTo>
                  <a:pt x="200" y="5006"/>
                  <a:pt x="0" y="5207"/>
                  <a:pt x="0" y="5454"/>
                </a:cubicBezTo>
                <a:cubicBezTo>
                  <a:pt x="0" y="5701"/>
                  <a:pt x="200" y="5901"/>
                  <a:pt x="448" y="5901"/>
                </a:cubicBezTo>
                <a:lnTo>
                  <a:pt x="6113" y="5901"/>
                </a:lnTo>
                <a:cubicBezTo>
                  <a:pt x="6360" y="5901"/>
                  <a:pt x="6561" y="5701"/>
                  <a:pt x="6561" y="5454"/>
                </a:cubicBezTo>
                <a:cubicBezTo>
                  <a:pt x="6561" y="5207"/>
                  <a:pt x="6360" y="5006"/>
                  <a:pt x="6113" y="5006"/>
                </a:cubicBezTo>
                <a:close/>
                <a:moveTo>
                  <a:pt x="3021" y="1678"/>
                </a:moveTo>
                <a:lnTo>
                  <a:pt x="3561" y="1678"/>
                </a:lnTo>
                <a:lnTo>
                  <a:pt x="3561" y="5006"/>
                </a:lnTo>
                <a:lnTo>
                  <a:pt x="3021" y="5006"/>
                </a:lnTo>
                <a:lnTo>
                  <a:pt x="3021" y="1678"/>
                </a:lnTo>
                <a:close/>
              </a:path>
            </a:pathLst>
          </a:custGeom>
          <a:blipFill>
            <a:blip r:embed="rId12"/>
            <a:stretch>
              <a:fillRect/>
            </a:stretch>
          </a:blipFill>
          <a:ln>
            <a:noFill/>
          </a:ln>
        </p:spPr>
        <p:txBody>
          <a:bodyPr anchor="t" anchorCtr="0" bIns="45720" compatLnSpc="1" lIns="91440" numCol="1" rIns="91440" tIns="45720" vert="horz" wrap="square">
            <a:prstTxWarp prst="textNoShape">
              <a:avLst/>
            </a:prstTxWarp>
          </a:bodyPr>
          <a:lstStyle>
            <a:defPPr>
              <a:defRPr lang="en-US"/>
            </a:defPPr>
            <a:lvl1pPr algn="l" defTabSz="457200" eaLnBrk="1" hangingPunct="1" latinLnBrk="0" marL="0" rtl="0">
              <a:defRPr kern="1200" sz="1800">
                <a:solidFill>
                  <a:schemeClr val="tx1"/>
                </a:solidFill>
                <a:latin typeface="+mn-lt"/>
                <a:ea typeface="+mn-ea"/>
                <a:cs typeface="+mn-cs"/>
              </a:defRPr>
            </a:lvl1pPr>
            <a:lvl2pPr algn="l" defTabSz="457200" eaLnBrk="1" hangingPunct="1" latinLnBrk="0" marL="457200" rtl="0">
              <a:defRPr kern="1200" sz="1800">
                <a:solidFill>
                  <a:schemeClr val="tx1"/>
                </a:solidFill>
                <a:latin typeface="+mn-lt"/>
                <a:ea typeface="+mn-ea"/>
                <a:cs typeface="+mn-cs"/>
              </a:defRPr>
            </a:lvl2pPr>
            <a:lvl3pPr algn="l" defTabSz="457200" eaLnBrk="1" hangingPunct="1" latinLnBrk="0" marL="914400" rtl="0">
              <a:defRPr kern="1200" sz="1800">
                <a:solidFill>
                  <a:schemeClr val="tx1"/>
                </a:solidFill>
                <a:latin typeface="+mn-lt"/>
                <a:ea typeface="+mn-ea"/>
                <a:cs typeface="+mn-cs"/>
              </a:defRPr>
            </a:lvl3pPr>
            <a:lvl4pPr algn="l" defTabSz="457200" eaLnBrk="1" hangingPunct="1" latinLnBrk="0" marL="1371600" rtl="0">
              <a:defRPr kern="1200" sz="1800">
                <a:solidFill>
                  <a:schemeClr val="tx1"/>
                </a:solidFill>
                <a:latin typeface="+mn-lt"/>
                <a:ea typeface="+mn-ea"/>
                <a:cs typeface="+mn-cs"/>
              </a:defRPr>
            </a:lvl4pPr>
            <a:lvl5pPr algn="l" defTabSz="457200" eaLnBrk="1" hangingPunct="1" latinLnBrk="0" marL="1828800" rtl="0">
              <a:defRPr kern="1200" sz="1800">
                <a:solidFill>
                  <a:schemeClr val="tx1"/>
                </a:solidFill>
                <a:latin typeface="+mn-lt"/>
                <a:ea typeface="+mn-ea"/>
                <a:cs typeface="+mn-cs"/>
              </a:defRPr>
            </a:lvl5pPr>
            <a:lvl6pPr algn="l" defTabSz="457200" eaLnBrk="1" hangingPunct="1" latinLnBrk="0" marL="2286000" rtl="0">
              <a:defRPr kern="1200" sz="1800">
                <a:solidFill>
                  <a:schemeClr val="tx1"/>
                </a:solidFill>
                <a:latin typeface="+mn-lt"/>
                <a:ea typeface="+mn-ea"/>
                <a:cs typeface="+mn-cs"/>
              </a:defRPr>
            </a:lvl6pPr>
            <a:lvl7pPr algn="l" defTabSz="457200" eaLnBrk="1" hangingPunct="1" latinLnBrk="0" marL="2743200" rtl="0">
              <a:defRPr kern="1200" sz="1800">
                <a:solidFill>
                  <a:schemeClr val="tx1"/>
                </a:solidFill>
                <a:latin typeface="+mn-lt"/>
                <a:ea typeface="+mn-ea"/>
                <a:cs typeface="+mn-cs"/>
              </a:defRPr>
            </a:lvl7pPr>
            <a:lvl8pPr algn="l" defTabSz="457200" eaLnBrk="1" hangingPunct="1" latinLnBrk="0" marL="3200400" rtl="0">
              <a:defRPr kern="1200" sz="1800">
                <a:solidFill>
                  <a:schemeClr val="tx1"/>
                </a:solidFill>
                <a:latin typeface="+mn-lt"/>
                <a:ea typeface="+mn-ea"/>
                <a:cs typeface="+mn-cs"/>
              </a:defRPr>
            </a:lvl8pPr>
            <a:lvl9pPr algn="l" defTabSz="457200" eaLnBrk="1" hangingPunct="1" latinLnBrk="0" marL="3657600" rtl="0">
              <a:defRPr kern="1200" sz="1800">
                <a:solidFill>
                  <a:schemeClr val="tx1"/>
                </a:solidFill>
                <a:latin typeface="+mn-lt"/>
                <a:ea typeface="+mn-ea"/>
                <a:cs typeface="+mn-cs"/>
              </a:defRPr>
            </a:lvl9pPr>
          </a:lstStyle>
          <a:p>
            <a:pPr defTabSz="914332"/>
            <a:endParaRPr lang="en-US" sz="1351">
              <a:solidFill>
                <a:prstClr val="black"/>
              </a:solidFill>
              <a:latin panose="020f0502020204030204" typeface="Calibri"/>
            </a:endParaRPr>
          </a:p>
        </p:txBody>
      </p:sp>
      <p:sp>
        <p:nvSpPr>
          <p:cNvPr id="107" name="Rectangle 47">
            <a:extLst>
              <a:ext uri="{FF2B5EF4-FFF2-40B4-BE49-F238E27FC236}">
                <a16:creationId xmlns:a16="http://schemas.microsoft.com/office/drawing/2014/main" id="{F7966FFA-6D77-4FD5-A1FE-FF0E1DB65B16}"/>
              </a:ext>
            </a:extLst>
          </p:cNvPr>
          <p:cNvSpPr/>
          <p:nvPr/>
        </p:nvSpPr>
        <p:spPr>
          <a:xfrm>
            <a:off x="4931410" y="3988995"/>
            <a:ext cx="2296706" cy="741578"/>
          </a:xfrm>
          <a:prstGeom prst="rect">
            <a:avLst/>
          </a:prstGeom>
        </p:spPr>
        <p:txBody>
          <a:bodyPr wrap="square">
            <a:spAutoFit/>
          </a:bodyPr>
          <a:lstStyle/>
          <a:p>
            <a:pPr algn="ctr" defTabSz="914332"/>
            <a:r>
              <a:rPr altLang="en-US" lang="zh-CN" sz="2133">
                <a:solidFill>
                  <a:schemeClr val="tx1">
                    <a:lumMod val="65000"/>
                    <a:lumOff val="35000"/>
                  </a:schemeClr>
                </a:solidFill>
                <a:latin typeface="+mn-ea"/>
              </a:rPr>
              <a:t>输入标题文本</a:t>
            </a:r>
          </a:p>
          <a:p>
            <a:pPr algn="ctr" defTabSz="914332"/>
            <a:r>
              <a:rPr altLang="en-US" lang="zh-CN" sz="2133">
                <a:solidFill>
                  <a:schemeClr val="tx1">
                    <a:lumMod val="65000"/>
                    <a:lumOff val="35000"/>
                  </a:schemeClr>
                </a:solidFill>
                <a:latin typeface="+mn-ea"/>
              </a:rPr>
              <a:t>Add Text</a:t>
            </a:r>
          </a:p>
        </p:txBody>
      </p:sp>
    </p:spTree>
    <p:extLst>
      <p:ext uri="{BB962C8B-B14F-4D97-AF65-F5344CB8AC3E}">
        <p14:creationId val="2506532113"/>
      </p:ext>
    </p:extLst>
  </p:cSld>
  <p:clrMapOvr>
    <a:masterClrMapping/>
  </p:clrMapOvr>
  <mc:AlternateContent>
    <mc:Choice Requires="p14">
      <p:transition p14:dur="1500" spd="slow">
        <p:random/>
      </p:transition>
    </mc:Choice>
    <mc:Fallback>
      <p:transition spd="slow">
        <p:random/>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decel="100000" fill="hold" grpId="0" id="5" nodeType="withEffect" presetClass="entr" presetID="50" presetSubtype="0">
                                  <p:stCondLst>
                                    <p:cond delay="0"/>
                                  </p:stCondLst>
                                  <p:childTnLst>
                                    <p:set>
                                      <p:cBhvr>
                                        <p:cTn dur="1" fill="hold" id="6">
                                          <p:stCondLst>
                                            <p:cond delay="0"/>
                                          </p:stCondLst>
                                        </p:cTn>
                                        <p:tgtEl>
                                          <p:spTgt spid="10"/>
                                        </p:tgtEl>
                                        <p:attrNameLst>
                                          <p:attrName>style.visibility</p:attrName>
                                        </p:attrNameLst>
                                      </p:cBhvr>
                                      <p:to>
                                        <p:strVal val="visible"/>
                                      </p:to>
                                    </p:set>
                                    <p:anim calcmode="lin" valueType="num">
                                      <p:cBhvr>
                                        <p:cTn dur="1000" fill="hold" id="7"/>
                                        <p:tgtEl>
                                          <p:spTgt spid="10"/>
                                        </p:tgtEl>
                                        <p:attrNameLst>
                                          <p:attrName>ppt_w</p:attrName>
                                        </p:attrNameLst>
                                      </p:cBhvr>
                                      <p:tavLst>
                                        <p:tav tm="0">
                                          <p:val>
                                            <p:strVal val="#ppt_w+.3"/>
                                          </p:val>
                                        </p:tav>
                                        <p:tav tm="100000">
                                          <p:val>
                                            <p:strVal val="#ppt_w"/>
                                          </p:val>
                                        </p:tav>
                                      </p:tavLst>
                                    </p:anim>
                                    <p:anim calcmode="lin" valueType="num">
                                      <p:cBhvr>
                                        <p:cTn dur="1000" fill="hold" id="8"/>
                                        <p:tgtEl>
                                          <p:spTgt spid="10"/>
                                        </p:tgtEl>
                                        <p:attrNameLst>
                                          <p:attrName>ppt_h</p:attrName>
                                        </p:attrNameLst>
                                      </p:cBhvr>
                                      <p:tavLst>
                                        <p:tav tm="0">
                                          <p:val>
                                            <p:strVal val="#ppt_h"/>
                                          </p:val>
                                        </p:tav>
                                        <p:tav tm="100000">
                                          <p:val>
                                            <p:strVal val="#ppt_h"/>
                                          </p:val>
                                        </p:tav>
                                      </p:tavLst>
                                    </p:anim>
                                    <p:animEffect filter="fade" transition="in">
                                      <p:cBhvr>
                                        <p:cTn dur="1000" id="9"/>
                                        <p:tgtEl>
                                          <p:spTgt spid="10"/>
                                        </p:tgtEl>
                                      </p:cBhvr>
                                    </p:animEffect>
                                  </p:childTnLst>
                                </p:cTn>
                              </p:par>
                              <p:par>
                                <p:cTn fill="hold" id="10" nodeType="withEffect" presetClass="entr" presetID="53" presetSubtype="0">
                                  <p:stCondLst>
                                    <p:cond delay="250"/>
                                  </p:stCondLst>
                                  <p:childTnLst>
                                    <p:set>
                                      <p:cBhvr>
                                        <p:cTn dur="1" fill="hold" id="11">
                                          <p:stCondLst>
                                            <p:cond delay="0"/>
                                          </p:stCondLst>
                                        </p:cTn>
                                        <p:tgtEl>
                                          <p:spTgt spid="15"/>
                                        </p:tgtEl>
                                        <p:attrNameLst>
                                          <p:attrName>style.visibility</p:attrName>
                                        </p:attrNameLst>
                                      </p:cBhvr>
                                      <p:to>
                                        <p:strVal val="visible"/>
                                      </p:to>
                                    </p:set>
                                    <p:anim calcmode="lin" valueType="num">
                                      <p:cBhvr>
                                        <p:cTn dur="500" fill="hold" id="12"/>
                                        <p:tgtEl>
                                          <p:spTgt spid="15"/>
                                        </p:tgtEl>
                                        <p:attrNameLst>
                                          <p:attrName>ppt_w</p:attrName>
                                        </p:attrNameLst>
                                      </p:cBhvr>
                                      <p:tavLst>
                                        <p:tav tm="0">
                                          <p:val>
                                            <p:fltVal val="0"/>
                                          </p:val>
                                        </p:tav>
                                        <p:tav tm="100000">
                                          <p:val>
                                            <p:strVal val="#ppt_w"/>
                                          </p:val>
                                        </p:tav>
                                      </p:tavLst>
                                    </p:anim>
                                    <p:anim calcmode="lin" valueType="num">
                                      <p:cBhvr>
                                        <p:cTn dur="500" fill="hold" id="13"/>
                                        <p:tgtEl>
                                          <p:spTgt spid="15"/>
                                        </p:tgtEl>
                                        <p:attrNameLst>
                                          <p:attrName>ppt_h</p:attrName>
                                        </p:attrNameLst>
                                      </p:cBhvr>
                                      <p:tavLst>
                                        <p:tav tm="0">
                                          <p:val>
                                            <p:fltVal val="0"/>
                                          </p:val>
                                        </p:tav>
                                        <p:tav tm="100000">
                                          <p:val>
                                            <p:strVal val="#ppt_h"/>
                                          </p:val>
                                        </p:tav>
                                      </p:tavLst>
                                    </p:anim>
                                    <p:animEffect filter="fade" transition="in">
                                      <p:cBhvr>
                                        <p:cTn dur="500" id="14"/>
                                        <p:tgtEl>
                                          <p:spTgt spid="15"/>
                                        </p:tgtEl>
                                      </p:cBhvr>
                                    </p:animEffect>
                                  </p:childTnLst>
                                </p:cTn>
                              </p:par>
                              <p:par>
                                <p:cTn fill="hold" id="15" nodeType="withEffect" presetClass="entr" presetID="53" presetSubtype="0">
                                  <p:stCondLst>
                                    <p:cond delay="250"/>
                                  </p:stCondLst>
                                  <p:childTnLst>
                                    <p:set>
                                      <p:cBhvr>
                                        <p:cTn dur="1" fill="hold" id="16">
                                          <p:stCondLst>
                                            <p:cond delay="0"/>
                                          </p:stCondLst>
                                        </p:cTn>
                                        <p:tgtEl>
                                          <p:spTgt spid="16"/>
                                        </p:tgtEl>
                                        <p:attrNameLst>
                                          <p:attrName>style.visibility</p:attrName>
                                        </p:attrNameLst>
                                      </p:cBhvr>
                                      <p:to>
                                        <p:strVal val="visible"/>
                                      </p:to>
                                    </p:set>
                                    <p:anim calcmode="lin" valueType="num">
                                      <p:cBhvr>
                                        <p:cTn dur="500" fill="hold" id="17"/>
                                        <p:tgtEl>
                                          <p:spTgt spid="16"/>
                                        </p:tgtEl>
                                        <p:attrNameLst>
                                          <p:attrName>ppt_w</p:attrName>
                                        </p:attrNameLst>
                                      </p:cBhvr>
                                      <p:tavLst>
                                        <p:tav tm="0">
                                          <p:val>
                                            <p:fltVal val="0"/>
                                          </p:val>
                                        </p:tav>
                                        <p:tav tm="100000">
                                          <p:val>
                                            <p:strVal val="#ppt_w"/>
                                          </p:val>
                                        </p:tav>
                                      </p:tavLst>
                                    </p:anim>
                                    <p:anim calcmode="lin" valueType="num">
                                      <p:cBhvr>
                                        <p:cTn dur="500" fill="hold" id="18"/>
                                        <p:tgtEl>
                                          <p:spTgt spid="16"/>
                                        </p:tgtEl>
                                        <p:attrNameLst>
                                          <p:attrName>ppt_h</p:attrName>
                                        </p:attrNameLst>
                                      </p:cBhvr>
                                      <p:tavLst>
                                        <p:tav tm="0">
                                          <p:val>
                                            <p:fltVal val="0"/>
                                          </p:val>
                                        </p:tav>
                                        <p:tav tm="100000">
                                          <p:val>
                                            <p:strVal val="#ppt_h"/>
                                          </p:val>
                                        </p:tav>
                                      </p:tavLst>
                                    </p:anim>
                                    <p:animEffect filter="fade" transition="in">
                                      <p:cBhvr>
                                        <p:cTn dur="500" id="19"/>
                                        <p:tgtEl>
                                          <p:spTgt spid="16"/>
                                        </p:tgtEl>
                                      </p:cBhvr>
                                    </p:animEffect>
                                  </p:childTnLst>
                                </p:cTn>
                              </p:par>
                              <p:par>
                                <p:cTn fill="hold" id="20" nodeType="withEffect" presetClass="entr" presetID="22" presetSubtype="8">
                                  <p:stCondLst>
                                    <p:cond delay="750"/>
                                  </p:stCondLst>
                                  <p:childTnLst>
                                    <p:set>
                                      <p:cBhvr>
                                        <p:cTn dur="1" fill="hold" id="21">
                                          <p:stCondLst>
                                            <p:cond delay="0"/>
                                          </p:stCondLst>
                                        </p:cTn>
                                        <p:tgtEl>
                                          <p:spTgt spid="13"/>
                                        </p:tgtEl>
                                        <p:attrNameLst>
                                          <p:attrName>style.visibility</p:attrName>
                                        </p:attrNameLst>
                                      </p:cBhvr>
                                      <p:to>
                                        <p:strVal val="visible"/>
                                      </p:to>
                                    </p:set>
                                    <p:animEffect filter="wipe(left)" transition="in">
                                      <p:cBhvr>
                                        <p:cTn dur="250" id="22"/>
                                        <p:tgtEl>
                                          <p:spTgt spid="13"/>
                                        </p:tgtEl>
                                      </p:cBhvr>
                                    </p:animEffect>
                                  </p:childTnLst>
                                </p:cTn>
                              </p:par>
                              <p:par>
                                <p:cTn fill="hold" id="23" nodeType="withEffect" presetClass="entr" presetID="22" presetSubtype="2">
                                  <p:stCondLst>
                                    <p:cond delay="750"/>
                                  </p:stCondLst>
                                  <p:childTnLst>
                                    <p:set>
                                      <p:cBhvr>
                                        <p:cTn dur="1" fill="hold" id="24">
                                          <p:stCondLst>
                                            <p:cond delay="0"/>
                                          </p:stCondLst>
                                        </p:cTn>
                                        <p:tgtEl>
                                          <p:spTgt spid="18"/>
                                        </p:tgtEl>
                                        <p:attrNameLst>
                                          <p:attrName>style.visibility</p:attrName>
                                        </p:attrNameLst>
                                      </p:cBhvr>
                                      <p:to>
                                        <p:strVal val="visible"/>
                                      </p:to>
                                    </p:set>
                                    <p:animEffect filter="wipe(right)" transition="in">
                                      <p:cBhvr>
                                        <p:cTn dur="250" id="25"/>
                                        <p:tgtEl>
                                          <p:spTgt spid="18"/>
                                        </p:tgtEl>
                                      </p:cBhvr>
                                    </p:animEffect>
                                  </p:childTnLst>
                                </p:cTn>
                              </p:par>
                            </p:childTnLst>
                          </p:cTn>
                        </p:par>
                        <p:par>
                          <p:cTn fill="hold" id="26" nodeType="afterGroup">
                            <p:stCondLst>
                              <p:cond delay="1000"/>
                            </p:stCondLst>
                            <p:childTnLst>
                              <p:par>
                                <p:cTn fill="hold" grpId="0" id="27" nodeType="afterEffect" presetClass="entr" presetID="9" presetSubtype="0">
                                  <p:stCondLst>
                                    <p:cond delay="0"/>
                                  </p:stCondLst>
                                  <p:childTnLst>
                                    <p:set>
                                      <p:cBhvr>
                                        <p:cTn dur="1" fill="hold" id="28">
                                          <p:stCondLst>
                                            <p:cond delay="0"/>
                                          </p:stCondLst>
                                        </p:cTn>
                                        <p:tgtEl>
                                          <p:spTgt spid="80"/>
                                        </p:tgtEl>
                                        <p:attrNameLst>
                                          <p:attrName>style.visibility</p:attrName>
                                        </p:attrNameLst>
                                      </p:cBhvr>
                                      <p:to>
                                        <p:strVal val="visible"/>
                                      </p:to>
                                    </p:set>
                                    <p:animEffect filter="dissolve" transition="in">
                                      <p:cBhvr>
                                        <p:cTn dur="500" id="29"/>
                                        <p:tgtEl>
                                          <p:spTgt spid="80"/>
                                        </p:tgtEl>
                                      </p:cBhvr>
                                    </p:animEffect>
                                  </p:childTnLst>
                                </p:cTn>
                              </p:par>
                            </p:childTnLst>
                          </p:cTn>
                        </p:par>
                        <p:par>
                          <p:cTn fill="hold" id="30" nodeType="afterGroup">
                            <p:stCondLst>
                              <p:cond delay="1500"/>
                            </p:stCondLst>
                            <p:childTnLst>
                              <p:par>
                                <p:cTn fill="hold" grpId="0" id="31" nodeType="afterEffect" presetClass="entr" presetID="22" presetSubtype="8">
                                  <p:stCondLst>
                                    <p:cond delay="0"/>
                                  </p:stCondLst>
                                  <p:childTnLst>
                                    <p:set>
                                      <p:cBhvr>
                                        <p:cTn dur="1" fill="hold" id="32">
                                          <p:stCondLst>
                                            <p:cond delay="0"/>
                                          </p:stCondLst>
                                        </p:cTn>
                                        <p:tgtEl>
                                          <p:spTgt spid="81"/>
                                        </p:tgtEl>
                                        <p:attrNameLst>
                                          <p:attrName>style.visibility</p:attrName>
                                        </p:attrNameLst>
                                      </p:cBhvr>
                                      <p:to>
                                        <p:strVal val="visible"/>
                                      </p:to>
                                    </p:set>
                                    <p:animEffect filter="wipe(left)" transition="in">
                                      <p:cBhvr>
                                        <p:cTn dur="500" id="33"/>
                                        <p:tgtEl>
                                          <p:spTgt spid="81"/>
                                        </p:tgtEl>
                                      </p:cBhvr>
                                    </p:animEffect>
                                  </p:childTnLst>
                                </p:cTn>
                              </p:par>
                            </p:childTnLst>
                          </p:cTn>
                        </p:par>
                        <p:par>
                          <p:cTn fill="hold" id="34" nodeType="afterGroup">
                            <p:stCondLst>
                              <p:cond delay="2000"/>
                            </p:stCondLst>
                            <p:childTnLst>
                              <p:par>
                                <p:cTn fill="hold" grpId="0" id="35" nodeType="afterEffect" presetClass="entr" presetID="53" presetSubtype="0">
                                  <p:stCondLst>
                                    <p:cond delay="0"/>
                                  </p:stCondLst>
                                  <p:childTnLst>
                                    <p:set>
                                      <p:cBhvr>
                                        <p:cTn dur="1" fill="hold" id="36">
                                          <p:stCondLst>
                                            <p:cond delay="0"/>
                                          </p:stCondLst>
                                        </p:cTn>
                                        <p:tgtEl>
                                          <p:spTgt spid="107"/>
                                        </p:tgtEl>
                                        <p:attrNameLst>
                                          <p:attrName>style.visibility</p:attrName>
                                        </p:attrNameLst>
                                      </p:cBhvr>
                                      <p:to>
                                        <p:strVal val="visible"/>
                                      </p:to>
                                    </p:set>
                                    <p:anim calcmode="lin" valueType="num">
                                      <p:cBhvr>
                                        <p:cTn dur="500" fill="hold" id="37"/>
                                        <p:tgtEl>
                                          <p:spTgt spid="107"/>
                                        </p:tgtEl>
                                        <p:attrNameLst>
                                          <p:attrName>ppt_w</p:attrName>
                                        </p:attrNameLst>
                                      </p:cBhvr>
                                      <p:tavLst>
                                        <p:tav tm="0">
                                          <p:val>
                                            <p:fltVal val="0"/>
                                          </p:val>
                                        </p:tav>
                                        <p:tav tm="100000">
                                          <p:val>
                                            <p:strVal val="#ppt_w"/>
                                          </p:val>
                                        </p:tav>
                                      </p:tavLst>
                                    </p:anim>
                                    <p:anim calcmode="lin" valueType="num">
                                      <p:cBhvr>
                                        <p:cTn dur="500" fill="hold" id="38"/>
                                        <p:tgtEl>
                                          <p:spTgt spid="107"/>
                                        </p:tgtEl>
                                        <p:attrNameLst>
                                          <p:attrName>ppt_h</p:attrName>
                                        </p:attrNameLst>
                                      </p:cBhvr>
                                      <p:tavLst>
                                        <p:tav tm="0">
                                          <p:val>
                                            <p:fltVal val="0"/>
                                          </p:val>
                                        </p:tav>
                                        <p:tav tm="100000">
                                          <p:val>
                                            <p:strVal val="#ppt_h"/>
                                          </p:val>
                                        </p:tav>
                                      </p:tavLst>
                                    </p:anim>
                                    <p:animEffect filter="fade" transition="in">
                                      <p:cBhvr>
                                        <p:cTn dur="500" id="39"/>
                                        <p:tgtEl>
                                          <p:spTgt spid="107"/>
                                        </p:tgtEl>
                                      </p:cBhvr>
                                    </p:animEffect>
                                  </p:childTnLst>
                                </p:cTn>
                              </p:par>
                              <p:par>
                                <p:cTn fill="hold" grpId="0" id="40" nodeType="withEffect" presetClass="entr" presetID="53" presetSubtype="0">
                                  <p:stCondLst>
                                    <p:cond delay="0"/>
                                  </p:stCondLst>
                                  <p:childTnLst>
                                    <p:set>
                                      <p:cBhvr>
                                        <p:cTn dur="1" fill="hold" id="41">
                                          <p:stCondLst>
                                            <p:cond delay="0"/>
                                          </p:stCondLst>
                                        </p:cTn>
                                        <p:tgtEl>
                                          <p:spTgt spid="106"/>
                                        </p:tgtEl>
                                        <p:attrNameLst>
                                          <p:attrName>style.visibility</p:attrName>
                                        </p:attrNameLst>
                                      </p:cBhvr>
                                      <p:to>
                                        <p:strVal val="visible"/>
                                      </p:to>
                                    </p:set>
                                    <p:anim calcmode="lin" valueType="num">
                                      <p:cBhvr>
                                        <p:cTn dur="500" fill="hold" id="42"/>
                                        <p:tgtEl>
                                          <p:spTgt spid="106"/>
                                        </p:tgtEl>
                                        <p:attrNameLst>
                                          <p:attrName>ppt_w</p:attrName>
                                        </p:attrNameLst>
                                      </p:cBhvr>
                                      <p:tavLst>
                                        <p:tav tm="0">
                                          <p:val>
                                            <p:fltVal val="0"/>
                                          </p:val>
                                        </p:tav>
                                        <p:tav tm="100000">
                                          <p:val>
                                            <p:strVal val="#ppt_w"/>
                                          </p:val>
                                        </p:tav>
                                      </p:tavLst>
                                    </p:anim>
                                    <p:anim calcmode="lin" valueType="num">
                                      <p:cBhvr>
                                        <p:cTn dur="500" fill="hold" id="43"/>
                                        <p:tgtEl>
                                          <p:spTgt spid="106"/>
                                        </p:tgtEl>
                                        <p:attrNameLst>
                                          <p:attrName>ppt_h</p:attrName>
                                        </p:attrNameLst>
                                      </p:cBhvr>
                                      <p:tavLst>
                                        <p:tav tm="0">
                                          <p:val>
                                            <p:fltVal val="0"/>
                                          </p:val>
                                        </p:tav>
                                        <p:tav tm="100000">
                                          <p:val>
                                            <p:strVal val="#ppt_h"/>
                                          </p:val>
                                        </p:tav>
                                      </p:tavLst>
                                    </p:anim>
                                    <p:animEffect filter="fade" transition="in">
                                      <p:cBhvr>
                                        <p:cTn dur="500" id="44"/>
                                        <p:tgtEl>
                                          <p:spTgt spid="106"/>
                                        </p:tgtEl>
                                      </p:cBhvr>
                                    </p:animEffect>
                                  </p:childTnLst>
                                </p:cTn>
                              </p:par>
                            </p:childTnLst>
                          </p:cTn>
                        </p:par>
                        <p:par>
                          <p:cTn fill="hold" id="45" nodeType="afterGroup">
                            <p:stCondLst>
                              <p:cond delay="2500"/>
                            </p:stCondLst>
                            <p:childTnLst>
                              <p:par>
                                <p:cTn fill="hold" id="46" nodeType="afterEffect" presetClass="entr" presetID="53" presetSubtype="0">
                                  <p:stCondLst>
                                    <p:cond delay="0"/>
                                  </p:stCondLst>
                                  <p:childTnLst>
                                    <p:set>
                                      <p:cBhvr>
                                        <p:cTn dur="1" fill="hold" id="47">
                                          <p:stCondLst>
                                            <p:cond delay="0"/>
                                          </p:stCondLst>
                                        </p:cTn>
                                        <p:tgtEl>
                                          <p:spTgt spid="82"/>
                                        </p:tgtEl>
                                        <p:attrNameLst>
                                          <p:attrName>style.visibility</p:attrName>
                                        </p:attrNameLst>
                                      </p:cBhvr>
                                      <p:to>
                                        <p:strVal val="visible"/>
                                      </p:to>
                                    </p:set>
                                    <p:anim calcmode="lin" valueType="num">
                                      <p:cBhvr>
                                        <p:cTn dur="500" fill="hold" id="48"/>
                                        <p:tgtEl>
                                          <p:spTgt spid="82"/>
                                        </p:tgtEl>
                                        <p:attrNameLst>
                                          <p:attrName>ppt_w</p:attrName>
                                        </p:attrNameLst>
                                      </p:cBhvr>
                                      <p:tavLst>
                                        <p:tav tm="0">
                                          <p:val>
                                            <p:fltVal val="0"/>
                                          </p:val>
                                        </p:tav>
                                        <p:tav tm="100000">
                                          <p:val>
                                            <p:strVal val="#ppt_w"/>
                                          </p:val>
                                        </p:tav>
                                      </p:tavLst>
                                    </p:anim>
                                    <p:anim calcmode="lin" valueType="num">
                                      <p:cBhvr>
                                        <p:cTn dur="500" fill="hold" id="49"/>
                                        <p:tgtEl>
                                          <p:spTgt spid="82"/>
                                        </p:tgtEl>
                                        <p:attrNameLst>
                                          <p:attrName>ppt_h</p:attrName>
                                        </p:attrNameLst>
                                      </p:cBhvr>
                                      <p:tavLst>
                                        <p:tav tm="0">
                                          <p:val>
                                            <p:fltVal val="0"/>
                                          </p:val>
                                        </p:tav>
                                        <p:tav tm="100000">
                                          <p:val>
                                            <p:strVal val="#ppt_h"/>
                                          </p:val>
                                        </p:tav>
                                      </p:tavLst>
                                    </p:anim>
                                    <p:animEffect filter="fade" transition="in">
                                      <p:cBhvr>
                                        <p:cTn dur="500" id="50"/>
                                        <p:tgtEl>
                                          <p:spTgt spid="82"/>
                                        </p:tgtEl>
                                      </p:cBhvr>
                                    </p:animEffect>
                                  </p:childTnLst>
                                </p:cTn>
                              </p:par>
                              <p:par>
                                <p:cTn fill="hold" id="51" nodeType="withEffect" presetClass="entr" presetID="53" presetSubtype="0">
                                  <p:stCondLst>
                                    <p:cond delay="0"/>
                                  </p:stCondLst>
                                  <p:childTnLst>
                                    <p:set>
                                      <p:cBhvr>
                                        <p:cTn dur="1" fill="hold" id="52">
                                          <p:stCondLst>
                                            <p:cond delay="0"/>
                                          </p:stCondLst>
                                        </p:cTn>
                                        <p:tgtEl>
                                          <p:spTgt spid="85"/>
                                        </p:tgtEl>
                                        <p:attrNameLst>
                                          <p:attrName>style.visibility</p:attrName>
                                        </p:attrNameLst>
                                      </p:cBhvr>
                                      <p:to>
                                        <p:strVal val="visible"/>
                                      </p:to>
                                    </p:set>
                                    <p:anim calcmode="lin" valueType="num">
                                      <p:cBhvr>
                                        <p:cTn dur="500" fill="hold" id="53"/>
                                        <p:tgtEl>
                                          <p:spTgt spid="85"/>
                                        </p:tgtEl>
                                        <p:attrNameLst>
                                          <p:attrName>ppt_w</p:attrName>
                                        </p:attrNameLst>
                                      </p:cBhvr>
                                      <p:tavLst>
                                        <p:tav tm="0">
                                          <p:val>
                                            <p:fltVal val="0"/>
                                          </p:val>
                                        </p:tav>
                                        <p:tav tm="100000">
                                          <p:val>
                                            <p:strVal val="#ppt_w"/>
                                          </p:val>
                                        </p:tav>
                                      </p:tavLst>
                                    </p:anim>
                                    <p:anim calcmode="lin" valueType="num">
                                      <p:cBhvr>
                                        <p:cTn dur="500" fill="hold" id="54"/>
                                        <p:tgtEl>
                                          <p:spTgt spid="85"/>
                                        </p:tgtEl>
                                        <p:attrNameLst>
                                          <p:attrName>ppt_h</p:attrName>
                                        </p:attrNameLst>
                                      </p:cBhvr>
                                      <p:tavLst>
                                        <p:tav tm="0">
                                          <p:val>
                                            <p:fltVal val="0"/>
                                          </p:val>
                                        </p:tav>
                                        <p:tav tm="100000">
                                          <p:val>
                                            <p:strVal val="#ppt_h"/>
                                          </p:val>
                                        </p:tav>
                                      </p:tavLst>
                                    </p:anim>
                                    <p:animEffect filter="fade" transition="in">
                                      <p:cBhvr>
                                        <p:cTn dur="500" id="55"/>
                                        <p:tgtEl>
                                          <p:spTgt spid="85"/>
                                        </p:tgtEl>
                                      </p:cBhvr>
                                    </p:animEffect>
                                  </p:childTnLst>
                                </p:cTn>
                              </p:par>
                              <p:par>
                                <p:cTn fill="hold" id="56" nodeType="withEffect" presetClass="entr" presetID="53" presetSubtype="0">
                                  <p:stCondLst>
                                    <p:cond delay="0"/>
                                  </p:stCondLst>
                                  <p:childTnLst>
                                    <p:set>
                                      <p:cBhvr>
                                        <p:cTn dur="1" fill="hold" id="57">
                                          <p:stCondLst>
                                            <p:cond delay="0"/>
                                          </p:stCondLst>
                                        </p:cTn>
                                        <p:tgtEl>
                                          <p:spTgt spid="88"/>
                                        </p:tgtEl>
                                        <p:attrNameLst>
                                          <p:attrName>style.visibility</p:attrName>
                                        </p:attrNameLst>
                                      </p:cBhvr>
                                      <p:to>
                                        <p:strVal val="visible"/>
                                      </p:to>
                                    </p:set>
                                    <p:anim calcmode="lin" valueType="num">
                                      <p:cBhvr>
                                        <p:cTn dur="500" fill="hold" id="58"/>
                                        <p:tgtEl>
                                          <p:spTgt spid="88"/>
                                        </p:tgtEl>
                                        <p:attrNameLst>
                                          <p:attrName>ppt_w</p:attrName>
                                        </p:attrNameLst>
                                      </p:cBhvr>
                                      <p:tavLst>
                                        <p:tav tm="0">
                                          <p:val>
                                            <p:fltVal val="0"/>
                                          </p:val>
                                        </p:tav>
                                        <p:tav tm="100000">
                                          <p:val>
                                            <p:strVal val="#ppt_w"/>
                                          </p:val>
                                        </p:tav>
                                      </p:tavLst>
                                    </p:anim>
                                    <p:anim calcmode="lin" valueType="num">
                                      <p:cBhvr>
                                        <p:cTn dur="500" fill="hold" id="59"/>
                                        <p:tgtEl>
                                          <p:spTgt spid="88"/>
                                        </p:tgtEl>
                                        <p:attrNameLst>
                                          <p:attrName>ppt_h</p:attrName>
                                        </p:attrNameLst>
                                      </p:cBhvr>
                                      <p:tavLst>
                                        <p:tav tm="0">
                                          <p:val>
                                            <p:fltVal val="0"/>
                                          </p:val>
                                        </p:tav>
                                        <p:tav tm="100000">
                                          <p:val>
                                            <p:strVal val="#ppt_h"/>
                                          </p:val>
                                        </p:tav>
                                      </p:tavLst>
                                    </p:anim>
                                    <p:animEffect filter="fade" transition="in">
                                      <p:cBhvr>
                                        <p:cTn dur="500" id="60"/>
                                        <p:tgtEl>
                                          <p:spTgt spid="88"/>
                                        </p:tgtEl>
                                      </p:cBhvr>
                                    </p:animEffect>
                                  </p:childTnLst>
                                </p:cTn>
                              </p:par>
                              <p:par>
                                <p:cTn fill="hold" id="61" nodeType="withEffect" presetClass="entr" presetID="53" presetSubtype="0">
                                  <p:stCondLst>
                                    <p:cond delay="0"/>
                                  </p:stCondLst>
                                  <p:childTnLst>
                                    <p:set>
                                      <p:cBhvr>
                                        <p:cTn dur="1" fill="hold" id="62">
                                          <p:stCondLst>
                                            <p:cond delay="0"/>
                                          </p:stCondLst>
                                        </p:cTn>
                                        <p:tgtEl>
                                          <p:spTgt spid="91"/>
                                        </p:tgtEl>
                                        <p:attrNameLst>
                                          <p:attrName>style.visibility</p:attrName>
                                        </p:attrNameLst>
                                      </p:cBhvr>
                                      <p:to>
                                        <p:strVal val="visible"/>
                                      </p:to>
                                    </p:set>
                                    <p:anim calcmode="lin" valueType="num">
                                      <p:cBhvr>
                                        <p:cTn dur="500" fill="hold" id="63"/>
                                        <p:tgtEl>
                                          <p:spTgt spid="91"/>
                                        </p:tgtEl>
                                        <p:attrNameLst>
                                          <p:attrName>ppt_w</p:attrName>
                                        </p:attrNameLst>
                                      </p:cBhvr>
                                      <p:tavLst>
                                        <p:tav tm="0">
                                          <p:val>
                                            <p:fltVal val="0"/>
                                          </p:val>
                                        </p:tav>
                                        <p:tav tm="100000">
                                          <p:val>
                                            <p:strVal val="#ppt_w"/>
                                          </p:val>
                                        </p:tav>
                                      </p:tavLst>
                                    </p:anim>
                                    <p:anim calcmode="lin" valueType="num">
                                      <p:cBhvr>
                                        <p:cTn dur="500" fill="hold" id="64"/>
                                        <p:tgtEl>
                                          <p:spTgt spid="91"/>
                                        </p:tgtEl>
                                        <p:attrNameLst>
                                          <p:attrName>ppt_h</p:attrName>
                                        </p:attrNameLst>
                                      </p:cBhvr>
                                      <p:tavLst>
                                        <p:tav tm="0">
                                          <p:val>
                                            <p:fltVal val="0"/>
                                          </p:val>
                                        </p:tav>
                                        <p:tav tm="100000">
                                          <p:val>
                                            <p:strVal val="#ppt_h"/>
                                          </p:val>
                                        </p:tav>
                                      </p:tavLst>
                                    </p:anim>
                                    <p:animEffect filter="fade" transition="in">
                                      <p:cBhvr>
                                        <p:cTn dur="500" id="65"/>
                                        <p:tgtEl>
                                          <p:spTgt spid="91"/>
                                        </p:tgtEl>
                                      </p:cBhvr>
                                    </p:animEffect>
                                  </p:childTnLst>
                                </p:cTn>
                              </p:par>
                            </p:childTnLst>
                          </p:cTn>
                        </p:par>
                        <p:par>
                          <p:cTn fill="hold" id="66" nodeType="afterGroup">
                            <p:stCondLst>
                              <p:cond delay="3000"/>
                            </p:stCondLst>
                            <p:childTnLst>
                              <p:par>
                                <p:cTn fill="hold" id="67" nodeType="afterEffect" presetClass="entr" presetID="22" presetSubtype="2">
                                  <p:stCondLst>
                                    <p:cond delay="250"/>
                                  </p:stCondLst>
                                  <p:childTnLst>
                                    <p:set>
                                      <p:cBhvr>
                                        <p:cTn dur="1" fill="hold" id="68">
                                          <p:stCondLst>
                                            <p:cond delay="0"/>
                                          </p:stCondLst>
                                        </p:cTn>
                                        <p:tgtEl>
                                          <p:spTgt spid="94"/>
                                        </p:tgtEl>
                                        <p:attrNameLst>
                                          <p:attrName>style.visibility</p:attrName>
                                        </p:attrNameLst>
                                      </p:cBhvr>
                                      <p:to>
                                        <p:strVal val="visible"/>
                                      </p:to>
                                    </p:set>
                                    <p:animEffect filter="wipe(right)" transition="in">
                                      <p:cBhvr>
                                        <p:cTn dur="500" id="69"/>
                                        <p:tgtEl>
                                          <p:spTgt spid="94"/>
                                        </p:tgtEl>
                                      </p:cBhvr>
                                    </p:animEffect>
                                  </p:childTnLst>
                                </p:cTn>
                              </p:par>
                              <p:par>
                                <p:cTn fill="hold" id="70" nodeType="withEffect" presetClass="entr" presetID="22" presetSubtype="2">
                                  <p:stCondLst>
                                    <p:cond delay="250"/>
                                  </p:stCondLst>
                                  <p:childTnLst>
                                    <p:set>
                                      <p:cBhvr>
                                        <p:cTn dur="1" fill="hold" id="71">
                                          <p:stCondLst>
                                            <p:cond delay="0"/>
                                          </p:stCondLst>
                                        </p:cTn>
                                        <p:tgtEl>
                                          <p:spTgt spid="97"/>
                                        </p:tgtEl>
                                        <p:attrNameLst>
                                          <p:attrName>style.visibility</p:attrName>
                                        </p:attrNameLst>
                                      </p:cBhvr>
                                      <p:to>
                                        <p:strVal val="visible"/>
                                      </p:to>
                                    </p:set>
                                    <p:animEffect filter="wipe(right)" transition="in">
                                      <p:cBhvr>
                                        <p:cTn dur="500" id="72"/>
                                        <p:tgtEl>
                                          <p:spTgt spid="97"/>
                                        </p:tgtEl>
                                      </p:cBhvr>
                                    </p:animEffect>
                                  </p:childTnLst>
                                </p:cTn>
                              </p:par>
                              <p:par>
                                <p:cTn fill="hold" id="73" nodeType="withEffect" presetClass="entr" presetID="22" presetSubtype="8">
                                  <p:stCondLst>
                                    <p:cond delay="250"/>
                                  </p:stCondLst>
                                  <p:childTnLst>
                                    <p:set>
                                      <p:cBhvr>
                                        <p:cTn dur="1" fill="hold" id="74">
                                          <p:stCondLst>
                                            <p:cond delay="0"/>
                                          </p:stCondLst>
                                        </p:cTn>
                                        <p:tgtEl>
                                          <p:spTgt spid="100"/>
                                        </p:tgtEl>
                                        <p:attrNameLst>
                                          <p:attrName>style.visibility</p:attrName>
                                        </p:attrNameLst>
                                      </p:cBhvr>
                                      <p:to>
                                        <p:strVal val="visible"/>
                                      </p:to>
                                    </p:set>
                                    <p:animEffect filter="wipe(left)" transition="in">
                                      <p:cBhvr>
                                        <p:cTn dur="500" id="75"/>
                                        <p:tgtEl>
                                          <p:spTgt spid="100"/>
                                        </p:tgtEl>
                                      </p:cBhvr>
                                    </p:animEffect>
                                  </p:childTnLst>
                                </p:cTn>
                              </p:par>
                              <p:par>
                                <p:cTn fill="hold" id="76" nodeType="withEffect" presetClass="entr" presetID="22" presetSubtype="8">
                                  <p:stCondLst>
                                    <p:cond delay="250"/>
                                  </p:stCondLst>
                                  <p:childTnLst>
                                    <p:set>
                                      <p:cBhvr>
                                        <p:cTn dur="1" fill="hold" id="77">
                                          <p:stCondLst>
                                            <p:cond delay="0"/>
                                          </p:stCondLst>
                                        </p:cTn>
                                        <p:tgtEl>
                                          <p:spTgt spid="103"/>
                                        </p:tgtEl>
                                        <p:attrNameLst>
                                          <p:attrName>style.visibility</p:attrName>
                                        </p:attrNameLst>
                                      </p:cBhvr>
                                      <p:to>
                                        <p:strVal val="visible"/>
                                      </p:to>
                                    </p:set>
                                    <p:animEffect filter="wipe(left)" transition="in">
                                      <p:cBhvr>
                                        <p:cTn dur="500" id="78"/>
                                        <p:tgtEl>
                                          <p:spTgt spid="103"/>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10"/>
      <p:bldP grpId="0" spid="80"/>
      <p:bldP grpId="0" spid="81"/>
      <p:bldP grpId="0" spid="106"/>
      <p:bldP grpId="0" spid="107"/>
    </p:bldLst>
  </p:timing>
</p:sld>
</file>

<file path=ppt/slides/slide22.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7" name="椭圆 6">
            <a:extLst>
              <a:ext uri="{FF2B5EF4-FFF2-40B4-BE49-F238E27FC236}">
                <a16:creationId xmlns:a16="http://schemas.microsoft.com/office/drawing/2014/main" id="{97F35CCF-B1AD-40AD-9D77-E1886CA3C847}"/>
              </a:ext>
            </a:extLst>
          </p:cNvPr>
          <p:cNvSpPr/>
          <p:nvPr/>
        </p:nvSpPr>
        <p:spPr>
          <a:xfrm>
            <a:off x="11325281" y="5957455"/>
            <a:ext cx="1193212" cy="1193212"/>
          </a:xfrm>
          <a:prstGeom prst="ellipse">
            <a:avLst/>
          </a:prstGeom>
          <a:solidFill>
            <a:srgbClr val="A0CBD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10" name="文本框 9">
            <a:extLst>
              <a:ext uri="{FF2B5EF4-FFF2-40B4-BE49-F238E27FC236}">
                <a16:creationId xmlns:a16="http://schemas.microsoft.com/office/drawing/2014/main" id="{3EF1E9ED-80AB-4909-8BA5-A43F4FCE2334}"/>
              </a:ext>
            </a:extLst>
          </p:cNvPr>
          <p:cNvSpPr txBox="1"/>
          <p:nvPr/>
        </p:nvSpPr>
        <p:spPr>
          <a:xfrm>
            <a:off x="4133850" y="390618"/>
            <a:ext cx="3924300" cy="640080"/>
          </a:xfrm>
          <a:prstGeom prst="rect">
            <a:avLst/>
          </a:prstGeom>
          <a:noFill/>
        </p:spPr>
        <p:txBody>
          <a:bodyPr rtlCol="0" wrap="square">
            <a:spAutoFit/>
          </a:bodyPr>
          <a:lstStyle/>
          <a:p>
            <a:pPr algn="ctr"/>
            <a:r>
              <a:rPr altLang="en-US" lang="zh-CN" sz="3600">
                <a:solidFill>
                  <a:schemeClr val="tx1">
                    <a:lumMod val="85000"/>
                    <a:lumOff val="15000"/>
                  </a:schemeClr>
                </a:solidFill>
                <a:latin charset="-122" panose="02000500000000000000" pitchFamily="2" typeface="方正雅士黑 简"/>
                <a:ea charset="-122" panose="02000500000000000000" pitchFamily="2" typeface="方正雅士黑 简"/>
              </a:rPr>
              <a:t>未来工作计划</a:t>
            </a:r>
          </a:p>
        </p:txBody>
      </p:sp>
      <p:cxnSp>
        <p:nvCxnSpPr>
          <p:cNvPr id="13" name="直接连接符 12">
            <a:extLst>
              <a:ext uri="{FF2B5EF4-FFF2-40B4-BE49-F238E27FC236}">
                <a16:creationId xmlns:a16="http://schemas.microsoft.com/office/drawing/2014/main" id="{63C006F1-C17E-4B5D-A667-14B1AFD009FE}"/>
              </a:ext>
            </a:extLst>
          </p:cNvPr>
          <p:cNvCxnSpPr/>
          <p:nvPr/>
        </p:nvCxnSpPr>
        <p:spPr>
          <a:xfrm>
            <a:off x="7791452" y="683005"/>
            <a:ext cx="571498" cy="0"/>
          </a:xfrm>
          <a:prstGeom prst="line">
            <a:avLst/>
          </a:prstGeom>
          <a:ln cap="rnd" w="19050">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pic>
        <p:nvPicPr>
          <p:cNvPr id="15" name="图形 14">
            <a:extLst>
              <a:ext uri="{FF2B5EF4-FFF2-40B4-BE49-F238E27FC236}">
                <a16:creationId xmlns:a16="http://schemas.microsoft.com/office/drawing/2014/main" id="{D0B6809A-9193-440B-AB59-9B5857A764E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314825" y="597280"/>
            <a:ext cx="171450" cy="171450"/>
          </a:xfrm>
          <a:prstGeom prst="rect">
            <a:avLst/>
          </a:prstGeom>
        </p:spPr>
      </p:pic>
      <p:pic>
        <p:nvPicPr>
          <p:cNvPr id="16" name="图形 15">
            <a:extLst>
              <a:ext uri="{FF2B5EF4-FFF2-40B4-BE49-F238E27FC236}">
                <a16:creationId xmlns:a16="http://schemas.microsoft.com/office/drawing/2014/main" id="{1508760C-4270-4AAF-AD1C-A51CD87667C3}"/>
              </a:ext>
            </a:extLst>
          </p:cNvPr>
          <p:cNvPicPr>
            <a:picLocks noChangeAspect="1"/>
          </p:cNvPicPr>
          <p:nvPr/>
        </p:nvPicPr>
        <p:blipFill>
          <a:blip r:embed="rId3">
            <a:extLst>
              <a:ext uri="{96DAC541-7B7A-43D3-8B79-37D633B846F1}">
                <asvg:svgBlip xmlns:asvg="http://schemas.microsoft.com/office/drawing/2016/SVG/main" r:embed="rId5"/>
              </a:ext>
            </a:extLst>
          </a:blip>
          <a:stretch>
            <a:fillRect/>
          </a:stretch>
        </p:blipFill>
        <p:spPr>
          <a:xfrm>
            <a:off x="7705727" y="597280"/>
            <a:ext cx="171450" cy="171450"/>
          </a:xfrm>
          <a:prstGeom prst="rect">
            <a:avLst/>
          </a:prstGeom>
        </p:spPr>
      </p:pic>
      <p:cxnSp>
        <p:nvCxnSpPr>
          <p:cNvPr id="18" name="直接连接符 17">
            <a:extLst>
              <a:ext uri="{FF2B5EF4-FFF2-40B4-BE49-F238E27FC236}">
                <a16:creationId xmlns:a16="http://schemas.microsoft.com/office/drawing/2014/main" id="{D59B9B17-AB83-41D0-BA0B-C09A6571714C}"/>
              </a:ext>
            </a:extLst>
          </p:cNvPr>
          <p:cNvCxnSpPr/>
          <p:nvPr/>
        </p:nvCxnSpPr>
        <p:spPr>
          <a:xfrm>
            <a:off x="3829052" y="683005"/>
            <a:ext cx="571498" cy="0"/>
          </a:xfrm>
          <a:prstGeom prst="line">
            <a:avLst/>
          </a:prstGeom>
          <a:ln cap="rnd" w="19050">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pic>
        <p:nvPicPr>
          <p:cNvPr id="11" name="图形 10">
            <a:extLst>
              <a:ext uri="{FF2B5EF4-FFF2-40B4-BE49-F238E27FC236}">
                <a16:creationId xmlns:a16="http://schemas.microsoft.com/office/drawing/2014/main" id="{E1E887FF-8850-4D33-8F22-CAEB6902B244}"/>
              </a:ext>
            </a:extLst>
          </p:cNvPr>
          <p:cNvPicPr>
            <a:picLocks noChangeAspect="1"/>
          </p:cNvPicPr>
          <p:nvPr/>
        </p:nvPicPr>
        <p:blipFill>
          <a:blip r:embed="rId6">
            <a:extLst>
              <a:ext uri="{96DAC541-7B7A-43D3-8B79-37D633B846F1}">
                <asvg:svgBlip xmlns:asvg="http://schemas.microsoft.com/office/drawing/2016/SVG/main" r:embed="rId7"/>
              </a:ext>
            </a:extLst>
          </a:blip>
          <a:srcRect b="5670" l="19172" r="22017" t="1040"/>
          <a:stretch>
            <a:fillRect/>
          </a:stretch>
        </p:blipFill>
        <p:spPr>
          <a:xfrm>
            <a:off x="11287125" y="5671165"/>
            <a:ext cx="742156" cy="976539"/>
          </a:xfrm>
          <a:custGeom>
            <a:rect b="b" l="l" r="r" t="t"/>
            <a:pathLst>
              <a:path h="1297335" w="1036327">
                <a:moveTo>
                  <a:pt x="507467" y="0"/>
                </a:moveTo>
                <a:cubicBezTo>
                  <a:pt x="671202" y="0"/>
                  <a:pt x="789583" y="30522"/>
                  <a:pt x="862608" y="91567"/>
                </a:cubicBezTo>
                <a:cubicBezTo>
                  <a:pt x="935633" y="152611"/>
                  <a:pt x="972145" y="229345"/>
                  <a:pt x="972145" y="321767"/>
                </a:cubicBezTo>
                <a:cubicBezTo>
                  <a:pt x="972145" y="375965"/>
                  <a:pt x="957312" y="425029"/>
                  <a:pt x="927646" y="468958"/>
                </a:cubicBezTo>
                <a:cubicBezTo>
                  <a:pt x="897979" y="512887"/>
                  <a:pt x="853194" y="551396"/>
                  <a:pt x="793291" y="584486"/>
                </a:cubicBezTo>
                <a:cubicBezTo>
                  <a:pt x="841784" y="596466"/>
                  <a:pt x="878867" y="610444"/>
                  <a:pt x="904540" y="626418"/>
                </a:cubicBezTo>
                <a:cubicBezTo>
                  <a:pt x="946187" y="652091"/>
                  <a:pt x="978564" y="685894"/>
                  <a:pt x="1001669" y="727826"/>
                </a:cubicBezTo>
                <a:cubicBezTo>
                  <a:pt x="1024775" y="769758"/>
                  <a:pt x="1036328" y="819820"/>
                  <a:pt x="1036328" y="878012"/>
                </a:cubicBezTo>
                <a:cubicBezTo>
                  <a:pt x="1036328" y="951037"/>
                  <a:pt x="1017215" y="1021067"/>
                  <a:pt x="978991" y="1088102"/>
                </a:cubicBezTo>
                <a:cubicBezTo>
                  <a:pt x="940767" y="1155136"/>
                  <a:pt x="885713" y="1206767"/>
                  <a:pt x="813829" y="1242994"/>
                </a:cubicBezTo>
                <a:cubicBezTo>
                  <a:pt x="741945" y="1279222"/>
                  <a:pt x="647526" y="1297335"/>
                  <a:pt x="530572" y="1297335"/>
                </a:cubicBezTo>
                <a:cubicBezTo>
                  <a:pt x="416471" y="1297335"/>
                  <a:pt x="326473" y="1283928"/>
                  <a:pt x="260580" y="1257114"/>
                </a:cubicBezTo>
                <a:cubicBezTo>
                  <a:pt x="194686" y="1230301"/>
                  <a:pt x="140488" y="1191078"/>
                  <a:pt x="97985" y="1139447"/>
                </a:cubicBezTo>
                <a:cubicBezTo>
                  <a:pt x="55482" y="1087816"/>
                  <a:pt x="22820" y="1022921"/>
                  <a:pt x="0" y="944761"/>
                </a:cubicBezTo>
                <a:lnTo>
                  <a:pt x="348295" y="898550"/>
                </a:lnTo>
                <a:cubicBezTo>
                  <a:pt x="361987" y="968723"/>
                  <a:pt x="383239" y="1017359"/>
                  <a:pt x="412049" y="1044458"/>
                </a:cubicBezTo>
                <a:cubicBezTo>
                  <a:pt x="440860" y="1071557"/>
                  <a:pt x="477515" y="1085106"/>
                  <a:pt x="522015" y="1085106"/>
                </a:cubicBezTo>
                <a:cubicBezTo>
                  <a:pt x="568796" y="1085106"/>
                  <a:pt x="607734" y="1067991"/>
                  <a:pt x="638826" y="1033761"/>
                </a:cubicBezTo>
                <a:cubicBezTo>
                  <a:pt x="669919" y="999530"/>
                  <a:pt x="685465" y="953890"/>
                  <a:pt x="685465" y="896839"/>
                </a:cubicBezTo>
                <a:cubicBezTo>
                  <a:pt x="685465" y="838647"/>
                  <a:pt x="670489" y="793577"/>
                  <a:pt x="640538" y="761628"/>
                </a:cubicBezTo>
                <a:cubicBezTo>
                  <a:pt x="610586" y="729680"/>
                  <a:pt x="569937" y="713706"/>
                  <a:pt x="518592" y="713706"/>
                </a:cubicBezTo>
                <a:cubicBezTo>
                  <a:pt x="491207" y="713706"/>
                  <a:pt x="453554" y="720552"/>
                  <a:pt x="405631" y="734244"/>
                </a:cubicBezTo>
                <a:lnTo>
                  <a:pt x="423602" y="485217"/>
                </a:lnTo>
                <a:cubicBezTo>
                  <a:pt x="442999" y="488070"/>
                  <a:pt x="458118" y="489496"/>
                  <a:pt x="468957" y="489496"/>
                </a:cubicBezTo>
                <a:cubicBezTo>
                  <a:pt x="514598" y="489496"/>
                  <a:pt x="552679" y="474948"/>
                  <a:pt x="583202" y="445852"/>
                </a:cubicBezTo>
                <a:cubicBezTo>
                  <a:pt x="613724" y="416756"/>
                  <a:pt x="628985" y="382241"/>
                  <a:pt x="628985" y="342305"/>
                </a:cubicBezTo>
                <a:cubicBezTo>
                  <a:pt x="628985" y="304081"/>
                  <a:pt x="617575" y="273559"/>
                  <a:pt x="594754" y="250739"/>
                </a:cubicBezTo>
                <a:cubicBezTo>
                  <a:pt x="571934" y="227918"/>
                  <a:pt x="540556" y="216508"/>
                  <a:pt x="500621" y="216508"/>
                </a:cubicBezTo>
                <a:cubicBezTo>
                  <a:pt x="459544" y="216508"/>
                  <a:pt x="426169" y="228917"/>
                  <a:pt x="400497" y="253734"/>
                </a:cubicBezTo>
                <a:cubicBezTo>
                  <a:pt x="374824" y="278551"/>
                  <a:pt x="357423" y="322052"/>
                  <a:pt x="348295" y="384237"/>
                </a:cubicBezTo>
                <a:lnTo>
                  <a:pt x="18827" y="325190"/>
                </a:lnTo>
                <a:cubicBezTo>
                  <a:pt x="46211" y="220216"/>
                  <a:pt x="98841" y="139775"/>
                  <a:pt x="176715" y="83865"/>
                </a:cubicBezTo>
                <a:cubicBezTo>
                  <a:pt x="254589" y="27955"/>
                  <a:pt x="364840" y="0"/>
                  <a:pt x="507467" y="0"/>
                </a:cubicBezTo>
                <a:close/>
              </a:path>
            </a:pathLst>
          </a:custGeom>
        </p:spPr>
      </p:pic>
      <p:pic>
        <p:nvPicPr>
          <p:cNvPr id="90" name="图片 89">
            <a:extLst>
              <a:ext uri="{FF2B5EF4-FFF2-40B4-BE49-F238E27FC236}">
                <a16:creationId xmlns:a16="http://schemas.microsoft.com/office/drawing/2014/main" id="{083CCEAE-CFBB-4C87-9D0B-90B52925B1F4}"/>
              </a:ext>
            </a:extLst>
          </p:cNvPr>
          <p:cNvPicPr>
            <a:picLocks noChangeAspect="1"/>
          </p:cNvPicPr>
          <p:nvPr/>
        </p:nvPicPr>
        <p:blipFill>
          <a:blip r:embed="rId8">
            <a:extLst>
              <a:ext uri="{28A0092B-C50C-407E-A947-70E740481C1C}">
                <a14:useLocalDpi val="0"/>
              </a:ext>
            </a:extLst>
          </a:blip>
          <a:stretch>
            <a:fillRect/>
          </a:stretch>
        </p:blipFill>
        <p:spPr>
          <a:xfrm rot="18841528">
            <a:off x="759496" y="936820"/>
            <a:ext cx="4366306" cy="4366306"/>
          </a:xfrm>
          <a:prstGeom prst="rect">
            <a:avLst/>
          </a:prstGeom>
        </p:spPr>
      </p:pic>
      <p:pic>
        <p:nvPicPr>
          <p:cNvPr id="91" name="图片 90">
            <a:extLst>
              <a:ext uri="{FF2B5EF4-FFF2-40B4-BE49-F238E27FC236}">
                <a16:creationId xmlns:a16="http://schemas.microsoft.com/office/drawing/2014/main" id="{4C20DA6F-AD80-4B53-B501-EF0FB9ED1C2E}"/>
              </a:ext>
            </a:extLst>
          </p:cNvPr>
          <p:cNvPicPr>
            <a:picLocks noChangeAspect="1"/>
          </p:cNvPicPr>
          <p:nvPr/>
        </p:nvPicPr>
        <p:blipFill>
          <a:blip r:embed="rId8">
            <a:extLst>
              <a:ext uri="{28A0092B-C50C-407E-A947-70E740481C1C}">
                <a14:useLocalDpi val="0"/>
              </a:ext>
            </a:extLst>
          </a:blip>
          <a:stretch>
            <a:fillRect/>
          </a:stretch>
        </p:blipFill>
        <p:spPr>
          <a:xfrm rot="18841528">
            <a:off x="3912847" y="851095"/>
            <a:ext cx="4366306" cy="4366306"/>
          </a:xfrm>
          <a:prstGeom prst="rect">
            <a:avLst/>
          </a:prstGeom>
        </p:spPr>
      </p:pic>
      <p:pic>
        <p:nvPicPr>
          <p:cNvPr id="92" name="图片 91">
            <a:extLst>
              <a:ext uri="{FF2B5EF4-FFF2-40B4-BE49-F238E27FC236}">
                <a16:creationId xmlns:a16="http://schemas.microsoft.com/office/drawing/2014/main" id="{5591A4C8-09B2-45B6-BDBE-4FEEAEC3D45C}"/>
              </a:ext>
            </a:extLst>
          </p:cNvPr>
          <p:cNvPicPr>
            <a:picLocks noChangeAspect="1"/>
          </p:cNvPicPr>
          <p:nvPr/>
        </p:nvPicPr>
        <p:blipFill>
          <a:blip r:embed="rId8">
            <a:extLst>
              <a:ext uri="{28A0092B-C50C-407E-A947-70E740481C1C}">
                <a14:useLocalDpi val="0"/>
              </a:ext>
            </a:extLst>
          </a:blip>
          <a:stretch>
            <a:fillRect/>
          </a:stretch>
        </p:blipFill>
        <p:spPr>
          <a:xfrm rot="18841528">
            <a:off x="7152246" y="851095"/>
            <a:ext cx="4366306" cy="4366306"/>
          </a:xfrm>
          <a:prstGeom prst="rect">
            <a:avLst/>
          </a:prstGeom>
        </p:spPr>
      </p:pic>
      <p:sp>
        <p:nvSpPr>
          <p:cNvPr id="93" name="Rectangle 46">
            <a:extLst>
              <a:ext uri="{FF2B5EF4-FFF2-40B4-BE49-F238E27FC236}">
                <a16:creationId xmlns:a16="http://schemas.microsoft.com/office/drawing/2014/main" id="{31B6FD52-834D-45D3-93A7-0C2ABE00D708}"/>
              </a:ext>
            </a:extLst>
          </p:cNvPr>
          <p:cNvSpPr/>
          <p:nvPr>
            <p:custDataLst>
              <p:tags r:id="rId9"/>
            </p:custDataLst>
          </p:nvPr>
        </p:nvSpPr>
        <p:spPr>
          <a:xfrm>
            <a:off x="1718642" y="2666237"/>
            <a:ext cx="2448014" cy="90747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defTabSz="914332"/>
            <a:r>
              <a:rPr lang="en-US" spc="-151" sz="6000">
                <a:solidFill>
                  <a:schemeClr val="tx1">
                    <a:lumMod val="75000"/>
                    <a:lumOff val="25000"/>
                  </a:schemeClr>
                </a:solidFill>
                <a:latin charset="-122" panose="020b0800000000000000" pitchFamily="34" typeface="思源黑体 CN Bold"/>
                <a:ea charset="-122" panose="020b0800000000000000" pitchFamily="34" typeface="思源黑体 CN Bold"/>
                <a:cs charset="0" panose="020b0706030804020204" pitchFamily="34" typeface="Open Sans Semibold"/>
              </a:rPr>
              <a:t>65%</a:t>
            </a:r>
          </a:p>
        </p:txBody>
      </p:sp>
      <p:sp>
        <p:nvSpPr>
          <p:cNvPr id="94" name="Rectangle 46">
            <a:extLst>
              <a:ext uri="{FF2B5EF4-FFF2-40B4-BE49-F238E27FC236}">
                <a16:creationId xmlns:a16="http://schemas.microsoft.com/office/drawing/2014/main" id="{A9648360-1834-42EA-8A32-DD3082CE8B3D}"/>
              </a:ext>
            </a:extLst>
          </p:cNvPr>
          <p:cNvSpPr/>
          <p:nvPr>
            <p:custDataLst>
              <p:tags r:id="rId10"/>
            </p:custDataLst>
          </p:nvPr>
        </p:nvSpPr>
        <p:spPr>
          <a:xfrm>
            <a:off x="4871993" y="2666237"/>
            <a:ext cx="2448014" cy="90747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defTabSz="914332"/>
            <a:r>
              <a:rPr lang="en-US" spc="-151" sz="6000">
                <a:solidFill>
                  <a:schemeClr val="tx1">
                    <a:lumMod val="75000"/>
                    <a:lumOff val="25000"/>
                  </a:schemeClr>
                </a:solidFill>
                <a:latin charset="-122" panose="020b0800000000000000" pitchFamily="34" typeface="思源黑体 CN Bold"/>
                <a:ea charset="-122" panose="020b0800000000000000" pitchFamily="34" typeface="思源黑体 CN Bold"/>
                <a:cs charset="0" panose="020b0706030804020204" pitchFamily="34" typeface="Open Sans Semibold"/>
              </a:rPr>
              <a:t>65%</a:t>
            </a:r>
          </a:p>
        </p:txBody>
      </p:sp>
      <p:sp>
        <p:nvSpPr>
          <p:cNvPr id="95" name="Rectangle 46">
            <a:extLst>
              <a:ext uri="{FF2B5EF4-FFF2-40B4-BE49-F238E27FC236}">
                <a16:creationId xmlns:a16="http://schemas.microsoft.com/office/drawing/2014/main" id="{1B54D6D2-5AC2-4B63-8663-18B677C0A279}"/>
              </a:ext>
            </a:extLst>
          </p:cNvPr>
          <p:cNvSpPr/>
          <p:nvPr>
            <p:custDataLst>
              <p:tags r:id="rId11"/>
            </p:custDataLst>
          </p:nvPr>
        </p:nvSpPr>
        <p:spPr>
          <a:xfrm>
            <a:off x="8177744" y="2666237"/>
            <a:ext cx="2448014" cy="90747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defTabSz="914332"/>
            <a:r>
              <a:rPr lang="en-US" spc="-151" sz="6000">
                <a:solidFill>
                  <a:schemeClr val="tx1">
                    <a:lumMod val="75000"/>
                    <a:lumOff val="25000"/>
                  </a:schemeClr>
                </a:solidFill>
                <a:latin charset="-122" panose="020b0800000000000000" pitchFamily="34" typeface="思源黑体 CN Bold"/>
                <a:ea charset="-122" panose="020b0800000000000000" pitchFamily="34" typeface="思源黑体 CN Bold"/>
                <a:cs charset="0" panose="020b0706030804020204" pitchFamily="34" typeface="Open Sans Semibold"/>
              </a:rPr>
              <a:t>65%</a:t>
            </a:r>
          </a:p>
        </p:txBody>
      </p:sp>
      <p:grpSp>
        <p:nvGrpSpPr>
          <p:cNvPr id="96" name="Group 9">
            <a:extLst>
              <a:ext uri="{FF2B5EF4-FFF2-40B4-BE49-F238E27FC236}">
                <a16:creationId xmlns:a16="http://schemas.microsoft.com/office/drawing/2014/main" id="{EE3C37D9-CBA2-4126-8C7B-DF2972706F35}"/>
              </a:ext>
            </a:extLst>
          </p:cNvPr>
          <p:cNvGrpSpPr/>
          <p:nvPr/>
        </p:nvGrpSpPr>
        <p:grpSpPr>
          <a:xfrm>
            <a:off x="3446728" y="4631117"/>
            <a:ext cx="2079094" cy="1188869"/>
            <a:chOff x="948999" y="2265458"/>
            <a:chExt cx="1980352" cy="1441571"/>
          </a:xfrm>
        </p:grpSpPr>
        <p:sp>
          <p:nvSpPr>
            <p:cNvPr id="97" name="TextBox 56">
              <a:extLst>
                <a:ext uri="{FF2B5EF4-FFF2-40B4-BE49-F238E27FC236}">
                  <a16:creationId xmlns:a16="http://schemas.microsoft.com/office/drawing/2014/main" id="{C1733F3D-FFEA-4129-BDFB-BB31F55C1AAD}"/>
                </a:ext>
              </a:extLst>
            </p:cNvPr>
            <p:cNvSpPr txBox="1"/>
            <p:nvPr/>
          </p:nvSpPr>
          <p:spPr>
            <a:xfrm>
              <a:off x="1416593" y="2265459"/>
              <a:ext cx="1045167" cy="776133"/>
            </a:xfrm>
            <a:prstGeom prst="rect">
              <a:avLst/>
            </a:prstGeom>
            <a:noFill/>
          </p:spPr>
          <p:txBody>
            <a:bodyPr rtlCol="0" wrap="none">
              <a:spAutoFit/>
            </a:bodyPr>
            <a:lstStyle/>
            <a:p>
              <a:pPr algn="ctr" defTabSz="1219110"/>
              <a:r>
                <a:rPr altLang="en-US" b="1" lang="zh-CN">
                  <a:solidFill>
                    <a:schemeClr val="tx1">
                      <a:lumMod val="85000"/>
                      <a:lumOff val="15000"/>
                    </a:schemeClr>
                  </a:solidFill>
                  <a:latin panose="020f0502020204030204" typeface="等线"/>
                </a:rPr>
                <a:t>标题文本</a:t>
              </a:r>
            </a:p>
            <a:p>
              <a:pPr algn="ctr" defTabSz="1219110"/>
              <a:r>
                <a:rPr altLang="en-US" b="1" lang="zh-CN">
                  <a:solidFill>
                    <a:schemeClr val="tx1">
                      <a:lumMod val="85000"/>
                      <a:lumOff val="15000"/>
                    </a:schemeClr>
                  </a:solidFill>
                  <a:latin panose="020f0502020204030204" typeface="等线"/>
                </a:rPr>
                <a:t>……</a:t>
              </a:r>
            </a:p>
          </p:txBody>
        </p:sp>
        <p:sp>
          <p:nvSpPr>
            <p:cNvPr id="98" name="Rectangle 58">
              <a:extLst>
                <a:ext uri="{FF2B5EF4-FFF2-40B4-BE49-F238E27FC236}">
                  <a16:creationId xmlns:a16="http://schemas.microsoft.com/office/drawing/2014/main" id="{7CE6CA41-534C-4BFF-9338-46286C110267}"/>
                </a:ext>
              </a:extLst>
            </p:cNvPr>
            <p:cNvSpPr/>
            <p:nvPr/>
          </p:nvSpPr>
          <p:spPr>
            <a:xfrm>
              <a:off x="948999" y="2811847"/>
              <a:ext cx="1980352" cy="1108762"/>
            </a:xfrm>
            <a:prstGeom prst="rect">
              <a:avLst/>
            </a:prstGeom>
          </p:spPr>
          <p:txBody>
            <a:bodyPr wrap="square">
              <a:spAutoFit/>
            </a:bodyPr>
            <a:lstStyle/>
            <a:p>
              <a:pPr algn="ctr">
                <a:lnSpc>
                  <a:spcPct val="150000"/>
                </a:lnSpc>
              </a:pPr>
              <a:r>
                <a:rPr altLang="en-US" lang="zh-CN" sz="1200">
                  <a:solidFill>
                    <a:schemeClr val="tx1">
                      <a:lumMod val="75000"/>
                      <a:lumOff val="25000"/>
                    </a:schemeClr>
                  </a:solidFill>
                  <a:latin typeface="+mn-ea"/>
                </a:rPr>
                <a:t>这里可以添加主要内容这里可以添加主要内容这里可以添加主要内容</a:t>
              </a:r>
            </a:p>
          </p:txBody>
        </p:sp>
      </p:grpSp>
      <p:grpSp>
        <p:nvGrpSpPr>
          <p:cNvPr id="99" name="Group 9">
            <a:extLst>
              <a:ext uri="{FF2B5EF4-FFF2-40B4-BE49-F238E27FC236}">
                <a16:creationId xmlns:a16="http://schemas.microsoft.com/office/drawing/2014/main" id="{08DE5368-58C3-4AD3-AFDE-39529232908D}"/>
              </a:ext>
            </a:extLst>
          </p:cNvPr>
          <p:cNvGrpSpPr/>
          <p:nvPr/>
        </p:nvGrpSpPr>
        <p:grpSpPr>
          <a:xfrm>
            <a:off x="6675116" y="4631117"/>
            <a:ext cx="2079094" cy="1188869"/>
            <a:chOff x="948999" y="2265458"/>
            <a:chExt cx="1980352" cy="1441571"/>
          </a:xfrm>
        </p:grpSpPr>
        <p:sp>
          <p:nvSpPr>
            <p:cNvPr id="100" name="TextBox 56">
              <a:extLst>
                <a:ext uri="{FF2B5EF4-FFF2-40B4-BE49-F238E27FC236}">
                  <a16:creationId xmlns:a16="http://schemas.microsoft.com/office/drawing/2014/main" id="{811A7647-F6B2-4B90-B912-B5A3F74CA3DD}"/>
                </a:ext>
              </a:extLst>
            </p:cNvPr>
            <p:cNvSpPr txBox="1"/>
            <p:nvPr/>
          </p:nvSpPr>
          <p:spPr>
            <a:xfrm>
              <a:off x="1416592" y="2265458"/>
              <a:ext cx="1045167" cy="776133"/>
            </a:xfrm>
            <a:prstGeom prst="rect">
              <a:avLst/>
            </a:prstGeom>
            <a:noFill/>
          </p:spPr>
          <p:txBody>
            <a:bodyPr rtlCol="0" wrap="none">
              <a:spAutoFit/>
            </a:bodyPr>
            <a:lstStyle/>
            <a:p>
              <a:pPr algn="ctr" defTabSz="1219110"/>
              <a:r>
                <a:rPr altLang="en-US" b="1" lang="zh-CN">
                  <a:solidFill>
                    <a:schemeClr val="tx1">
                      <a:lumMod val="85000"/>
                      <a:lumOff val="15000"/>
                    </a:schemeClr>
                  </a:solidFill>
                  <a:latin panose="020f0502020204030204" typeface="等线"/>
                </a:rPr>
                <a:t>标题文本</a:t>
              </a:r>
            </a:p>
            <a:p>
              <a:pPr algn="ctr" defTabSz="1219110"/>
              <a:r>
                <a:rPr altLang="en-US" b="1" lang="zh-CN">
                  <a:solidFill>
                    <a:schemeClr val="tx1">
                      <a:lumMod val="85000"/>
                      <a:lumOff val="15000"/>
                    </a:schemeClr>
                  </a:solidFill>
                  <a:latin panose="020f0502020204030204" typeface="等线"/>
                </a:rPr>
                <a:t>……</a:t>
              </a:r>
            </a:p>
          </p:txBody>
        </p:sp>
        <p:sp>
          <p:nvSpPr>
            <p:cNvPr id="101" name="Rectangle 58">
              <a:extLst>
                <a:ext uri="{FF2B5EF4-FFF2-40B4-BE49-F238E27FC236}">
                  <a16:creationId xmlns:a16="http://schemas.microsoft.com/office/drawing/2014/main" id="{8FC6CDCF-3480-43DA-A264-06EA234D3C38}"/>
                </a:ext>
              </a:extLst>
            </p:cNvPr>
            <p:cNvSpPr/>
            <p:nvPr/>
          </p:nvSpPr>
          <p:spPr>
            <a:xfrm>
              <a:off x="949001" y="2811847"/>
              <a:ext cx="1980352" cy="1108762"/>
            </a:xfrm>
            <a:prstGeom prst="rect">
              <a:avLst/>
            </a:prstGeom>
          </p:spPr>
          <p:txBody>
            <a:bodyPr wrap="square">
              <a:spAutoFit/>
            </a:bodyPr>
            <a:lstStyle/>
            <a:p>
              <a:pPr algn="ctr">
                <a:lnSpc>
                  <a:spcPct val="150000"/>
                </a:lnSpc>
              </a:pPr>
              <a:r>
                <a:rPr altLang="en-US" lang="zh-CN" sz="1200">
                  <a:solidFill>
                    <a:schemeClr val="tx1">
                      <a:lumMod val="75000"/>
                      <a:lumOff val="25000"/>
                    </a:schemeClr>
                  </a:solidFill>
                  <a:latin typeface="+mn-ea"/>
                </a:rPr>
                <a:t>这里可以添加主要内容这里可以添加主要内容这里可以添加主要内容</a:t>
              </a:r>
            </a:p>
          </p:txBody>
        </p:sp>
      </p:grpSp>
      <p:sp>
        <p:nvSpPr>
          <p:cNvPr id="102" name="arrowheads-of-thin-outline-to-the-left_32766">
            <a:extLst>
              <a:ext uri="{FF2B5EF4-FFF2-40B4-BE49-F238E27FC236}">
                <a16:creationId xmlns:a16="http://schemas.microsoft.com/office/drawing/2014/main" id="{EBB0E7FC-7328-4A7D-98B7-CDF408BE187C}"/>
              </a:ext>
            </a:extLst>
          </p:cNvPr>
          <p:cNvSpPr>
            <a:spLocks noChangeAspect="1"/>
          </p:cNvSpPr>
          <p:nvPr/>
        </p:nvSpPr>
        <p:spPr bwMode="auto">
          <a:xfrm>
            <a:off x="1851259" y="5191126"/>
            <a:ext cx="434189" cy="433986"/>
          </a:xfrm>
          <a:custGeom>
            <a:gdLst>
              <a:gd fmla="*/ 5083 w 6101" name="T0"/>
              <a:gd fmla="*/ 3053 h 6107" name="T1"/>
              <a:gd fmla="*/ 2791 w 6101" name="T2"/>
              <a:gd fmla="*/ 761 h 6107" name="T3"/>
              <a:gd fmla="*/ 2791 w 6101" name="T4"/>
              <a:gd fmla="*/ 164 h 6107" name="T5"/>
              <a:gd fmla="*/ 3387 w 6101" name="T6"/>
              <a:gd fmla="*/ 164 h 6107" name="T7"/>
              <a:gd fmla="*/ 5978 w 6101" name="T8"/>
              <a:gd fmla="*/ 2755 h 6107" name="T9"/>
              <a:gd fmla="*/ 6101 w 6101" name="T10"/>
              <a:gd fmla="*/ 3053 h 6107" name="T11"/>
              <a:gd fmla="*/ 5978 w 6101" name="T12"/>
              <a:gd fmla="*/ 3351 h 6107" name="T13"/>
              <a:gd fmla="*/ 3387 w 6101" name="T14"/>
              <a:gd fmla="*/ 5942 h 6107" name="T15"/>
              <a:gd fmla="*/ 2791 w 6101" name="T16"/>
              <a:gd fmla="*/ 5942 h 6107" name="T17"/>
              <a:gd fmla="*/ 2791 w 6101" name="T18"/>
              <a:gd fmla="*/ 5345 h 6107" name="T19"/>
              <a:gd fmla="*/ 5083 w 6101" name="T20"/>
              <a:gd fmla="*/ 3053 h 6107" name="T21"/>
              <a:gd fmla="*/ 165 w 6101" name="T22"/>
              <a:gd fmla="*/ 5345 h 6107" name="T23"/>
              <a:gd fmla="*/ 165 w 6101" name="T24"/>
              <a:gd fmla="*/ 5942 h 6107" name="T25"/>
              <a:gd fmla="*/ 761 w 6101" name="T26"/>
              <a:gd fmla="*/ 5942 h 6107" name="T27"/>
              <a:gd fmla="*/ 3352 w 6101" name="T28"/>
              <a:gd fmla="*/ 3351 h 6107" name="T29"/>
              <a:gd fmla="*/ 3475 w 6101" name="T30"/>
              <a:gd fmla="*/ 3053 h 6107" name="T31"/>
              <a:gd fmla="*/ 3352 w 6101" name="T32"/>
              <a:gd fmla="*/ 2755 h 6107" name="T33"/>
              <a:gd fmla="*/ 761 w 6101" name="T34"/>
              <a:gd fmla="*/ 164 h 6107" name="T35"/>
              <a:gd fmla="*/ 165 w 6101" name="T36"/>
              <a:gd fmla="*/ 164 h 6107" name="T37"/>
              <a:gd fmla="*/ 165 w 6101" name="T38"/>
              <a:gd fmla="*/ 761 h 6107" name="T39"/>
              <a:gd fmla="*/ 2457 w 6101" name="T40"/>
              <a:gd fmla="*/ 3053 h 6107" name="T41"/>
              <a:gd fmla="*/ 165 w 6101" name="T42"/>
              <a:gd fmla="*/ 5345 h 6107" name="T4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b="b" l="0" r="r" t="0"/>
            <a:pathLst>
              <a:path h="6107" w="6101">
                <a:moveTo>
                  <a:pt x="5083" y="3053"/>
                </a:moveTo>
                <a:lnTo>
                  <a:pt x="2791" y="761"/>
                </a:lnTo>
                <a:cubicBezTo>
                  <a:pt x="2626" y="596"/>
                  <a:pt x="2626" y="329"/>
                  <a:pt x="2791" y="164"/>
                </a:cubicBezTo>
                <a:cubicBezTo>
                  <a:pt x="2955" y="0"/>
                  <a:pt x="3222" y="0"/>
                  <a:pt x="3387" y="164"/>
                </a:cubicBezTo>
                <a:lnTo>
                  <a:pt x="5978" y="2755"/>
                </a:lnTo>
                <a:cubicBezTo>
                  <a:pt x="6060" y="2837"/>
                  <a:pt x="6101" y="2945"/>
                  <a:pt x="6101" y="3053"/>
                </a:cubicBezTo>
                <a:cubicBezTo>
                  <a:pt x="6101" y="3161"/>
                  <a:pt x="6060" y="3269"/>
                  <a:pt x="5978" y="3351"/>
                </a:cubicBezTo>
                <a:lnTo>
                  <a:pt x="3387" y="5942"/>
                </a:lnTo>
                <a:cubicBezTo>
                  <a:pt x="3222" y="6107"/>
                  <a:pt x="2955" y="6107"/>
                  <a:pt x="2791" y="5942"/>
                </a:cubicBezTo>
                <a:cubicBezTo>
                  <a:pt x="2626" y="5777"/>
                  <a:pt x="2626" y="5510"/>
                  <a:pt x="2791" y="5345"/>
                </a:cubicBezTo>
                <a:lnTo>
                  <a:pt x="5083" y="3053"/>
                </a:lnTo>
                <a:close/>
                <a:moveTo>
                  <a:pt x="165" y="5345"/>
                </a:moveTo>
                <a:cubicBezTo>
                  <a:pt x="0" y="5510"/>
                  <a:pt x="0" y="5777"/>
                  <a:pt x="165" y="5942"/>
                </a:cubicBezTo>
                <a:cubicBezTo>
                  <a:pt x="329" y="6107"/>
                  <a:pt x="596" y="6107"/>
                  <a:pt x="761" y="5942"/>
                </a:cubicBezTo>
                <a:lnTo>
                  <a:pt x="3352" y="3351"/>
                </a:lnTo>
                <a:cubicBezTo>
                  <a:pt x="3434" y="3269"/>
                  <a:pt x="3475" y="3161"/>
                  <a:pt x="3475" y="3053"/>
                </a:cubicBezTo>
                <a:cubicBezTo>
                  <a:pt x="3475" y="2945"/>
                  <a:pt x="3434" y="2837"/>
                  <a:pt x="3352" y="2755"/>
                </a:cubicBezTo>
                <a:lnTo>
                  <a:pt x="761" y="164"/>
                </a:lnTo>
                <a:cubicBezTo>
                  <a:pt x="596" y="0"/>
                  <a:pt x="329" y="0"/>
                  <a:pt x="165" y="164"/>
                </a:cubicBezTo>
                <a:cubicBezTo>
                  <a:pt x="0" y="329"/>
                  <a:pt x="0" y="596"/>
                  <a:pt x="165" y="761"/>
                </a:cubicBezTo>
                <a:lnTo>
                  <a:pt x="2457" y="3053"/>
                </a:lnTo>
                <a:lnTo>
                  <a:pt x="165" y="5345"/>
                </a:lnTo>
                <a:close/>
              </a:path>
            </a:pathLst>
          </a:custGeom>
          <a:solidFill>
            <a:schemeClr val="bg1">
              <a:lumMod val="75000"/>
            </a:schemeClr>
          </a:solidFill>
          <a:ln>
            <a:noFill/>
          </a:ln>
        </p:spPr>
        <p:txBody>
          <a:bodyPr/>
          <a:lstStyle/>
          <a:p>
            <a:endParaRPr altLang="en-US" lang="zh-CN"/>
          </a:p>
        </p:txBody>
      </p:sp>
      <p:sp>
        <p:nvSpPr>
          <p:cNvPr id="103" name="arrowheads-of-thin-outline-to-the-left_32766">
            <a:extLst>
              <a:ext uri="{FF2B5EF4-FFF2-40B4-BE49-F238E27FC236}">
                <a16:creationId xmlns:a16="http://schemas.microsoft.com/office/drawing/2014/main" id="{E4CB9EDF-60E9-4375-897C-47731F078FEB}"/>
              </a:ext>
            </a:extLst>
          </p:cNvPr>
          <p:cNvSpPr>
            <a:spLocks noChangeAspect="1"/>
          </p:cNvSpPr>
          <p:nvPr/>
        </p:nvSpPr>
        <p:spPr bwMode="auto">
          <a:xfrm>
            <a:off x="5878906" y="5191126"/>
            <a:ext cx="434189" cy="433986"/>
          </a:xfrm>
          <a:custGeom>
            <a:gdLst>
              <a:gd fmla="*/ 5083 w 6101" name="T0"/>
              <a:gd fmla="*/ 3053 h 6107" name="T1"/>
              <a:gd fmla="*/ 2791 w 6101" name="T2"/>
              <a:gd fmla="*/ 761 h 6107" name="T3"/>
              <a:gd fmla="*/ 2791 w 6101" name="T4"/>
              <a:gd fmla="*/ 164 h 6107" name="T5"/>
              <a:gd fmla="*/ 3387 w 6101" name="T6"/>
              <a:gd fmla="*/ 164 h 6107" name="T7"/>
              <a:gd fmla="*/ 5978 w 6101" name="T8"/>
              <a:gd fmla="*/ 2755 h 6107" name="T9"/>
              <a:gd fmla="*/ 6101 w 6101" name="T10"/>
              <a:gd fmla="*/ 3053 h 6107" name="T11"/>
              <a:gd fmla="*/ 5978 w 6101" name="T12"/>
              <a:gd fmla="*/ 3351 h 6107" name="T13"/>
              <a:gd fmla="*/ 3387 w 6101" name="T14"/>
              <a:gd fmla="*/ 5942 h 6107" name="T15"/>
              <a:gd fmla="*/ 2791 w 6101" name="T16"/>
              <a:gd fmla="*/ 5942 h 6107" name="T17"/>
              <a:gd fmla="*/ 2791 w 6101" name="T18"/>
              <a:gd fmla="*/ 5345 h 6107" name="T19"/>
              <a:gd fmla="*/ 5083 w 6101" name="T20"/>
              <a:gd fmla="*/ 3053 h 6107" name="T21"/>
              <a:gd fmla="*/ 165 w 6101" name="T22"/>
              <a:gd fmla="*/ 5345 h 6107" name="T23"/>
              <a:gd fmla="*/ 165 w 6101" name="T24"/>
              <a:gd fmla="*/ 5942 h 6107" name="T25"/>
              <a:gd fmla="*/ 761 w 6101" name="T26"/>
              <a:gd fmla="*/ 5942 h 6107" name="T27"/>
              <a:gd fmla="*/ 3352 w 6101" name="T28"/>
              <a:gd fmla="*/ 3351 h 6107" name="T29"/>
              <a:gd fmla="*/ 3475 w 6101" name="T30"/>
              <a:gd fmla="*/ 3053 h 6107" name="T31"/>
              <a:gd fmla="*/ 3352 w 6101" name="T32"/>
              <a:gd fmla="*/ 2755 h 6107" name="T33"/>
              <a:gd fmla="*/ 761 w 6101" name="T34"/>
              <a:gd fmla="*/ 164 h 6107" name="T35"/>
              <a:gd fmla="*/ 165 w 6101" name="T36"/>
              <a:gd fmla="*/ 164 h 6107" name="T37"/>
              <a:gd fmla="*/ 165 w 6101" name="T38"/>
              <a:gd fmla="*/ 761 h 6107" name="T39"/>
              <a:gd fmla="*/ 2457 w 6101" name="T40"/>
              <a:gd fmla="*/ 3053 h 6107" name="T41"/>
              <a:gd fmla="*/ 165 w 6101" name="T42"/>
              <a:gd fmla="*/ 5345 h 6107" name="T4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b="b" l="0" r="r" t="0"/>
            <a:pathLst>
              <a:path h="6107" w="6101">
                <a:moveTo>
                  <a:pt x="5083" y="3053"/>
                </a:moveTo>
                <a:lnTo>
                  <a:pt x="2791" y="761"/>
                </a:lnTo>
                <a:cubicBezTo>
                  <a:pt x="2626" y="596"/>
                  <a:pt x="2626" y="329"/>
                  <a:pt x="2791" y="164"/>
                </a:cubicBezTo>
                <a:cubicBezTo>
                  <a:pt x="2955" y="0"/>
                  <a:pt x="3222" y="0"/>
                  <a:pt x="3387" y="164"/>
                </a:cubicBezTo>
                <a:lnTo>
                  <a:pt x="5978" y="2755"/>
                </a:lnTo>
                <a:cubicBezTo>
                  <a:pt x="6060" y="2837"/>
                  <a:pt x="6101" y="2945"/>
                  <a:pt x="6101" y="3053"/>
                </a:cubicBezTo>
                <a:cubicBezTo>
                  <a:pt x="6101" y="3161"/>
                  <a:pt x="6060" y="3269"/>
                  <a:pt x="5978" y="3351"/>
                </a:cubicBezTo>
                <a:lnTo>
                  <a:pt x="3387" y="5942"/>
                </a:lnTo>
                <a:cubicBezTo>
                  <a:pt x="3222" y="6107"/>
                  <a:pt x="2955" y="6107"/>
                  <a:pt x="2791" y="5942"/>
                </a:cubicBezTo>
                <a:cubicBezTo>
                  <a:pt x="2626" y="5777"/>
                  <a:pt x="2626" y="5510"/>
                  <a:pt x="2791" y="5345"/>
                </a:cubicBezTo>
                <a:lnTo>
                  <a:pt x="5083" y="3053"/>
                </a:lnTo>
                <a:close/>
                <a:moveTo>
                  <a:pt x="165" y="5345"/>
                </a:moveTo>
                <a:cubicBezTo>
                  <a:pt x="0" y="5510"/>
                  <a:pt x="0" y="5777"/>
                  <a:pt x="165" y="5942"/>
                </a:cubicBezTo>
                <a:cubicBezTo>
                  <a:pt x="329" y="6107"/>
                  <a:pt x="596" y="6107"/>
                  <a:pt x="761" y="5942"/>
                </a:cubicBezTo>
                <a:lnTo>
                  <a:pt x="3352" y="3351"/>
                </a:lnTo>
                <a:cubicBezTo>
                  <a:pt x="3434" y="3269"/>
                  <a:pt x="3475" y="3161"/>
                  <a:pt x="3475" y="3053"/>
                </a:cubicBezTo>
                <a:cubicBezTo>
                  <a:pt x="3475" y="2945"/>
                  <a:pt x="3434" y="2837"/>
                  <a:pt x="3352" y="2755"/>
                </a:cubicBezTo>
                <a:lnTo>
                  <a:pt x="761" y="164"/>
                </a:lnTo>
                <a:cubicBezTo>
                  <a:pt x="596" y="0"/>
                  <a:pt x="329" y="0"/>
                  <a:pt x="165" y="164"/>
                </a:cubicBezTo>
                <a:cubicBezTo>
                  <a:pt x="0" y="329"/>
                  <a:pt x="0" y="596"/>
                  <a:pt x="165" y="761"/>
                </a:cubicBezTo>
                <a:lnTo>
                  <a:pt x="2457" y="3053"/>
                </a:lnTo>
                <a:lnTo>
                  <a:pt x="165" y="5345"/>
                </a:lnTo>
                <a:close/>
              </a:path>
            </a:pathLst>
          </a:custGeom>
          <a:solidFill>
            <a:schemeClr val="bg1">
              <a:lumMod val="75000"/>
            </a:schemeClr>
          </a:solidFill>
          <a:ln>
            <a:noFill/>
          </a:ln>
        </p:spPr>
        <p:txBody>
          <a:bodyPr/>
          <a:lstStyle/>
          <a:p>
            <a:endParaRPr altLang="en-US" lang="zh-CN"/>
          </a:p>
        </p:txBody>
      </p:sp>
      <p:sp>
        <p:nvSpPr>
          <p:cNvPr id="108" name="arrowheads-of-thin-outline-to-the-left_32766">
            <a:extLst>
              <a:ext uri="{FF2B5EF4-FFF2-40B4-BE49-F238E27FC236}">
                <a16:creationId xmlns:a16="http://schemas.microsoft.com/office/drawing/2014/main" id="{9BC26CF2-3C4B-41BC-AB90-5E804ACB2501}"/>
              </a:ext>
            </a:extLst>
          </p:cNvPr>
          <p:cNvSpPr>
            <a:spLocks noChangeAspect="1"/>
          </p:cNvSpPr>
          <p:nvPr/>
        </p:nvSpPr>
        <p:spPr bwMode="auto">
          <a:xfrm>
            <a:off x="9687284" y="5191126"/>
            <a:ext cx="434189" cy="433986"/>
          </a:xfrm>
          <a:custGeom>
            <a:gdLst>
              <a:gd fmla="*/ 5083 w 6101" name="T0"/>
              <a:gd fmla="*/ 3053 h 6107" name="T1"/>
              <a:gd fmla="*/ 2791 w 6101" name="T2"/>
              <a:gd fmla="*/ 761 h 6107" name="T3"/>
              <a:gd fmla="*/ 2791 w 6101" name="T4"/>
              <a:gd fmla="*/ 164 h 6107" name="T5"/>
              <a:gd fmla="*/ 3387 w 6101" name="T6"/>
              <a:gd fmla="*/ 164 h 6107" name="T7"/>
              <a:gd fmla="*/ 5978 w 6101" name="T8"/>
              <a:gd fmla="*/ 2755 h 6107" name="T9"/>
              <a:gd fmla="*/ 6101 w 6101" name="T10"/>
              <a:gd fmla="*/ 3053 h 6107" name="T11"/>
              <a:gd fmla="*/ 5978 w 6101" name="T12"/>
              <a:gd fmla="*/ 3351 h 6107" name="T13"/>
              <a:gd fmla="*/ 3387 w 6101" name="T14"/>
              <a:gd fmla="*/ 5942 h 6107" name="T15"/>
              <a:gd fmla="*/ 2791 w 6101" name="T16"/>
              <a:gd fmla="*/ 5942 h 6107" name="T17"/>
              <a:gd fmla="*/ 2791 w 6101" name="T18"/>
              <a:gd fmla="*/ 5345 h 6107" name="T19"/>
              <a:gd fmla="*/ 5083 w 6101" name="T20"/>
              <a:gd fmla="*/ 3053 h 6107" name="T21"/>
              <a:gd fmla="*/ 165 w 6101" name="T22"/>
              <a:gd fmla="*/ 5345 h 6107" name="T23"/>
              <a:gd fmla="*/ 165 w 6101" name="T24"/>
              <a:gd fmla="*/ 5942 h 6107" name="T25"/>
              <a:gd fmla="*/ 761 w 6101" name="T26"/>
              <a:gd fmla="*/ 5942 h 6107" name="T27"/>
              <a:gd fmla="*/ 3352 w 6101" name="T28"/>
              <a:gd fmla="*/ 3351 h 6107" name="T29"/>
              <a:gd fmla="*/ 3475 w 6101" name="T30"/>
              <a:gd fmla="*/ 3053 h 6107" name="T31"/>
              <a:gd fmla="*/ 3352 w 6101" name="T32"/>
              <a:gd fmla="*/ 2755 h 6107" name="T33"/>
              <a:gd fmla="*/ 761 w 6101" name="T34"/>
              <a:gd fmla="*/ 164 h 6107" name="T35"/>
              <a:gd fmla="*/ 165 w 6101" name="T36"/>
              <a:gd fmla="*/ 164 h 6107" name="T37"/>
              <a:gd fmla="*/ 165 w 6101" name="T38"/>
              <a:gd fmla="*/ 761 h 6107" name="T39"/>
              <a:gd fmla="*/ 2457 w 6101" name="T40"/>
              <a:gd fmla="*/ 3053 h 6107" name="T41"/>
              <a:gd fmla="*/ 165 w 6101" name="T42"/>
              <a:gd fmla="*/ 5345 h 6107" name="T4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b="b" l="0" r="r" t="0"/>
            <a:pathLst>
              <a:path h="6107" w="6101">
                <a:moveTo>
                  <a:pt x="5083" y="3053"/>
                </a:moveTo>
                <a:lnTo>
                  <a:pt x="2791" y="761"/>
                </a:lnTo>
                <a:cubicBezTo>
                  <a:pt x="2626" y="596"/>
                  <a:pt x="2626" y="329"/>
                  <a:pt x="2791" y="164"/>
                </a:cubicBezTo>
                <a:cubicBezTo>
                  <a:pt x="2955" y="0"/>
                  <a:pt x="3222" y="0"/>
                  <a:pt x="3387" y="164"/>
                </a:cubicBezTo>
                <a:lnTo>
                  <a:pt x="5978" y="2755"/>
                </a:lnTo>
                <a:cubicBezTo>
                  <a:pt x="6060" y="2837"/>
                  <a:pt x="6101" y="2945"/>
                  <a:pt x="6101" y="3053"/>
                </a:cubicBezTo>
                <a:cubicBezTo>
                  <a:pt x="6101" y="3161"/>
                  <a:pt x="6060" y="3269"/>
                  <a:pt x="5978" y="3351"/>
                </a:cubicBezTo>
                <a:lnTo>
                  <a:pt x="3387" y="5942"/>
                </a:lnTo>
                <a:cubicBezTo>
                  <a:pt x="3222" y="6107"/>
                  <a:pt x="2955" y="6107"/>
                  <a:pt x="2791" y="5942"/>
                </a:cubicBezTo>
                <a:cubicBezTo>
                  <a:pt x="2626" y="5777"/>
                  <a:pt x="2626" y="5510"/>
                  <a:pt x="2791" y="5345"/>
                </a:cubicBezTo>
                <a:lnTo>
                  <a:pt x="5083" y="3053"/>
                </a:lnTo>
                <a:close/>
                <a:moveTo>
                  <a:pt x="165" y="5345"/>
                </a:moveTo>
                <a:cubicBezTo>
                  <a:pt x="0" y="5510"/>
                  <a:pt x="0" y="5777"/>
                  <a:pt x="165" y="5942"/>
                </a:cubicBezTo>
                <a:cubicBezTo>
                  <a:pt x="329" y="6107"/>
                  <a:pt x="596" y="6107"/>
                  <a:pt x="761" y="5942"/>
                </a:cubicBezTo>
                <a:lnTo>
                  <a:pt x="3352" y="3351"/>
                </a:lnTo>
                <a:cubicBezTo>
                  <a:pt x="3434" y="3269"/>
                  <a:pt x="3475" y="3161"/>
                  <a:pt x="3475" y="3053"/>
                </a:cubicBezTo>
                <a:cubicBezTo>
                  <a:pt x="3475" y="2945"/>
                  <a:pt x="3434" y="2837"/>
                  <a:pt x="3352" y="2755"/>
                </a:cubicBezTo>
                <a:lnTo>
                  <a:pt x="761" y="164"/>
                </a:lnTo>
                <a:cubicBezTo>
                  <a:pt x="596" y="0"/>
                  <a:pt x="329" y="0"/>
                  <a:pt x="165" y="164"/>
                </a:cubicBezTo>
                <a:cubicBezTo>
                  <a:pt x="0" y="329"/>
                  <a:pt x="0" y="596"/>
                  <a:pt x="165" y="761"/>
                </a:cubicBezTo>
                <a:lnTo>
                  <a:pt x="2457" y="3053"/>
                </a:lnTo>
                <a:lnTo>
                  <a:pt x="165" y="5345"/>
                </a:lnTo>
                <a:close/>
              </a:path>
            </a:pathLst>
          </a:custGeom>
          <a:solidFill>
            <a:schemeClr val="bg1">
              <a:lumMod val="75000"/>
            </a:schemeClr>
          </a:solidFill>
          <a:ln>
            <a:noFill/>
          </a:ln>
        </p:spPr>
        <p:txBody>
          <a:bodyPr/>
          <a:lstStyle/>
          <a:p>
            <a:endParaRPr altLang="en-US" lang="zh-CN"/>
          </a:p>
        </p:txBody>
      </p:sp>
    </p:spTree>
    <p:extLst>
      <p:ext uri="{BB962C8B-B14F-4D97-AF65-F5344CB8AC3E}">
        <p14:creationId val="736483704"/>
      </p:ext>
    </p:extLst>
  </p:cSld>
  <p:clrMapOvr>
    <a:masterClrMapping/>
  </p:clrMapOvr>
  <mc:AlternateContent>
    <mc:Choice Requires="p14">
      <p:transition p14:dur="1500" spd="slow">
        <p:random/>
      </p:transition>
    </mc:Choice>
    <mc:Fallback>
      <p:transition spd="slow">
        <p:random/>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decel="100000" fill="hold" grpId="0" id="5" nodeType="withEffect" presetClass="entr" presetID="50" presetSubtype="0">
                                  <p:stCondLst>
                                    <p:cond delay="0"/>
                                  </p:stCondLst>
                                  <p:childTnLst>
                                    <p:set>
                                      <p:cBhvr>
                                        <p:cTn dur="1" fill="hold" id="6">
                                          <p:stCondLst>
                                            <p:cond delay="0"/>
                                          </p:stCondLst>
                                        </p:cTn>
                                        <p:tgtEl>
                                          <p:spTgt spid="10"/>
                                        </p:tgtEl>
                                        <p:attrNameLst>
                                          <p:attrName>style.visibility</p:attrName>
                                        </p:attrNameLst>
                                      </p:cBhvr>
                                      <p:to>
                                        <p:strVal val="visible"/>
                                      </p:to>
                                    </p:set>
                                    <p:anim calcmode="lin" valueType="num">
                                      <p:cBhvr>
                                        <p:cTn dur="1000" fill="hold" id="7"/>
                                        <p:tgtEl>
                                          <p:spTgt spid="10"/>
                                        </p:tgtEl>
                                        <p:attrNameLst>
                                          <p:attrName>ppt_w</p:attrName>
                                        </p:attrNameLst>
                                      </p:cBhvr>
                                      <p:tavLst>
                                        <p:tav tm="0">
                                          <p:val>
                                            <p:strVal val="#ppt_w+.3"/>
                                          </p:val>
                                        </p:tav>
                                        <p:tav tm="100000">
                                          <p:val>
                                            <p:strVal val="#ppt_w"/>
                                          </p:val>
                                        </p:tav>
                                      </p:tavLst>
                                    </p:anim>
                                    <p:anim calcmode="lin" valueType="num">
                                      <p:cBhvr>
                                        <p:cTn dur="1000" fill="hold" id="8"/>
                                        <p:tgtEl>
                                          <p:spTgt spid="10"/>
                                        </p:tgtEl>
                                        <p:attrNameLst>
                                          <p:attrName>ppt_h</p:attrName>
                                        </p:attrNameLst>
                                      </p:cBhvr>
                                      <p:tavLst>
                                        <p:tav tm="0">
                                          <p:val>
                                            <p:strVal val="#ppt_h"/>
                                          </p:val>
                                        </p:tav>
                                        <p:tav tm="100000">
                                          <p:val>
                                            <p:strVal val="#ppt_h"/>
                                          </p:val>
                                        </p:tav>
                                      </p:tavLst>
                                    </p:anim>
                                    <p:animEffect filter="fade" transition="in">
                                      <p:cBhvr>
                                        <p:cTn dur="1000" id="9"/>
                                        <p:tgtEl>
                                          <p:spTgt spid="10"/>
                                        </p:tgtEl>
                                      </p:cBhvr>
                                    </p:animEffect>
                                  </p:childTnLst>
                                </p:cTn>
                              </p:par>
                              <p:par>
                                <p:cTn fill="hold" id="10" nodeType="withEffect" presetClass="entr" presetID="53" presetSubtype="0">
                                  <p:stCondLst>
                                    <p:cond delay="250"/>
                                  </p:stCondLst>
                                  <p:childTnLst>
                                    <p:set>
                                      <p:cBhvr>
                                        <p:cTn dur="1" fill="hold" id="11">
                                          <p:stCondLst>
                                            <p:cond delay="0"/>
                                          </p:stCondLst>
                                        </p:cTn>
                                        <p:tgtEl>
                                          <p:spTgt spid="15"/>
                                        </p:tgtEl>
                                        <p:attrNameLst>
                                          <p:attrName>style.visibility</p:attrName>
                                        </p:attrNameLst>
                                      </p:cBhvr>
                                      <p:to>
                                        <p:strVal val="visible"/>
                                      </p:to>
                                    </p:set>
                                    <p:anim calcmode="lin" valueType="num">
                                      <p:cBhvr>
                                        <p:cTn dur="500" fill="hold" id="12"/>
                                        <p:tgtEl>
                                          <p:spTgt spid="15"/>
                                        </p:tgtEl>
                                        <p:attrNameLst>
                                          <p:attrName>ppt_w</p:attrName>
                                        </p:attrNameLst>
                                      </p:cBhvr>
                                      <p:tavLst>
                                        <p:tav tm="0">
                                          <p:val>
                                            <p:fltVal val="0"/>
                                          </p:val>
                                        </p:tav>
                                        <p:tav tm="100000">
                                          <p:val>
                                            <p:strVal val="#ppt_w"/>
                                          </p:val>
                                        </p:tav>
                                      </p:tavLst>
                                    </p:anim>
                                    <p:anim calcmode="lin" valueType="num">
                                      <p:cBhvr>
                                        <p:cTn dur="500" fill="hold" id="13"/>
                                        <p:tgtEl>
                                          <p:spTgt spid="15"/>
                                        </p:tgtEl>
                                        <p:attrNameLst>
                                          <p:attrName>ppt_h</p:attrName>
                                        </p:attrNameLst>
                                      </p:cBhvr>
                                      <p:tavLst>
                                        <p:tav tm="0">
                                          <p:val>
                                            <p:fltVal val="0"/>
                                          </p:val>
                                        </p:tav>
                                        <p:tav tm="100000">
                                          <p:val>
                                            <p:strVal val="#ppt_h"/>
                                          </p:val>
                                        </p:tav>
                                      </p:tavLst>
                                    </p:anim>
                                    <p:animEffect filter="fade" transition="in">
                                      <p:cBhvr>
                                        <p:cTn dur="500" id="14"/>
                                        <p:tgtEl>
                                          <p:spTgt spid="15"/>
                                        </p:tgtEl>
                                      </p:cBhvr>
                                    </p:animEffect>
                                  </p:childTnLst>
                                </p:cTn>
                              </p:par>
                              <p:par>
                                <p:cTn fill="hold" id="15" nodeType="withEffect" presetClass="entr" presetID="53" presetSubtype="0">
                                  <p:stCondLst>
                                    <p:cond delay="250"/>
                                  </p:stCondLst>
                                  <p:childTnLst>
                                    <p:set>
                                      <p:cBhvr>
                                        <p:cTn dur="1" fill="hold" id="16">
                                          <p:stCondLst>
                                            <p:cond delay="0"/>
                                          </p:stCondLst>
                                        </p:cTn>
                                        <p:tgtEl>
                                          <p:spTgt spid="16"/>
                                        </p:tgtEl>
                                        <p:attrNameLst>
                                          <p:attrName>style.visibility</p:attrName>
                                        </p:attrNameLst>
                                      </p:cBhvr>
                                      <p:to>
                                        <p:strVal val="visible"/>
                                      </p:to>
                                    </p:set>
                                    <p:anim calcmode="lin" valueType="num">
                                      <p:cBhvr>
                                        <p:cTn dur="500" fill="hold" id="17"/>
                                        <p:tgtEl>
                                          <p:spTgt spid="16"/>
                                        </p:tgtEl>
                                        <p:attrNameLst>
                                          <p:attrName>ppt_w</p:attrName>
                                        </p:attrNameLst>
                                      </p:cBhvr>
                                      <p:tavLst>
                                        <p:tav tm="0">
                                          <p:val>
                                            <p:fltVal val="0"/>
                                          </p:val>
                                        </p:tav>
                                        <p:tav tm="100000">
                                          <p:val>
                                            <p:strVal val="#ppt_w"/>
                                          </p:val>
                                        </p:tav>
                                      </p:tavLst>
                                    </p:anim>
                                    <p:anim calcmode="lin" valueType="num">
                                      <p:cBhvr>
                                        <p:cTn dur="500" fill="hold" id="18"/>
                                        <p:tgtEl>
                                          <p:spTgt spid="16"/>
                                        </p:tgtEl>
                                        <p:attrNameLst>
                                          <p:attrName>ppt_h</p:attrName>
                                        </p:attrNameLst>
                                      </p:cBhvr>
                                      <p:tavLst>
                                        <p:tav tm="0">
                                          <p:val>
                                            <p:fltVal val="0"/>
                                          </p:val>
                                        </p:tav>
                                        <p:tav tm="100000">
                                          <p:val>
                                            <p:strVal val="#ppt_h"/>
                                          </p:val>
                                        </p:tav>
                                      </p:tavLst>
                                    </p:anim>
                                    <p:animEffect filter="fade" transition="in">
                                      <p:cBhvr>
                                        <p:cTn dur="500" id="19"/>
                                        <p:tgtEl>
                                          <p:spTgt spid="16"/>
                                        </p:tgtEl>
                                      </p:cBhvr>
                                    </p:animEffect>
                                  </p:childTnLst>
                                </p:cTn>
                              </p:par>
                              <p:par>
                                <p:cTn fill="hold" id="20" nodeType="withEffect" presetClass="entr" presetID="22" presetSubtype="8">
                                  <p:stCondLst>
                                    <p:cond delay="750"/>
                                  </p:stCondLst>
                                  <p:childTnLst>
                                    <p:set>
                                      <p:cBhvr>
                                        <p:cTn dur="1" fill="hold" id="21">
                                          <p:stCondLst>
                                            <p:cond delay="0"/>
                                          </p:stCondLst>
                                        </p:cTn>
                                        <p:tgtEl>
                                          <p:spTgt spid="13"/>
                                        </p:tgtEl>
                                        <p:attrNameLst>
                                          <p:attrName>style.visibility</p:attrName>
                                        </p:attrNameLst>
                                      </p:cBhvr>
                                      <p:to>
                                        <p:strVal val="visible"/>
                                      </p:to>
                                    </p:set>
                                    <p:animEffect filter="wipe(left)" transition="in">
                                      <p:cBhvr>
                                        <p:cTn dur="250" id="22"/>
                                        <p:tgtEl>
                                          <p:spTgt spid="13"/>
                                        </p:tgtEl>
                                      </p:cBhvr>
                                    </p:animEffect>
                                  </p:childTnLst>
                                </p:cTn>
                              </p:par>
                              <p:par>
                                <p:cTn fill="hold" id="23" nodeType="withEffect" presetClass="entr" presetID="22" presetSubtype="2">
                                  <p:stCondLst>
                                    <p:cond delay="750"/>
                                  </p:stCondLst>
                                  <p:childTnLst>
                                    <p:set>
                                      <p:cBhvr>
                                        <p:cTn dur="1" fill="hold" id="24">
                                          <p:stCondLst>
                                            <p:cond delay="0"/>
                                          </p:stCondLst>
                                        </p:cTn>
                                        <p:tgtEl>
                                          <p:spTgt spid="18"/>
                                        </p:tgtEl>
                                        <p:attrNameLst>
                                          <p:attrName>style.visibility</p:attrName>
                                        </p:attrNameLst>
                                      </p:cBhvr>
                                      <p:to>
                                        <p:strVal val="visible"/>
                                      </p:to>
                                    </p:set>
                                    <p:animEffect filter="wipe(right)" transition="in">
                                      <p:cBhvr>
                                        <p:cTn dur="250" id="25"/>
                                        <p:tgtEl>
                                          <p:spTgt spid="18"/>
                                        </p:tgtEl>
                                      </p:cBhvr>
                                    </p:animEffect>
                                  </p:childTnLst>
                                </p:cTn>
                              </p:par>
                            </p:childTnLst>
                          </p:cTn>
                        </p:par>
                        <p:par>
                          <p:cTn fill="hold" id="26" nodeType="afterGroup">
                            <p:stCondLst>
                              <p:cond delay="1000"/>
                            </p:stCondLst>
                            <p:childTnLst>
                              <p:par>
                                <p:cTn fill="hold" id="27" nodeType="afterEffect" presetClass="entr" presetID="42" presetSubtype="0">
                                  <p:stCondLst>
                                    <p:cond delay="0"/>
                                  </p:stCondLst>
                                  <p:childTnLst>
                                    <p:set>
                                      <p:cBhvr>
                                        <p:cTn dur="1" fill="hold" id="28">
                                          <p:stCondLst>
                                            <p:cond delay="0"/>
                                          </p:stCondLst>
                                        </p:cTn>
                                        <p:tgtEl>
                                          <p:spTgt spid="90"/>
                                        </p:tgtEl>
                                        <p:attrNameLst>
                                          <p:attrName>style.visibility</p:attrName>
                                        </p:attrNameLst>
                                      </p:cBhvr>
                                      <p:to>
                                        <p:strVal val="visible"/>
                                      </p:to>
                                    </p:set>
                                    <p:animEffect filter="fade" transition="in">
                                      <p:cBhvr>
                                        <p:cTn dur="1000" id="29"/>
                                        <p:tgtEl>
                                          <p:spTgt spid="90"/>
                                        </p:tgtEl>
                                      </p:cBhvr>
                                    </p:animEffect>
                                    <p:anim calcmode="lin" valueType="num">
                                      <p:cBhvr>
                                        <p:cTn dur="1000" fill="hold" id="30"/>
                                        <p:tgtEl>
                                          <p:spTgt spid="90"/>
                                        </p:tgtEl>
                                        <p:attrNameLst>
                                          <p:attrName>ppt_x</p:attrName>
                                        </p:attrNameLst>
                                      </p:cBhvr>
                                      <p:tavLst>
                                        <p:tav tm="0">
                                          <p:val>
                                            <p:strVal val="#ppt_x"/>
                                          </p:val>
                                        </p:tav>
                                        <p:tav tm="100000">
                                          <p:val>
                                            <p:strVal val="#ppt_x"/>
                                          </p:val>
                                        </p:tav>
                                      </p:tavLst>
                                    </p:anim>
                                    <p:anim calcmode="lin" valueType="num">
                                      <p:cBhvr>
                                        <p:cTn dur="1000" fill="hold" id="31"/>
                                        <p:tgtEl>
                                          <p:spTgt spid="90"/>
                                        </p:tgtEl>
                                        <p:attrNameLst>
                                          <p:attrName>ppt_y</p:attrName>
                                        </p:attrNameLst>
                                      </p:cBhvr>
                                      <p:tavLst>
                                        <p:tav tm="0">
                                          <p:val>
                                            <p:strVal val="#ppt_y+.1"/>
                                          </p:val>
                                        </p:tav>
                                        <p:tav tm="100000">
                                          <p:val>
                                            <p:strVal val="#ppt_y"/>
                                          </p:val>
                                        </p:tav>
                                      </p:tavLst>
                                    </p:anim>
                                  </p:childTnLst>
                                </p:cTn>
                              </p:par>
                              <p:par>
                                <p:cTn fill="hold" id="32" nodeType="withEffect" presetClass="entr" presetID="47" presetSubtype="0">
                                  <p:stCondLst>
                                    <p:cond delay="0"/>
                                  </p:stCondLst>
                                  <p:childTnLst>
                                    <p:set>
                                      <p:cBhvr>
                                        <p:cTn dur="1" fill="hold" id="33">
                                          <p:stCondLst>
                                            <p:cond delay="0"/>
                                          </p:stCondLst>
                                        </p:cTn>
                                        <p:tgtEl>
                                          <p:spTgt spid="91"/>
                                        </p:tgtEl>
                                        <p:attrNameLst>
                                          <p:attrName>style.visibility</p:attrName>
                                        </p:attrNameLst>
                                      </p:cBhvr>
                                      <p:to>
                                        <p:strVal val="visible"/>
                                      </p:to>
                                    </p:set>
                                    <p:animEffect filter="fade" transition="in">
                                      <p:cBhvr>
                                        <p:cTn dur="1000" id="34"/>
                                        <p:tgtEl>
                                          <p:spTgt spid="91"/>
                                        </p:tgtEl>
                                      </p:cBhvr>
                                    </p:animEffect>
                                    <p:anim calcmode="lin" valueType="num">
                                      <p:cBhvr>
                                        <p:cTn dur="1000" fill="hold" id="35"/>
                                        <p:tgtEl>
                                          <p:spTgt spid="91"/>
                                        </p:tgtEl>
                                        <p:attrNameLst>
                                          <p:attrName>ppt_x</p:attrName>
                                        </p:attrNameLst>
                                      </p:cBhvr>
                                      <p:tavLst>
                                        <p:tav tm="0">
                                          <p:val>
                                            <p:strVal val="#ppt_x"/>
                                          </p:val>
                                        </p:tav>
                                        <p:tav tm="100000">
                                          <p:val>
                                            <p:strVal val="#ppt_x"/>
                                          </p:val>
                                        </p:tav>
                                      </p:tavLst>
                                    </p:anim>
                                    <p:anim calcmode="lin" valueType="num">
                                      <p:cBhvr>
                                        <p:cTn dur="1000" fill="hold" id="36"/>
                                        <p:tgtEl>
                                          <p:spTgt spid="91"/>
                                        </p:tgtEl>
                                        <p:attrNameLst>
                                          <p:attrName>ppt_y</p:attrName>
                                        </p:attrNameLst>
                                      </p:cBhvr>
                                      <p:tavLst>
                                        <p:tav tm="0">
                                          <p:val>
                                            <p:strVal val="#ppt_y-.1"/>
                                          </p:val>
                                        </p:tav>
                                        <p:tav tm="100000">
                                          <p:val>
                                            <p:strVal val="#ppt_y"/>
                                          </p:val>
                                        </p:tav>
                                      </p:tavLst>
                                    </p:anim>
                                  </p:childTnLst>
                                </p:cTn>
                              </p:par>
                              <p:par>
                                <p:cTn fill="hold" id="37" nodeType="withEffect" presetClass="entr" presetID="42" presetSubtype="0">
                                  <p:stCondLst>
                                    <p:cond delay="0"/>
                                  </p:stCondLst>
                                  <p:childTnLst>
                                    <p:set>
                                      <p:cBhvr>
                                        <p:cTn dur="1" fill="hold" id="38">
                                          <p:stCondLst>
                                            <p:cond delay="0"/>
                                          </p:stCondLst>
                                        </p:cTn>
                                        <p:tgtEl>
                                          <p:spTgt spid="92"/>
                                        </p:tgtEl>
                                        <p:attrNameLst>
                                          <p:attrName>style.visibility</p:attrName>
                                        </p:attrNameLst>
                                      </p:cBhvr>
                                      <p:to>
                                        <p:strVal val="visible"/>
                                      </p:to>
                                    </p:set>
                                    <p:animEffect filter="fade" transition="in">
                                      <p:cBhvr>
                                        <p:cTn dur="1000" id="39"/>
                                        <p:tgtEl>
                                          <p:spTgt spid="92"/>
                                        </p:tgtEl>
                                      </p:cBhvr>
                                    </p:animEffect>
                                    <p:anim calcmode="lin" valueType="num">
                                      <p:cBhvr>
                                        <p:cTn dur="1000" fill="hold" id="40"/>
                                        <p:tgtEl>
                                          <p:spTgt spid="92"/>
                                        </p:tgtEl>
                                        <p:attrNameLst>
                                          <p:attrName>ppt_x</p:attrName>
                                        </p:attrNameLst>
                                      </p:cBhvr>
                                      <p:tavLst>
                                        <p:tav tm="0">
                                          <p:val>
                                            <p:strVal val="#ppt_x"/>
                                          </p:val>
                                        </p:tav>
                                        <p:tav tm="100000">
                                          <p:val>
                                            <p:strVal val="#ppt_x"/>
                                          </p:val>
                                        </p:tav>
                                      </p:tavLst>
                                    </p:anim>
                                    <p:anim calcmode="lin" valueType="num">
                                      <p:cBhvr>
                                        <p:cTn dur="1000" fill="hold" id="41"/>
                                        <p:tgtEl>
                                          <p:spTgt spid="92"/>
                                        </p:tgtEl>
                                        <p:attrNameLst>
                                          <p:attrName>ppt_y</p:attrName>
                                        </p:attrNameLst>
                                      </p:cBhvr>
                                      <p:tavLst>
                                        <p:tav tm="0">
                                          <p:val>
                                            <p:strVal val="#ppt_y+.1"/>
                                          </p:val>
                                        </p:tav>
                                        <p:tav tm="100000">
                                          <p:val>
                                            <p:strVal val="#ppt_y"/>
                                          </p:val>
                                        </p:tav>
                                      </p:tavLst>
                                    </p:anim>
                                  </p:childTnLst>
                                </p:cTn>
                              </p:par>
                            </p:childTnLst>
                          </p:cTn>
                        </p:par>
                        <p:par>
                          <p:cTn fill="hold" id="42" nodeType="afterGroup">
                            <p:stCondLst>
                              <p:cond delay="2000"/>
                            </p:stCondLst>
                            <p:childTnLst>
                              <p:par>
                                <p:cTn fill="hold" grpId="0" id="43" nodeType="afterEffect" presetClass="entr" presetID="53" presetSubtype="0">
                                  <p:stCondLst>
                                    <p:cond delay="0"/>
                                  </p:stCondLst>
                                  <p:childTnLst>
                                    <p:set>
                                      <p:cBhvr>
                                        <p:cTn dur="1" fill="hold" id="44">
                                          <p:stCondLst>
                                            <p:cond delay="0"/>
                                          </p:stCondLst>
                                        </p:cTn>
                                        <p:tgtEl>
                                          <p:spTgt spid="93"/>
                                        </p:tgtEl>
                                        <p:attrNameLst>
                                          <p:attrName>style.visibility</p:attrName>
                                        </p:attrNameLst>
                                      </p:cBhvr>
                                      <p:to>
                                        <p:strVal val="visible"/>
                                      </p:to>
                                    </p:set>
                                    <p:anim calcmode="lin" valueType="num">
                                      <p:cBhvr>
                                        <p:cTn dur="500" fill="hold" id="45"/>
                                        <p:tgtEl>
                                          <p:spTgt spid="93"/>
                                        </p:tgtEl>
                                        <p:attrNameLst>
                                          <p:attrName>ppt_w</p:attrName>
                                        </p:attrNameLst>
                                      </p:cBhvr>
                                      <p:tavLst>
                                        <p:tav tm="0">
                                          <p:val>
                                            <p:fltVal val="0"/>
                                          </p:val>
                                        </p:tav>
                                        <p:tav tm="100000">
                                          <p:val>
                                            <p:strVal val="#ppt_w"/>
                                          </p:val>
                                        </p:tav>
                                      </p:tavLst>
                                    </p:anim>
                                    <p:anim calcmode="lin" valueType="num">
                                      <p:cBhvr>
                                        <p:cTn dur="500" fill="hold" id="46"/>
                                        <p:tgtEl>
                                          <p:spTgt spid="93"/>
                                        </p:tgtEl>
                                        <p:attrNameLst>
                                          <p:attrName>ppt_h</p:attrName>
                                        </p:attrNameLst>
                                      </p:cBhvr>
                                      <p:tavLst>
                                        <p:tav tm="0">
                                          <p:val>
                                            <p:fltVal val="0"/>
                                          </p:val>
                                        </p:tav>
                                        <p:tav tm="100000">
                                          <p:val>
                                            <p:strVal val="#ppt_h"/>
                                          </p:val>
                                        </p:tav>
                                      </p:tavLst>
                                    </p:anim>
                                    <p:animEffect filter="fade" transition="in">
                                      <p:cBhvr>
                                        <p:cTn dur="500" id="47"/>
                                        <p:tgtEl>
                                          <p:spTgt spid="93"/>
                                        </p:tgtEl>
                                      </p:cBhvr>
                                    </p:animEffect>
                                  </p:childTnLst>
                                </p:cTn>
                              </p:par>
                            </p:childTnLst>
                          </p:cTn>
                        </p:par>
                        <p:par>
                          <p:cTn fill="hold" id="48" nodeType="afterGroup">
                            <p:stCondLst>
                              <p:cond delay="2500"/>
                            </p:stCondLst>
                            <p:childTnLst>
                              <p:par>
                                <p:cTn fill="hold" grpId="0" id="49" nodeType="afterEffect" presetClass="entr" presetID="22" presetSubtype="8">
                                  <p:stCondLst>
                                    <p:cond delay="0"/>
                                  </p:stCondLst>
                                  <p:childTnLst>
                                    <p:set>
                                      <p:cBhvr>
                                        <p:cTn dur="1" fill="hold" id="50">
                                          <p:stCondLst>
                                            <p:cond delay="0"/>
                                          </p:stCondLst>
                                        </p:cTn>
                                        <p:tgtEl>
                                          <p:spTgt spid="102"/>
                                        </p:tgtEl>
                                        <p:attrNameLst>
                                          <p:attrName>style.visibility</p:attrName>
                                        </p:attrNameLst>
                                      </p:cBhvr>
                                      <p:to>
                                        <p:strVal val="visible"/>
                                      </p:to>
                                    </p:set>
                                    <p:animEffect filter="wipe(left)" transition="in">
                                      <p:cBhvr>
                                        <p:cTn dur="500" id="51"/>
                                        <p:tgtEl>
                                          <p:spTgt spid="102"/>
                                        </p:tgtEl>
                                      </p:cBhvr>
                                    </p:animEffect>
                                  </p:childTnLst>
                                </p:cTn>
                              </p:par>
                            </p:childTnLst>
                          </p:cTn>
                        </p:par>
                        <p:par>
                          <p:cTn fill="hold" id="52" nodeType="afterGroup">
                            <p:stCondLst>
                              <p:cond delay="3000"/>
                            </p:stCondLst>
                            <p:childTnLst>
                              <p:par>
                                <p:cTn fill="hold" id="53" nodeType="afterEffect" presetClass="entr" presetID="22" presetSubtype="1">
                                  <p:stCondLst>
                                    <p:cond delay="0"/>
                                  </p:stCondLst>
                                  <p:childTnLst>
                                    <p:set>
                                      <p:cBhvr>
                                        <p:cTn dur="1" fill="hold" id="54">
                                          <p:stCondLst>
                                            <p:cond delay="0"/>
                                          </p:stCondLst>
                                        </p:cTn>
                                        <p:tgtEl>
                                          <p:spTgt spid="96"/>
                                        </p:tgtEl>
                                        <p:attrNameLst>
                                          <p:attrName>style.visibility</p:attrName>
                                        </p:attrNameLst>
                                      </p:cBhvr>
                                      <p:to>
                                        <p:strVal val="visible"/>
                                      </p:to>
                                    </p:set>
                                    <p:animEffect filter="wipe(up)" transition="in">
                                      <p:cBhvr>
                                        <p:cTn dur="500" id="55"/>
                                        <p:tgtEl>
                                          <p:spTgt spid="96"/>
                                        </p:tgtEl>
                                      </p:cBhvr>
                                    </p:animEffect>
                                  </p:childTnLst>
                                </p:cTn>
                              </p:par>
                            </p:childTnLst>
                          </p:cTn>
                        </p:par>
                        <p:par>
                          <p:cTn fill="hold" id="56" nodeType="afterGroup">
                            <p:stCondLst>
                              <p:cond delay="3500"/>
                            </p:stCondLst>
                            <p:childTnLst>
                              <p:par>
                                <p:cTn fill="hold" grpId="0" id="57" nodeType="afterEffect" presetClass="entr" presetID="53" presetSubtype="0">
                                  <p:stCondLst>
                                    <p:cond delay="0"/>
                                  </p:stCondLst>
                                  <p:childTnLst>
                                    <p:set>
                                      <p:cBhvr>
                                        <p:cTn dur="1" fill="hold" id="58">
                                          <p:stCondLst>
                                            <p:cond delay="0"/>
                                          </p:stCondLst>
                                        </p:cTn>
                                        <p:tgtEl>
                                          <p:spTgt spid="94"/>
                                        </p:tgtEl>
                                        <p:attrNameLst>
                                          <p:attrName>style.visibility</p:attrName>
                                        </p:attrNameLst>
                                      </p:cBhvr>
                                      <p:to>
                                        <p:strVal val="visible"/>
                                      </p:to>
                                    </p:set>
                                    <p:anim calcmode="lin" valueType="num">
                                      <p:cBhvr>
                                        <p:cTn dur="500" fill="hold" id="59"/>
                                        <p:tgtEl>
                                          <p:spTgt spid="94"/>
                                        </p:tgtEl>
                                        <p:attrNameLst>
                                          <p:attrName>ppt_w</p:attrName>
                                        </p:attrNameLst>
                                      </p:cBhvr>
                                      <p:tavLst>
                                        <p:tav tm="0">
                                          <p:val>
                                            <p:fltVal val="0"/>
                                          </p:val>
                                        </p:tav>
                                        <p:tav tm="100000">
                                          <p:val>
                                            <p:strVal val="#ppt_w"/>
                                          </p:val>
                                        </p:tav>
                                      </p:tavLst>
                                    </p:anim>
                                    <p:anim calcmode="lin" valueType="num">
                                      <p:cBhvr>
                                        <p:cTn dur="500" fill="hold" id="60"/>
                                        <p:tgtEl>
                                          <p:spTgt spid="94"/>
                                        </p:tgtEl>
                                        <p:attrNameLst>
                                          <p:attrName>ppt_h</p:attrName>
                                        </p:attrNameLst>
                                      </p:cBhvr>
                                      <p:tavLst>
                                        <p:tav tm="0">
                                          <p:val>
                                            <p:fltVal val="0"/>
                                          </p:val>
                                        </p:tav>
                                        <p:tav tm="100000">
                                          <p:val>
                                            <p:strVal val="#ppt_h"/>
                                          </p:val>
                                        </p:tav>
                                      </p:tavLst>
                                    </p:anim>
                                    <p:animEffect filter="fade" transition="in">
                                      <p:cBhvr>
                                        <p:cTn dur="500" id="61"/>
                                        <p:tgtEl>
                                          <p:spTgt spid="94"/>
                                        </p:tgtEl>
                                      </p:cBhvr>
                                    </p:animEffect>
                                  </p:childTnLst>
                                </p:cTn>
                              </p:par>
                            </p:childTnLst>
                          </p:cTn>
                        </p:par>
                        <p:par>
                          <p:cTn fill="hold" id="62" nodeType="afterGroup">
                            <p:stCondLst>
                              <p:cond delay="4000"/>
                            </p:stCondLst>
                            <p:childTnLst>
                              <p:par>
                                <p:cTn fill="hold" grpId="0" id="63" nodeType="afterEffect" presetClass="entr" presetID="22" presetSubtype="8">
                                  <p:stCondLst>
                                    <p:cond delay="0"/>
                                  </p:stCondLst>
                                  <p:childTnLst>
                                    <p:set>
                                      <p:cBhvr>
                                        <p:cTn dur="1" fill="hold" id="64">
                                          <p:stCondLst>
                                            <p:cond delay="0"/>
                                          </p:stCondLst>
                                        </p:cTn>
                                        <p:tgtEl>
                                          <p:spTgt spid="103"/>
                                        </p:tgtEl>
                                        <p:attrNameLst>
                                          <p:attrName>style.visibility</p:attrName>
                                        </p:attrNameLst>
                                      </p:cBhvr>
                                      <p:to>
                                        <p:strVal val="visible"/>
                                      </p:to>
                                    </p:set>
                                    <p:animEffect filter="wipe(left)" transition="in">
                                      <p:cBhvr>
                                        <p:cTn dur="500" id="65"/>
                                        <p:tgtEl>
                                          <p:spTgt spid="103"/>
                                        </p:tgtEl>
                                      </p:cBhvr>
                                    </p:animEffect>
                                  </p:childTnLst>
                                </p:cTn>
                              </p:par>
                            </p:childTnLst>
                          </p:cTn>
                        </p:par>
                        <p:par>
                          <p:cTn fill="hold" id="66" nodeType="afterGroup">
                            <p:stCondLst>
                              <p:cond delay="4500"/>
                            </p:stCondLst>
                            <p:childTnLst>
                              <p:par>
                                <p:cTn fill="hold" id="67" nodeType="afterEffect" presetClass="entr" presetID="22" presetSubtype="1">
                                  <p:stCondLst>
                                    <p:cond delay="0"/>
                                  </p:stCondLst>
                                  <p:childTnLst>
                                    <p:set>
                                      <p:cBhvr>
                                        <p:cTn dur="1" fill="hold" id="68">
                                          <p:stCondLst>
                                            <p:cond delay="0"/>
                                          </p:stCondLst>
                                        </p:cTn>
                                        <p:tgtEl>
                                          <p:spTgt spid="99"/>
                                        </p:tgtEl>
                                        <p:attrNameLst>
                                          <p:attrName>style.visibility</p:attrName>
                                        </p:attrNameLst>
                                      </p:cBhvr>
                                      <p:to>
                                        <p:strVal val="visible"/>
                                      </p:to>
                                    </p:set>
                                    <p:animEffect filter="wipe(up)" transition="in">
                                      <p:cBhvr>
                                        <p:cTn dur="500" id="69"/>
                                        <p:tgtEl>
                                          <p:spTgt spid="99"/>
                                        </p:tgtEl>
                                      </p:cBhvr>
                                    </p:animEffect>
                                  </p:childTnLst>
                                </p:cTn>
                              </p:par>
                            </p:childTnLst>
                          </p:cTn>
                        </p:par>
                        <p:par>
                          <p:cTn fill="hold" id="70" nodeType="afterGroup">
                            <p:stCondLst>
                              <p:cond delay="5000"/>
                            </p:stCondLst>
                            <p:childTnLst>
                              <p:par>
                                <p:cTn fill="hold" grpId="0" id="71" nodeType="afterEffect" presetClass="entr" presetID="53" presetSubtype="0">
                                  <p:stCondLst>
                                    <p:cond delay="0"/>
                                  </p:stCondLst>
                                  <p:childTnLst>
                                    <p:set>
                                      <p:cBhvr>
                                        <p:cTn dur="1" fill="hold" id="72">
                                          <p:stCondLst>
                                            <p:cond delay="0"/>
                                          </p:stCondLst>
                                        </p:cTn>
                                        <p:tgtEl>
                                          <p:spTgt spid="95"/>
                                        </p:tgtEl>
                                        <p:attrNameLst>
                                          <p:attrName>style.visibility</p:attrName>
                                        </p:attrNameLst>
                                      </p:cBhvr>
                                      <p:to>
                                        <p:strVal val="visible"/>
                                      </p:to>
                                    </p:set>
                                    <p:anim calcmode="lin" valueType="num">
                                      <p:cBhvr>
                                        <p:cTn dur="500" fill="hold" id="73"/>
                                        <p:tgtEl>
                                          <p:spTgt spid="95"/>
                                        </p:tgtEl>
                                        <p:attrNameLst>
                                          <p:attrName>ppt_w</p:attrName>
                                        </p:attrNameLst>
                                      </p:cBhvr>
                                      <p:tavLst>
                                        <p:tav tm="0">
                                          <p:val>
                                            <p:fltVal val="0"/>
                                          </p:val>
                                        </p:tav>
                                        <p:tav tm="100000">
                                          <p:val>
                                            <p:strVal val="#ppt_w"/>
                                          </p:val>
                                        </p:tav>
                                      </p:tavLst>
                                    </p:anim>
                                    <p:anim calcmode="lin" valueType="num">
                                      <p:cBhvr>
                                        <p:cTn dur="500" fill="hold" id="74"/>
                                        <p:tgtEl>
                                          <p:spTgt spid="95"/>
                                        </p:tgtEl>
                                        <p:attrNameLst>
                                          <p:attrName>ppt_h</p:attrName>
                                        </p:attrNameLst>
                                      </p:cBhvr>
                                      <p:tavLst>
                                        <p:tav tm="0">
                                          <p:val>
                                            <p:fltVal val="0"/>
                                          </p:val>
                                        </p:tav>
                                        <p:tav tm="100000">
                                          <p:val>
                                            <p:strVal val="#ppt_h"/>
                                          </p:val>
                                        </p:tav>
                                      </p:tavLst>
                                    </p:anim>
                                    <p:animEffect filter="fade" transition="in">
                                      <p:cBhvr>
                                        <p:cTn dur="500" id="75"/>
                                        <p:tgtEl>
                                          <p:spTgt spid="95"/>
                                        </p:tgtEl>
                                      </p:cBhvr>
                                    </p:animEffect>
                                  </p:childTnLst>
                                </p:cTn>
                              </p:par>
                            </p:childTnLst>
                          </p:cTn>
                        </p:par>
                        <p:par>
                          <p:cTn fill="hold" id="76" nodeType="afterGroup">
                            <p:stCondLst>
                              <p:cond delay="5500"/>
                            </p:stCondLst>
                            <p:childTnLst>
                              <p:par>
                                <p:cTn fill="hold" grpId="0" id="77" nodeType="afterEffect" presetClass="entr" presetID="22" presetSubtype="8">
                                  <p:stCondLst>
                                    <p:cond delay="0"/>
                                  </p:stCondLst>
                                  <p:childTnLst>
                                    <p:set>
                                      <p:cBhvr>
                                        <p:cTn dur="1" fill="hold" id="78">
                                          <p:stCondLst>
                                            <p:cond delay="0"/>
                                          </p:stCondLst>
                                        </p:cTn>
                                        <p:tgtEl>
                                          <p:spTgt spid="108"/>
                                        </p:tgtEl>
                                        <p:attrNameLst>
                                          <p:attrName>style.visibility</p:attrName>
                                        </p:attrNameLst>
                                      </p:cBhvr>
                                      <p:to>
                                        <p:strVal val="visible"/>
                                      </p:to>
                                    </p:set>
                                    <p:animEffect filter="wipe(left)" transition="in">
                                      <p:cBhvr>
                                        <p:cTn dur="500" id="79"/>
                                        <p:tgtEl>
                                          <p:spTgt spid="108"/>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10"/>
      <p:bldP grpId="0" spid="93"/>
      <p:bldP grpId="0" spid="94"/>
      <p:bldP grpId="0" spid="95"/>
      <p:bldP grpId="0" spid="102"/>
      <p:bldP grpId="0" spid="103"/>
      <p:bldP grpId="0" spid="108"/>
    </p:bldLst>
  </p:timing>
</p:sld>
</file>

<file path=ppt/slides/slide23.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7" name="椭圆 6">
            <a:extLst>
              <a:ext uri="{FF2B5EF4-FFF2-40B4-BE49-F238E27FC236}">
                <a16:creationId xmlns:a16="http://schemas.microsoft.com/office/drawing/2014/main" id="{97F35CCF-B1AD-40AD-9D77-E1886CA3C847}"/>
              </a:ext>
            </a:extLst>
          </p:cNvPr>
          <p:cNvSpPr/>
          <p:nvPr/>
        </p:nvSpPr>
        <p:spPr>
          <a:xfrm>
            <a:off x="11325281" y="5957455"/>
            <a:ext cx="1193212" cy="1193212"/>
          </a:xfrm>
          <a:prstGeom prst="ellipse">
            <a:avLst/>
          </a:prstGeom>
          <a:solidFill>
            <a:srgbClr val="A0CBD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10" name="文本框 9">
            <a:extLst>
              <a:ext uri="{FF2B5EF4-FFF2-40B4-BE49-F238E27FC236}">
                <a16:creationId xmlns:a16="http://schemas.microsoft.com/office/drawing/2014/main" id="{3EF1E9ED-80AB-4909-8BA5-A43F4FCE2334}"/>
              </a:ext>
            </a:extLst>
          </p:cNvPr>
          <p:cNvSpPr txBox="1"/>
          <p:nvPr/>
        </p:nvSpPr>
        <p:spPr>
          <a:xfrm>
            <a:off x="4133850" y="390618"/>
            <a:ext cx="3924300" cy="640080"/>
          </a:xfrm>
          <a:prstGeom prst="rect">
            <a:avLst/>
          </a:prstGeom>
          <a:noFill/>
        </p:spPr>
        <p:txBody>
          <a:bodyPr rtlCol="0" wrap="square">
            <a:spAutoFit/>
          </a:bodyPr>
          <a:lstStyle/>
          <a:p>
            <a:pPr algn="ctr"/>
            <a:r>
              <a:rPr altLang="en-US" lang="zh-CN" sz="3600">
                <a:solidFill>
                  <a:schemeClr val="tx1">
                    <a:lumMod val="85000"/>
                    <a:lumOff val="15000"/>
                  </a:schemeClr>
                </a:solidFill>
                <a:latin charset="-122" panose="02000500000000000000" pitchFamily="2" typeface="方正雅士黑 简"/>
                <a:ea charset="-122" panose="02000500000000000000" pitchFamily="2" typeface="方正雅士黑 简"/>
              </a:rPr>
              <a:t>未来工作计划</a:t>
            </a:r>
          </a:p>
        </p:txBody>
      </p:sp>
      <p:cxnSp>
        <p:nvCxnSpPr>
          <p:cNvPr id="13" name="直接连接符 12">
            <a:extLst>
              <a:ext uri="{FF2B5EF4-FFF2-40B4-BE49-F238E27FC236}">
                <a16:creationId xmlns:a16="http://schemas.microsoft.com/office/drawing/2014/main" id="{63C006F1-C17E-4B5D-A667-14B1AFD009FE}"/>
              </a:ext>
            </a:extLst>
          </p:cNvPr>
          <p:cNvCxnSpPr/>
          <p:nvPr/>
        </p:nvCxnSpPr>
        <p:spPr>
          <a:xfrm>
            <a:off x="7791452" y="683005"/>
            <a:ext cx="571498" cy="0"/>
          </a:xfrm>
          <a:prstGeom prst="line">
            <a:avLst/>
          </a:prstGeom>
          <a:ln cap="rnd" w="19050">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pic>
        <p:nvPicPr>
          <p:cNvPr id="15" name="图形 14">
            <a:extLst>
              <a:ext uri="{FF2B5EF4-FFF2-40B4-BE49-F238E27FC236}">
                <a16:creationId xmlns:a16="http://schemas.microsoft.com/office/drawing/2014/main" id="{D0B6809A-9193-440B-AB59-9B5857A764E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314825" y="597280"/>
            <a:ext cx="171450" cy="171450"/>
          </a:xfrm>
          <a:prstGeom prst="rect">
            <a:avLst/>
          </a:prstGeom>
        </p:spPr>
      </p:pic>
      <p:pic>
        <p:nvPicPr>
          <p:cNvPr id="16" name="图形 15">
            <a:extLst>
              <a:ext uri="{FF2B5EF4-FFF2-40B4-BE49-F238E27FC236}">
                <a16:creationId xmlns:a16="http://schemas.microsoft.com/office/drawing/2014/main" id="{1508760C-4270-4AAF-AD1C-A51CD87667C3}"/>
              </a:ext>
            </a:extLst>
          </p:cNvPr>
          <p:cNvPicPr>
            <a:picLocks noChangeAspect="1"/>
          </p:cNvPicPr>
          <p:nvPr/>
        </p:nvPicPr>
        <p:blipFill>
          <a:blip r:embed="rId3">
            <a:extLst>
              <a:ext uri="{96DAC541-7B7A-43D3-8B79-37D633B846F1}">
                <asvg:svgBlip xmlns:asvg="http://schemas.microsoft.com/office/drawing/2016/SVG/main" r:embed="rId5"/>
              </a:ext>
            </a:extLst>
          </a:blip>
          <a:stretch>
            <a:fillRect/>
          </a:stretch>
        </p:blipFill>
        <p:spPr>
          <a:xfrm>
            <a:off x="7705727" y="597280"/>
            <a:ext cx="171450" cy="171450"/>
          </a:xfrm>
          <a:prstGeom prst="rect">
            <a:avLst/>
          </a:prstGeom>
        </p:spPr>
      </p:pic>
      <p:cxnSp>
        <p:nvCxnSpPr>
          <p:cNvPr id="18" name="直接连接符 17">
            <a:extLst>
              <a:ext uri="{FF2B5EF4-FFF2-40B4-BE49-F238E27FC236}">
                <a16:creationId xmlns:a16="http://schemas.microsoft.com/office/drawing/2014/main" id="{D59B9B17-AB83-41D0-BA0B-C09A6571714C}"/>
              </a:ext>
            </a:extLst>
          </p:cNvPr>
          <p:cNvCxnSpPr/>
          <p:nvPr/>
        </p:nvCxnSpPr>
        <p:spPr>
          <a:xfrm>
            <a:off x="3829052" y="683005"/>
            <a:ext cx="571498" cy="0"/>
          </a:xfrm>
          <a:prstGeom prst="line">
            <a:avLst/>
          </a:prstGeom>
          <a:ln cap="rnd" w="19050">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pic>
        <p:nvPicPr>
          <p:cNvPr id="11" name="图形 10">
            <a:extLst>
              <a:ext uri="{FF2B5EF4-FFF2-40B4-BE49-F238E27FC236}">
                <a16:creationId xmlns:a16="http://schemas.microsoft.com/office/drawing/2014/main" id="{E1E887FF-8850-4D33-8F22-CAEB6902B244}"/>
              </a:ext>
            </a:extLst>
          </p:cNvPr>
          <p:cNvPicPr>
            <a:picLocks noChangeAspect="1"/>
          </p:cNvPicPr>
          <p:nvPr/>
        </p:nvPicPr>
        <p:blipFill>
          <a:blip r:embed="rId6">
            <a:extLst>
              <a:ext uri="{96DAC541-7B7A-43D3-8B79-37D633B846F1}">
                <asvg:svgBlip xmlns:asvg="http://schemas.microsoft.com/office/drawing/2016/SVG/main" r:embed="rId7"/>
              </a:ext>
            </a:extLst>
          </a:blip>
          <a:srcRect b="5670" l="19172" r="22017" t="1040"/>
          <a:stretch>
            <a:fillRect/>
          </a:stretch>
        </p:blipFill>
        <p:spPr>
          <a:xfrm>
            <a:off x="11287125" y="5671165"/>
            <a:ext cx="742156" cy="976539"/>
          </a:xfrm>
          <a:custGeom>
            <a:rect b="b" l="l" r="r" t="t"/>
            <a:pathLst>
              <a:path h="1297335" w="1036327">
                <a:moveTo>
                  <a:pt x="507467" y="0"/>
                </a:moveTo>
                <a:cubicBezTo>
                  <a:pt x="671202" y="0"/>
                  <a:pt x="789583" y="30522"/>
                  <a:pt x="862608" y="91567"/>
                </a:cubicBezTo>
                <a:cubicBezTo>
                  <a:pt x="935633" y="152611"/>
                  <a:pt x="972145" y="229345"/>
                  <a:pt x="972145" y="321767"/>
                </a:cubicBezTo>
                <a:cubicBezTo>
                  <a:pt x="972145" y="375965"/>
                  <a:pt x="957312" y="425029"/>
                  <a:pt x="927646" y="468958"/>
                </a:cubicBezTo>
                <a:cubicBezTo>
                  <a:pt x="897979" y="512887"/>
                  <a:pt x="853194" y="551396"/>
                  <a:pt x="793291" y="584486"/>
                </a:cubicBezTo>
                <a:cubicBezTo>
                  <a:pt x="841784" y="596466"/>
                  <a:pt x="878867" y="610444"/>
                  <a:pt x="904540" y="626418"/>
                </a:cubicBezTo>
                <a:cubicBezTo>
                  <a:pt x="946187" y="652091"/>
                  <a:pt x="978564" y="685894"/>
                  <a:pt x="1001669" y="727826"/>
                </a:cubicBezTo>
                <a:cubicBezTo>
                  <a:pt x="1024775" y="769758"/>
                  <a:pt x="1036328" y="819820"/>
                  <a:pt x="1036328" y="878012"/>
                </a:cubicBezTo>
                <a:cubicBezTo>
                  <a:pt x="1036328" y="951037"/>
                  <a:pt x="1017215" y="1021067"/>
                  <a:pt x="978991" y="1088102"/>
                </a:cubicBezTo>
                <a:cubicBezTo>
                  <a:pt x="940767" y="1155136"/>
                  <a:pt x="885713" y="1206767"/>
                  <a:pt x="813829" y="1242994"/>
                </a:cubicBezTo>
                <a:cubicBezTo>
                  <a:pt x="741945" y="1279222"/>
                  <a:pt x="647526" y="1297335"/>
                  <a:pt x="530572" y="1297335"/>
                </a:cubicBezTo>
                <a:cubicBezTo>
                  <a:pt x="416471" y="1297335"/>
                  <a:pt x="326473" y="1283928"/>
                  <a:pt x="260580" y="1257114"/>
                </a:cubicBezTo>
                <a:cubicBezTo>
                  <a:pt x="194686" y="1230301"/>
                  <a:pt x="140488" y="1191078"/>
                  <a:pt x="97985" y="1139447"/>
                </a:cubicBezTo>
                <a:cubicBezTo>
                  <a:pt x="55482" y="1087816"/>
                  <a:pt x="22820" y="1022921"/>
                  <a:pt x="0" y="944761"/>
                </a:cubicBezTo>
                <a:lnTo>
                  <a:pt x="348295" y="898550"/>
                </a:lnTo>
                <a:cubicBezTo>
                  <a:pt x="361987" y="968723"/>
                  <a:pt x="383239" y="1017359"/>
                  <a:pt x="412049" y="1044458"/>
                </a:cubicBezTo>
                <a:cubicBezTo>
                  <a:pt x="440860" y="1071557"/>
                  <a:pt x="477515" y="1085106"/>
                  <a:pt x="522015" y="1085106"/>
                </a:cubicBezTo>
                <a:cubicBezTo>
                  <a:pt x="568796" y="1085106"/>
                  <a:pt x="607734" y="1067991"/>
                  <a:pt x="638826" y="1033761"/>
                </a:cubicBezTo>
                <a:cubicBezTo>
                  <a:pt x="669919" y="999530"/>
                  <a:pt x="685465" y="953890"/>
                  <a:pt x="685465" y="896839"/>
                </a:cubicBezTo>
                <a:cubicBezTo>
                  <a:pt x="685465" y="838647"/>
                  <a:pt x="670489" y="793577"/>
                  <a:pt x="640538" y="761628"/>
                </a:cubicBezTo>
                <a:cubicBezTo>
                  <a:pt x="610586" y="729680"/>
                  <a:pt x="569937" y="713706"/>
                  <a:pt x="518592" y="713706"/>
                </a:cubicBezTo>
                <a:cubicBezTo>
                  <a:pt x="491207" y="713706"/>
                  <a:pt x="453554" y="720552"/>
                  <a:pt x="405631" y="734244"/>
                </a:cubicBezTo>
                <a:lnTo>
                  <a:pt x="423602" y="485217"/>
                </a:lnTo>
                <a:cubicBezTo>
                  <a:pt x="442999" y="488070"/>
                  <a:pt x="458118" y="489496"/>
                  <a:pt x="468957" y="489496"/>
                </a:cubicBezTo>
                <a:cubicBezTo>
                  <a:pt x="514598" y="489496"/>
                  <a:pt x="552679" y="474948"/>
                  <a:pt x="583202" y="445852"/>
                </a:cubicBezTo>
                <a:cubicBezTo>
                  <a:pt x="613724" y="416756"/>
                  <a:pt x="628985" y="382241"/>
                  <a:pt x="628985" y="342305"/>
                </a:cubicBezTo>
                <a:cubicBezTo>
                  <a:pt x="628985" y="304081"/>
                  <a:pt x="617575" y="273559"/>
                  <a:pt x="594754" y="250739"/>
                </a:cubicBezTo>
                <a:cubicBezTo>
                  <a:pt x="571934" y="227918"/>
                  <a:pt x="540556" y="216508"/>
                  <a:pt x="500621" y="216508"/>
                </a:cubicBezTo>
                <a:cubicBezTo>
                  <a:pt x="459544" y="216508"/>
                  <a:pt x="426169" y="228917"/>
                  <a:pt x="400497" y="253734"/>
                </a:cubicBezTo>
                <a:cubicBezTo>
                  <a:pt x="374824" y="278551"/>
                  <a:pt x="357423" y="322052"/>
                  <a:pt x="348295" y="384237"/>
                </a:cubicBezTo>
                <a:lnTo>
                  <a:pt x="18827" y="325190"/>
                </a:lnTo>
                <a:cubicBezTo>
                  <a:pt x="46211" y="220216"/>
                  <a:pt x="98841" y="139775"/>
                  <a:pt x="176715" y="83865"/>
                </a:cubicBezTo>
                <a:cubicBezTo>
                  <a:pt x="254589" y="27955"/>
                  <a:pt x="364840" y="0"/>
                  <a:pt x="507467" y="0"/>
                </a:cubicBezTo>
                <a:close/>
              </a:path>
            </a:pathLst>
          </a:custGeom>
        </p:spPr>
      </p:pic>
      <p:sp>
        <p:nvSpPr>
          <p:cNvPr id="29" name="Rectangle 21">
            <a:extLst>
              <a:ext uri="{FF2B5EF4-FFF2-40B4-BE49-F238E27FC236}">
                <a16:creationId xmlns:a16="http://schemas.microsoft.com/office/drawing/2014/main" id="{768A7921-55B0-4790-8411-5A94BA96EEDB}"/>
              </a:ext>
            </a:extLst>
          </p:cNvPr>
          <p:cNvSpPr>
            <a:spLocks noChangeArrowheads="1"/>
          </p:cNvSpPr>
          <p:nvPr/>
        </p:nvSpPr>
        <p:spPr bwMode="auto">
          <a:xfrm>
            <a:off x="1345655" y="1961531"/>
            <a:ext cx="2460625" cy="2644003"/>
          </a:xfrm>
          <a:prstGeom prst="rect">
            <a:avLst/>
          </a:prstGeom>
          <a:solidFill>
            <a:schemeClr val="bg1">
              <a:lumMod val="75000"/>
              <a:alpha val="20000"/>
            </a:schemeClr>
          </a:solidFill>
          <a:ln>
            <a:noFill/>
          </a:ln>
        </p:spPr>
        <p:txBody>
          <a:bodyPr/>
          <a:lstStyle/>
          <a:p>
            <a:endParaRPr altLang="en-US" lang="zh-CN">
              <a:solidFill>
                <a:prstClr val="black"/>
              </a:solidFill>
              <a:latin charset="-122" panose="00000500000000000000" pitchFamily="2" typeface="字魂59号-创粗黑"/>
              <a:ea charset="-122" panose="00000500000000000000" pitchFamily="2" typeface="字魂59号-创粗黑"/>
            </a:endParaRPr>
          </a:p>
        </p:txBody>
      </p:sp>
      <p:sp>
        <p:nvSpPr>
          <p:cNvPr id="30" name="Rectangle 23">
            <a:extLst>
              <a:ext uri="{FF2B5EF4-FFF2-40B4-BE49-F238E27FC236}">
                <a16:creationId xmlns:a16="http://schemas.microsoft.com/office/drawing/2014/main" id="{3A36529F-9E3F-4E79-B37E-66B70C91E603}"/>
              </a:ext>
            </a:extLst>
          </p:cNvPr>
          <p:cNvSpPr>
            <a:spLocks noChangeArrowheads="1"/>
          </p:cNvSpPr>
          <p:nvPr/>
        </p:nvSpPr>
        <p:spPr bwMode="auto">
          <a:xfrm>
            <a:off x="8450035" y="1961270"/>
            <a:ext cx="2160905" cy="2644140"/>
          </a:xfrm>
          <a:prstGeom prst="rect">
            <a:avLst/>
          </a:prstGeom>
          <a:solidFill>
            <a:schemeClr val="bg1">
              <a:lumMod val="75000"/>
              <a:alpha val="20000"/>
            </a:schemeClr>
          </a:solidFill>
          <a:ln>
            <a:noFill/>
          </a:ln>
        </p:spPr>
        <p:txBody>
          <a:bodyPr/>
          <a:lstStyle/>
          <a:p>
            <a:endParaRPr altLang="en-US" lang="zh-CN">
              <a:solidFill>
                <a:prstClr val="black"/>
              </a:solidFill>
              <a:latin charset="-122" panose="00000500000000000000" pitchFamily="2" typeface="字魂59号-创粗黑"/>
              <a:ea charset="-122" panose="00000500000000000000" pitchFamily="2" typeface="字魂59号-创粗黑"/>
            </a:endParaRPr>
          </a:p>
        </p:txBody>
      </p:sp>
      <p:sp>
        <p:nvSpPr>
          <p:cNvPr id="31" name="Rectangle 24">
            <a:extLst>
              <a:ext uri="{FF2B5EF4-FFF2-40B4-BE49-F238E27FC236}">
                <a16:creationId xmlns:a16="http://schemas.microsoft.com/office/drawing/2014/main" id="{BA2C8F77-3E53-4C5F-9595-10E388445608}"/>
              </a:ext>
            </a:extLst>
          </p:cNvPr>
          <p:cNvSpPr>
            <a:spLocks noChangeArrowheads="1"/>
          </p:cNvSpPr>
          <p:nvPr/>
        </p:nvSpPr>
        <p:spPr bwMode="auto">
          <a:xfrm>
            <a:off x="6096000" y="1961531"/>
            <a:ext cx="2353719" cy="2643876"/>
          </a:xfrm>
          <a:prstGeom prst="rect">
            <a:avLst/>
          </a:prstGeom>
          <a:solidFill>
            <a:srgbClr val="60A8AF"/>
          </a:solidFill>
          <a:ln>
            <a:noFill/>
          </a:ln>
        </p:spPr>
        <p:txBody>
          <a:bodyPr/>
          <a:lstStyle/>
          <a:p>
            <a:endParaRPr altLang="en-US" lang="zh-CN">
              <a:solidFill>
                <a:prstClr val="black"/>
              </a:solidFill>
              <a:latin charset="-122" panose="00000500000000000000" pitchFamily="2" typeface="字魂59号-创粗黑"/>
              <a:ea charset="-122" panose="00000500000000000000" pitchFamily="2" typeface="字魂59号-创粗黑"/>
            </a:endParaRPr>
          </a:p>
        </p:txBody>
      </p:sp>
      <p:sp>
        <p:nvSpPr>
          <p:cNvPr id="34" name="Text Box 15">
            <a:extLst>
              <a:ext uri="{FF2B5EF4-FFF2-40B4-BE49-F238E27FC236}">
                <a16:creationId xmlns:a16="http://schemas.microsoft.com/office/drawing/2014/main" id="{65D0FD89-8A29-49C7-9ACD-DC57408CCFCA}"/>
              </a:ext>
            </a:extLst>
          </p:cNvPr>
          <p:cNvSpPr txBox="1">
            <a:spLocks noChangeArrowheads="1"/>
          </p:cNvSpPr>
          <p:nvPr/>
        </p:nvSpPr>
        <p:spPr bwMode="auto">
          <a:xfrm>
            <a:off x="924470" y="2076653"/>
            <a:ext cx="852805" cy="1432560"/>
          </a:xfrm>
          <a:prstGeom prst="rect">
            <a:avLst/>
          </a:prstGeom>
          <a:noFill/>
          <a:ln>
            <a:noFill/>
          </a:ln>
          <a:effectLst/>
          <a:extLst>
            <a:ext uri="{909E8E84-426E-40DD-AFC4-6F175D3DCCD1}">
              <a14:hiddenFill>
                <a:solidFill>
                  <a:schemeClr val="accent1"/>
                </a:solidFill>
              </a14:hiddenFill>
            </a:ext>
            <a:ext uri="{91240B29-F687-4F45-9708-019B960494DF}">
              <a14:hiddenLine w="9525">
                <a:solidFill>
                  <a:srgbClr val="000000"/>
                </a:solidFill>
                <a:miter lim="800000"/>
                <a:headEnd/>
                <a:tailEnd/>
              </a14:hiddenLine>
            </a:ext>
            <a:ext uri="{AF507438-7753-43E0-B8FC-AC1667EBCBE1}">
              <a14:hiddenEffects>
                <a:effectLst>
                  <a:outerShdw algn="ctr" dir="2700000" dist="35921" rotWithShape="0">
                    <a:schemeClr val="bg2"/>
                  </a:outerShdw>
                </a:effectLst>
              </a14:hiddenEffects>
            </a:ext>
          </a:extLst>
        </p:spPr>
        <p:txBody>
          <a:bodyPr wrap="none">
            <a:spAutoFit/>
          </a:bodyPr>
          <a:lstStyle/>
          <a:p>
            <a:r>
              <a:rPr altLang="zh-CN" lang="en-US" sz="8800">
                <a:solidFill>
                  <a:schemeClr val="bg1">
                    <a:lumMod val="50000"/>
                  </a:schemeClr>
                </a:solidFill>
                <a:latin charset="-122" panose="00000500000000000000" pitchFamily="2" typeface="字魂59号-创粗黑"/>
                <a:ea charset="-122" panose="00000500000000000000" pitchFamily="2" typeface="字魂59号-创粗黑"/>
                <a:cs charset="0" panose="020b0604020202020204" pitchFamily="34" typeface="Arial"/>
              </a:rPr>
              <a:t>“</a:t>
            </a:r>
          </a:p>
        </p:txBody>
      </p:sp>
      <p:grpSp>
        <p:nvGrpSpPr>
          <p:cNvPr id="36" name="组合 35">
            <a:extLst>
              <a:ext uri="{FF2B5EF4-FFF2-40B4-BE49-F238E27FC236}">
                <a16:creationId xmlns:a16="http://schemas.microsoft.com/office/drawing/2014/main" id="{3287D0E5-6CCB-420D-94C6-3005FA984388}"/>
              </a:ext>
            </a:extLst>
          </p:cNvPr>
          <p:cNvGrpSpPr/>
          <p:nvPr/>
        </p:nvGrpSpPr>
        <p:grpSpPr>
          <a:xfrm>
            <a:off x="6974201" y="2289565"/>
            <a:ext cx="694690" cy="694690"/>
            <a:chOff x="11203" y="3663"/>
            <a:chExt cx="1094" cy="1094"/>
          </a:xfrm>
        </p:grpSpPr>
        <p:sp>
          <p:nvSpPr>
            <p:cNvPr id="37" name="Oval 32">
              <a:extLst>
                <a:ext uri="{FF2B5EF4-FFF2-40B4-BE49-F238E27FC236}">
                  <a16:creationId xmlns:a16="http://schemas.microsoft.com/office/drawing/2014/main" id="{1CBE51F7-DA5B-459E-A759-F0BE54221951}"/>
                </a:ext>
              </a:extLst>
            </p:cNvPr>
            <p:cNvSpPr>
              <a:spLocks noChangeArrowheads="1"/>
            </p:cNvSpPr>
            <p:nvPr/>
          </p:nvSpPr>
          <p:spPr bwMode="auto">
            <a:xfrm>
              <a:off x="11203" y="3663"/>
              <a:ext cx="1095" cy="1095"/>
            </a:xfrm>
            <a:prstGeom prst="ellipse">
              <a:avLst/>
            </a:prstGeom>
            <a:noFill/>
            <a:ln cmpd="sng" w="6350">
              <a:solidFill>
                <a:srgbClr val="F8F8F8"/>
              </a:solidFill>
              <a:round/>
            </a:ln>
            <a:effectLst/>
            <a:extLst>
              <a:ext uri="{909E8E84-426E-40DD-AFC4-6F175D3DCCD1}">
                <a14:hiddenFill>
                  <a:solidFill>
                    <a:schemeClr val="accent1"/>
                  </a:solidFill>
                </a14:hiddenFill>
              </a:ext>
              <a:ext uri="{AF507438-7753-43E0-B8FC-AC1667EBCBE1}">
                <a14:hiddenEffects>
                  <a:effectLst>
                    <a:outerShdw algn="ctr" dir="2700000" dist="35921" rotWithShape="0">
                      <a:schemeClr val="bg2"/>
                    </a:outerShdw>
                  </a:effectLst>
                </a14:hiddenEffects>
              </a:ext>
            </a:extLst>
          </p:spPr>
          <p:txBody>
            <a:bodyPr anchor="ctr" wrap="none"/>
            <a:lstStyle/>
            <a:p>
              <a:endParaRPr altLang="en-US" lang="zh-CN">
                <a:solidFill>
                  <a:prstClr val="black"/>
                </a:solidFill>
                <a:latin charset="-122" panose="00000500000000000000" pitchFamily="2" typeface="字魂59号-创粗黑"/>
                <a:ea charset="-122" panose="00000500000000000000" pitchFamily="2" typeface="字魂59号-创粗黑"/>
              </a:endParaRPr>
            </a:p>
          </p:txBody>
        </p:sp>
        <p:sp>
          <p:nvSpPr>
            <p:cNvPr id="38" name="Freeform 109">
              <a:extLst>
                <a:ext uri="{FF2B5EF4-FFF2-40B4-BE49-F238E27FC236}">
                  <a16:creationId xmlns:a16="http://schemas.microsoft.com/office/drawing/2014/main" id="{99F05400-28CB-4C74-B910-C4928AFBC3D5}"/>
                </a:ext>
              </a:extLst>
            </p:cNvPr>
            <p:cNvSpPr>
              <a:spLocks noChangeArrowheads="1"/>
            </p:cNvSpPr>
            <p:nvPr/>
          </p:nvSpPr>
          <p:spPr bwMode="auto">
            <a:xfrm>
              <a:off x="11432" y="3892"/>
              <a:ext cx="636" cy="636"/>
            </a:xfrm>
            <a:custGeom>
              <a:gdLst>
                <a:gd fmla="*/ 324 w 634" name="T0"/>
                <a:gd fmla="*/ 0 h 634" name="T1"/>
                <a:gd fmla="*/ 324 w 634" name="T2"/>
                <a:gd fmla="*/ 633 h 634" name="T3"/>
                <a:gd fmla="*/ 324 w 634" name="T4"/>
                <a:gd fmla="*/ 0 h 634" name="T5"/>
                <a:gd fmla="*/ 545 w 634" name="T6"/>
                <a:gd fmla="*/ 162 h 634" name="T7"/>
                <a:gd fmla="*/ 442 w 634" name="T8"/>
                <a:gd fmla="*/ 294 h 634" name="T9"/>
                <a:gd fmla="*/ 545 w 634" name="T10"/>
                <a:gd fmla="*/ 162 h 634" name="T11"/>
                <a:gd fmla="*/ 516 w 634" name="T12"/>
                <a:gd fmla="*/ 133 h 634" name="T13"/>
                <a:gd fmla="*/ 383 w 634" name="T14"/>
                <a:gd fmla="*/ 59 h 634" name="T15"/>
                <a:gd fmla="*/ 236 w 634" name="T16"/>
                <a:gd fmla="*/ 294 h 634" name="T17"/>
                <a:gd fmla="*/ 251 w 634" name="T18"/>
                <a:gd fmla="*/ 192 h 634" name="T19"/>
                <a:gd fmla="*/ 383 w 634" name="T20"/>
                <a:gd fmla="*/ 192 h 634" name="T21"/>
                <a:gd fmla="*/ 236 w 634" name="T22"/>
                <a:gd fmla="*/ 294 h 634" name="T23"/>
                <a:gd fmla="*/ 398 w 634" name="T24"/>
                <a:gd fmla="*/ 339 h 634" name="T25"/>
                <a:gd fmla="*/ 324 w 634" name="T26"/>
                <a:gd fmla="*/ 442 h 634" name="T27"/>
                <a:gd fmla="*/ 236 w 634" name="T28"/>
                <a:gd fmla="*/ 339 h 634" name="T29"/>
                <a:gd fmla="*/ 295 w 634" name="T30"/>
                <a:gd fmla="*/ 44 h 634" name="T31"/>
                <a:gd fmla="*/ 324 w 634" name="T32"/>
                <a:gd fmla="*/ 44 h 634" name="T33"/>
                <a:gd fmla="*/ 383 w 634" name="T34"/>
                <a:gd fmla="*/ 162 h 634" name="T35"/>
                <a:gd fmla="*/ 265 w 634" name="T36"/>
                <a:gd fmla="*/ 162 h 634" name="T37"/>
                <a:gd fmla="*/ 251 w 634" name="T38"/>
                <a:gd fmla="*/ 59 h 634" name="T39"/>
                <a:gd fmla="*/ 221 w 634" name="T40"/>
                <a:gd fmla="*/ 147 h 634" name="T41"/>
                <a:gd fmla="*/ 251 w 634" name="T42"/>
                <a:gd fmla="*/ 59 h 634" name="T43"/>
                <a:gd fmla="*/ 89 w 634" name="T44"/>
                <a:gd fmla="*/ 162 h 634" name="T45"/>
                <a:gd fmla="*/ 207 w 634" name="T46"/>
                <a:gd fmla="*/ 294 h 634" name="T47"/>
                <a:gd fmla="*/ 89 w 634" name="T48"/>
                <a:gd fmla="*/ 162 h 634" name="T49"/>
                <a:gd fmla="*/ 89 w 634" name="T50"/>
                <a:gd fmla="*/ 471 h 634" name="T51"/>
                <a:gd fmla="*/ 207 w 634" name="T52"/>
                <a:gd fmla="*/ 339 h 634" name="T53"/>
                <a:gd fmla="*/ 89 w 634" name="T54"/>
                <a:gd fmla="*/ 471 h 634" name="T55"/>
                <a:gd fmla="*/ 118 w 634" name="T56"/>
                <a:gd fmla="*/ 501 h 634" name="T57"/>
                <a:gd fmla="*/ 251 w 634" name="T58"/>
                <a:gd fmla="*/ 589 h 634" name="T59"/>
                <a:gd fmla="*/ 339 w 634" name="T60"/>
                <a:gd fmla="*/ 589 h 634" name="T61"/>
                <a:gd fmla="*/ 324 w 634" name="T62"/>
                <a:gd fmla="*/ 589 h 634" name="T63"/>
                <a:gd fmla="*/ 265 w 634" name="T64"/>
                <a:gd fmla="*/ 471 h 634" name="T65"/>
                <a:gd fmla="*/ 383 w 634" name="T66"/>
                <a:gd fmla="*/ 471 h 634" name="T67"/>
                <a:gd fmla="*/ 383 w 634" name="T68"/>
                <a:gd fmla="*/ 589 h 634" name="T69"/>
                <a:gd fmla="*/ 412 w 634" name="T70"/>
                <a:gd fmla="*/ 486 h 634" name="T71"/>
                <a:gd fmla="*/ 383 w 634" name="T72"/>
                <a:gd fmla="*/ 589 h 634" name="T73"/>
                <a:gd fmla="*/ 545 w 634" name="T74"/>
                <a:gd fmla="*/ 471 h 634" name="T75"/>
                <a:gd fmla="*/ 442 w 634" name="T76"/>
                <a:gd fmla="*/ 339 h 634" name="T77"/>
                <a:gd fmla="*/ 545 w 634" name="T78"/>
                <a:gd fmla="*/ 471 h 634" name="T7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b="b" l="0" r="r" t="0"/>
              <a:pathLst>
                <a:path h="634" w="634">
                  <a:moveTo>
                    <a:pt x="324" y="0"/>
                  </a:moveTo>
                  <a:lnTo>
                    <a:pt x="324" y="0"/>
                  </a:lnTo>
                  <a:cubicBezTo>
                    <a:pt x="148" y="0"/>
                    <a:pt x="0" y="147"/>
                    <a:pt x="0" y="324"/>
                  </a:cubicBezTo>
                  <a:cubicBezTo>
                    <a:pt x="0" y="486"/>
                    <a:pt x="148" y="633"/>
                    <a:pt x="324" y="633"/>
                  </a:cubicBezTo>
                  <a:cubicBezTo>
                    <a:pt x="486" y="633"/>
                    <a:pt x="633" y="486"/>
                    <a:pt x="633" y="324"/>
                  </a:cubicBezTo>
                  <a:cubicBezTo>
                    <a:pt x="633" y="147"/>
                    <a:pt x="486" y="0"/>
                    <a:pt x="324" y="0"/>
                  </a:cubicBezTo>
                  <a:close/>
                  <a:moveTo>
                    <a:pt x="545" y="162"/>
                  </a:moveTo>
                  <a:lnTo>
                    <a:pt x="545" y="162"/>
                  </a:lnTo>
                  <a:cubicBezTo>
                    <a:pt x="574" y="206"/>
                    <a:pt x="589" y="251"/>
                    <a:pt x="589" y="294"/>
                  </a:cubicBezTo>
                  <a:cubicBezTo>
                    <a:pt x="442" y="294"/>
                    <a:pt x="442" y="294"/>
                    <a:pt x="442" y="294"/>
                  </a:cubicBezTo>
                  <a:cubicBezTo>
                    <a:pt x="442" y="265"/>
                    <a:pt x="427" y="221"/>
                    <a:pt x="427" y="192"/>
                  </a:cubicBezTo>
                  <a:cubicBezTo>
                    <a:pt x="471" y="192"/>
                    <a:pt x="516" y="177"/>
                    <a:pt x="545" y="162"/>
                  </a:cubicBezTo>
                  <a:close/>
                  <a:moveTo>
                    <a:pt x="516" y="133"/>
                  </a:moveTo>
                  <a:lnTo>
                    <a:pt x="516" y="133"/>
                  </a:lnTo>
                  <a:cubicBezTo>
                    <a:pt x="486" y="147"/>
                    <a:pt x="457" y="147"/>
                    <a:pt x="412" y="147"/>
                  </a:cubicBezTo>
                  <a:cubicBezTo>
                    <a:pt x="412" y="118"/>
                    <a:pt x="398" y="89"/>
                    <a:pt x="383" y="59"/>
                  </a:cubicBezTo>
                  <a:cubicBezTo>
                    <a:pt x="442" y="59"/>
                    <a:pt x="486" y="89"/>
                    <a:pt x="516" y="133"/>
                  </a:cubicBezTo>
                  <a:close/>
                  <a:moveTo>
                    <a:pt x="236" y="294"/>
                  </a:moveTo>
                  <a:lnTo>
                    <a:pt x="236" y="294"/>
                  </a:lnTo>
                  <a:cubicBezTo>
                    <a:pt x="236" y="265"/>
                    <a:pt x="251" y="236"/>
                    <a:pt x="251" y="192"/>
                  </a:cubicBezTo>
                  <a:cubicBezTo>
                    <a:pt x="280" y="206"/>
                    <a:pt x="295" y="206"/>
                    <a:pt x="324" y="206"/>
                  </a:cubicBezTo>
                  <a:cubicBezTo>
                    <a:pt x="339" y="206"/>
                    <a:pt x="369" y="206"/>
                    <a:pt x="383" y="192"/>
                  </a:cubicBezTo>
                  <a:cubicBezTo>
                    <a:pt x="398" y="236"/>
                    <a:pt x="398" y="265"/>
                    <a:pt x="398" y="294"/>
                  </a:cubicBezTo>
                  <a:lnTo>
                    <a:pt x="236" y="294"/>
                  </a:lnTo>
                  <a:close/>
                  <a:moveTo>
                    <a:pt x="398" y="339"/>
                  </a:moveTo>
                  <a:lnTo>
                    <a:pt x="398" y="339"/>
                  </a:lnTo>
                  <a:cubicBezTo>
                    <a:pt x="398" y="368"/>
                    <a:pt x="398" y="412"/>
                    <a:pt x="383" y="442"/>
                  </a:cubicBezTo>
                  <a:cubicBezTo>
                    <a:pt x="369" y="442"/>
                    <a:pt x="339" y="442"/>
                    <a:pt x="324" y="442"/>
                  </a:cubicBezTo>
                  <a:cubicBezTo>
                    <a:pt x="295" y="442"/>
                    <a:pt x="280" y="442"/>
                    <a:pt x="251" y="442"/>
                  </a:cubicBezTo>
                  <a:cubicBezTo>
                    <a:pt x="251" y="412"/>
                    <a:pt x="236" y="368"/>
                    <a:pt x="236" y="339"/>
                  </a:cubicBezTo>
                  <a:lnTo>
                    <a:pt x="398" y="339"/>
                  </a:lnTo>
                  <a:close/>
                  <a:moveTo>
                    <a:pt x="295" y="44"/>
                  </a:moveTo>
                  <a:lnTo>
                    <a:pt x="295" y="44"/>
                  </a:lnTo>
                  <a:cubicBezTo>
                    <a:pt x="310" y="44"/>
                    <a:pt x="310" y="44"/>
                    <a:pt x="324" y="44"/>
                  </a:cubicBezTo>
                  <a:lnTo>
                    <a:pt x="339" y="44"/>
                  </a:lnTo>
                  <a:cubicBezTo>
                    <a:pt x="354" y="74"/>
                    <a:pt x="369" y="118"/>
                    <a:pt x="383" y="162"/>
                  </a:cubicBezTo>
                  <a:cubicBezTo>
                    <a:pt x="354" y="162"/>
                    <a:pt x="339" y="162"/>
                    <a:pt x="324" y="162"/>
                  </a:cubicBezTo>
                  <a:cubicBezTo>
                    <a:pt x="295" y="162"/>
                    <a:pt x="280" y="162"/>
                    <a:pt x="265" y="162"/>
                  </a:cubicBezTo>
                  <a:cubicBezTo>
                    <a:pt x="265" y="118"/>
                    <a:pt x="280" y="74"/>
                    <a:pt x="295" y="44"/>
                  </a:cubicBezTo>
                  <a:close/>
                  <a:moveTo>
                    <a:pt x="251" y="59"/>
                  </a:moveTo>
                  <a:lnTo>
                    <a:pt x="251" y="59"/>
                  </a:lnTo>
                  <a:cubicBezTo>
                    <a:pt x="236" y="89"/>
                    <a:pt x="221" y="118"/>
                    <a:pt x="221" y="147"/>
                  </a:cubicBezTo>
                  <a:cubicBezTo>
                    <a:pt x="192" y="147"/>
                    <a:pt x="148" y="147"/>
                    <a:pt x="118" y="133"/>
                  </a:cubicBezTo>
                  <a:cubicBezTo>
                    <a:pt x="148" y="89"/>
                    <a:pt x="207" y="59"/>
                    <a:pt x="251" y="59"/>
                  </a:cubicBezTo>
                  <a:close/>
                  <a:moveTo>
                    <a:pt x="89" y="162"/>
                  </a:moveTo>
                  <a:lnTo>
                    <a:pt x="89" y="162"/>
                  </a:lnTo>
                  <a:cubicBezTo>
                    <a:pt x="133" y="177"/>
                    <a:pt x="177" y="192"/>
                    <a:pt x="207" y="192"/>
                  </a:cubicBezTo>
                  <a:cubicBezTo>
                    <a:pt x="207" y="221"/>
                    <a:pt x="207" y="265"/>
                    <a:pt x="207" y="294"/>
                  </a:cubicBezTo>
                  <a:cubicBezTo>
                    <a:pt x="44" y="294"/>
                    <a:pt x="44" y="294"/>
                    <a:pt x="44" y="294"/>
                  </a:cubicBezTo>
                  <a:cubicBezTo>
                    <a:pt x="44" y="251"/>
                    <a:pt x="59" y="206"/>
                    <a:pt x="89" y="162"/>
                  </a:cubicBezTo>
                  <a:close/>
                  <a:moveTo>
                    <a:pt x="89" y="471"/>
                  </a:moveTo>
                  <a:lnTo>
                    <a:pt x="89" y="471"/>
                  </a:lnTo>
                  <a:cubicBezTo>
                    <a:pt x="59" y="427"/>
                    <a:pt x="44" y="383"/>
                    <a:pt x="44" y="339"/>
                  </a:cubicBezTo>
                  <a:cubicBezTo>
                    <a:pt x="207" y="339"/>
                    <a:pt x="207" y="339"/>
                    <a:pt x="207" y="339"/>
                  </a:cubicBezTo>
                  <a:cubicBezTo>
                    <a:pt x="207" y="368"/>
                    <a:pt x="207" y="412"/>
                    <a:pt x="207" y="442"/>
                  </a:cubicBezTo>
                  <a:cubicBezTo>
                    <a:pt x="177" y="457"/>
                    <a:pt x="133" y="457"/>
                    <a:pt x="89" y="471"/>
                  </a:cubicBezTo>
                  <a:close/>
                  <a:moveTo>
                    <a:pt x="118" y="501"/>
                  </a:moveTo>
                  <a:lnTo>
                    <a:pt x="118" y="501"/>
                  </a:lnTo>
                  <a:cubicBezTo>
                    <a:pt x="148" y="501"/>
                    <a:pt x="192" y="486"/>
                    <a:pt x="221" y="486"/>
                  </a:cubicBezTo>
                  <a:cubicBezTo>
                    <a:pt x="221" y="515"/>
                    <a:pt x="236" y="560"/>
                    <a:pt x="251" y="589"/>
                  </a:cubicBezTo>
                  <a:cubicBezTo>
                    <a:pt x="207" y="574"/>
                    <a:pt x="148" y="545"/>
                    <a:pt x="118" y="501"/>
                  </a:cubicBezTo>
                  <a:close/>
                  <a:moveTo>
                    <a:pt x="339" y="589"/>
                  </a:moveTo>
                  <a:lnTo>
                    <a:pt x="339" y="589"/>
                  </a:lnTo>
                  <a:lnTo>
                    <a:pt x="324" y="589"/>
                  </a:lnTo>
                  <a:cubicBezTo>
                    <a:pt x="310" y="589"/>
                    <a:pt x="310" y="589"/>
                    <a:pt x="295" y="589"/>
                  </a:cubicBezTo>
                  <a:cubicBezTo>
                    <a:pt x="280" y="560"/>
                    <a:pt x="265" y="515"/>
                    <a:pt x="265" y="471"/>
                  </a:cubicBezTo>
                  <a:cubicBezTo>
                    <a:pt x="280" y="471"/>
                    <a:pt x="295" y="471"/>
                    <a:pt x="324" y="471"/>
                  </a:cubicBezTo>
                  <a:cubicBezTo>
                    <a:pt x="339" y="471"/>
                    <a:pt x="354" y="471"/>
                    <a:pt x="383" y="471"/>
                  </a:cubicBezTo>
                  <a:cubicBezTo>
                    <a:pt x="369" y="515"/>
                    <a:pt x="354" y="560"/>
                    <a:pt x="339" y="589"/>
                  </a:cubicBezTo>
                  <a:close/>
                  <a:moveTo>
                    <a:pt x="383" y="589"/>
                  </a:moveTo>
                  <a:lnTo>
                    <a:pt x="383" y="589"/>
                  </a:lnTo>
                  <a:cubicBezTo>
                    <a:pt x="398" y="560"/>
                    <a:pt x="412" y="515"/>
                    <a:pt x="412" y="486"/>
                  </a:cubicBezTo>
                  <a:cubicBezTo>
                    <a:pt x="457" y="486"/>
                    <a:pt x="486" y="501"/>
                    <a:pt x="516" y="501"/>
                  </a:cubicBezTo>
                  <a:cubicBezTo>
                    <a:pt x="486" y="545"/>
                    <a:pt x="442" y="574"/>
                    <a:pt x="383" y="589"/>
                  </a:cubicBezTo>
                  <a:close/>
                  <a:moveTo>
                    <a:pt x="545" y="471"/>
                  </a:moveTo>
                  <a:lnTo>
                    <a:pt x="545" y="471"/>
                  </a:lnTo>
                  <a:cubicBezTo>
                    <a:pt x="516" y="457"/>
                    <a:pt x="471" y="457"/>
                    <a:pt x="427" y="442"/>
                  </a:cubicBezTo>
                  <a:cubicBezTo>
                    <a:pt x="427" y="412"/>
                    <a:pt x="442" y="368"/>
                    <a:pt x="442" y="339"/>
                  </a:cubicBezTo>
                  <a:cubicBezTo>
                    <a:pt x="589" y="339"/>
                    <a:pt x="589" y="339"/>
                    <a:pt x="589" y="339"/>
                  </a:cubicBezTo>
                  <a:cubicBezTo>
                    <a:pt x="589" y="383"/>
                    <a:pt x="574" y="427"/>
                    <a:pt x="545" y="471"/>
                  </a:cubicBezTo>
                  <a:close/>
                </a:path>
              </a:pathLst>
            </a:custGeom>
            <a:solidFill>
              <a:schemeClr val="bg1"/>
            </a:solidFill>
            <a:ln>
              <a:noFill/>
            </a:ln>
            <a:effectLst/>
          </p:spPr>
          <p:txBody>
            <a:bodyPr anchor="ctr" wrap="none"/>
            <a:lstStyle/>
            <a:p>
              <a:pPr>
                <a:defRPr/>
              </a:pPr>
              <a:endParaRPr lang="en-US">
                <a:latin charset="-122" panose="00000500000000000000" pitchFamily="2" typeface="字魂59号-创粗黑"/>
                <a:ea charset="-122" panose="00000500000000000000" pitchFamily="2" typeface="字魂59号-创粗黑"/>
              </a:endParaRPr>
            </a:p>
          </p:txBody>
        </p:sp>
      </p:grpSp>
      <p:sp>
        <p:nvSpPr>
          <p:cNvPr id="39" name="Text Box 15">
            <a:extLst>
              <a:ext uri="{FF2B5EF4-FFF2-40B4-BE49-F238E27FC236}">
                <a16:creationId xmlns:a16="http://schemas.microsoft.com/office/drawing/2014/main" id="{6FDAD28A-787D-47FB-B316-C6F0F9AFF718}"/>
              </a:ext>
            </a:extLst>
          </p:cNvPr>
          <p:cNvSpPr txBox="1">
            <a:spLocks noChangeArrowheads="1"/>
          </p:cNvSpPr>
          <p:nvPr/>
        </p:nvSpPr>
        <p:spPr bwMode="auto">
          <a:xfrm>
            <a:off x="9772320" y="2115565"/>
            <a:ext cx="852805" cy="1432560"/>
          </a:xfrm>
          <a:prstGeom prst="rect">
            <a:avLst/>
          </a:prstGeom>
          <a:noFill/>
          <a:ln>
            <a:noFill/>
          </a:ln>
          <a:effectLst/>
          <a:extLst>
            <a:ext uri="{909E8E84-426E-40DD-AFC4-6F175D3DCCD1}">
              <a14:hiddenFill>
                <a:solidFill>
                  <a:schemeClr val="accent1"/>
                </a:solidFill>
              </a14:hiddenFill>
            </a:ext>
            <a:ext uri="{91240B29-F687-4F45-9708-019B960494DF}">
              <a14:hiddenLine w="9525">
                <a:solidFill>
                  <a:srgbClr val="000000"/>
                </a:solidFill>
                <a:miter lim="800000"/>
                <a:headEnd/>
                <a:tailEnd/>
              </a14:hiddenLine>
            </a:ext>
            <a:ext uri="{AF507438-7753-43E0-B8FC-AC1667EBCBE1}">
              <a14:hiddenEffects>
                <a:effectLst>
                  <a:outerShdw algn="ctr" dir="2700000" dist="35921" rotWithShape="0">
                    <a:schemeClr val="bg2"/>
                  </a:outerShdw>
                </a:effectLst>
              </a14:hiddenEffects>
            </a:ext>
          </a:extLst>
        </p:spPr>
        <p:txBody>
          <a:bodyPr wrap="none">
            <a:spAutoFit/>
          </a:bodyPr>
          <a:lstStyle/>
          <a:p>
            <a:r>
              <a:rPr altLang="zh-CN" lang="en-US" sz="8800">
                <a:solidFill>
                  <a:schemeClr val="bg1">
                    <a:lumMod val="50000"/>
                  </a:schemeClr>
                </a:solidFill>
                <a:latin charset="-122" panose="00000500000000000000" pitchFamily="2" typeface="字魂59号-创粗黑"/>
                <a:ea charset="-122" panose="00000500000000000000" pitchFamily="2" typeface="字魂59号-创粗黑"/>
                <a:cs charset="0" panose="020b0604020202020204" pitchFamily="34" typeface="Arial"/>
              </a:rPr>
              <a:t>”</a:t>
            </a:r>
          </a:p>
        </p:txBody>
      </p:sp>
      <p:pic>
        <p:nvPicPr>
          <p:cNvPr id="41" name="图片 40">
            <a:extLst>
              <a:ext uri="{FF2B5EF4-FFF2-40B4-BE49-F238E27FC236}">
                <a16:creationId xmlns:a16="http://schemas.microsoft.com/office/drawing/2014/main" id="{FC37FF48-553E-4FB8-B86A-9F7A7832E61A}"/>
              </a:ext>
            </a:extLst>
          </p:cNvPr>
          <p:cNvPicPr>
            <a:picLocks noChangeAspect="1"/>
          </p:cNvPicPr>
          <p:nvPr/>
        </p:nvPicPr>
        <p:blipFill>
          <a:blip r:embed="rId8">
            <a:extLst>
              <a:ext uri="{28A0092B-C50C-407E-A947-70E740481C1C}">
                <a14:useLocalDpi val="0"/>
              </a:ext>
            </a:extLst>
          </a:blip>
          <a:srcRect r="35055"/>
          <a:stretch>
            <a:fillRect/>
          </a:stretch>
        </p:blipFill>
        <p:spPr>
          <a:xfrm>
            <a:off x="3777326" y="1973315"/>
            <a:ext cx="2318674" cy="2632091"/>
          </a:xfrm>
          <a:prstGeom prst="rect">
            <a:avLst/>
          </a:prstGeom>
        </p:spPr>
      </p:pic>
      <p:sp>
        <p:nvSpPr>
          <p:cNvPr id="42" name="TextBox 54">
            <a:extLst>
              <a:ext uri="{FF2B5EF4-FFF2-40B4-BE49-F238E27FC236}">
                <a16:creationId xmlns:a16="http://schemas.microsoft.com/office/drawing/2014/main" id="{F0BA88F3-3D8A-484E-9EFE-26BE07F73AA3}"/>
              </a:ext>
            </a:extLst>
          </p:cNvPr>
          <p:cNvSpPr txBox="1"/>
          <p:nvPr/>
        </p:nvSpPr>
        <p:spPr>
          <a:xfrm>
            <a:off x="6722108" y="3127607"/>
            <a:ext cx="1198880" cy="396240"/>
          </a:xfrm>
          <a:prstGeom prst="rect">
            <a:avLst/>
          </a:prstGeom>
          <a:noFill/>
        </p:spPr>
        <p:txBody>
          <a:bodyPr rtlCol="0" wrap="none">
            <a:spAutoFit/>
          </a:bodyPr>
          <a:lstStyle/>
          <a:p>
            <a:pPr algn="ctr" defTabSz="1219110"/>
            <a:r>
              <a:rPr altLang="en-US" b="1" lang="zh-CN" sz="2000">
                <a:solidFill>
                  <a:schemeClr val="bg1"/>
                </a:solidFill>
                <a:latin panose="020f0502020204030204" typeface="等线"/>
              </a:rPr>
              <a:t>标题文本</a:t>
            </a:r>
          </a:p>
        </p:txBody>
      </p:sp>
      <p:sp>
        <p:nvSpPr>
          <p:cNvPr id="43" name="Rectangle 60">
            <a:extLst>
              <a:ext uri="{FF2B5EF4-FFF2-40B4-BE49-F238E27FC236}">
                <a16:creationId xmlns:a16="http://schemas.microsoft.com/office/drawing/2014/main" id="{2442F0E9-1C52-4081-9920-FB9730CC09A3}"/>
              </a:ext>
            </a:extLst>
          </p:cNvPr>
          <p:cNvSpPr/>
          <p:nvPr/>
        </p:nvSpPr>
        <p:spPr>
          <a:xfrm>
            <a:off x="6184295" y="3481951"/>
            <a:ext cx="2274503" cy="914400"/>
          </a:xfrm>
          <a:prstGeom prst="rect">
            <a:avLst/>
          </a:prstGeom>
        </p:spPr>
        <p:txBody>
          <a:bodyPr wrap="square">
            <a:spAutoFit/>
          </a:bodyPr>
          <a:lstStyle/>
          <a:p>
            <a:pPr algn="ctr">
              <a:lnSpc>
                <a:spcPct val="150000"/>
              </a:lnSpc>
            </a:pPr>
            <a:r>
              <a:rPr altLang="en-US" lang="zh-CN" sz="1200">
                <a:solidFill>
                  <a:schemeClr val="bg1"/>
                </a:solidFill>
                <a:latin typeface="+mn-ea"/>
              </a:rPr>
              <a:t>这里可以添加主要内容这里可以添加主要内容这里可以添加主要内容</a:t>
            </a:r>
          </a:p>
        </p:txBody>
      </p:sp>
      <p:sp>
        <p:nvSpPr>
          <p:cNvPr id="44" name="Rectangle 60">
            <a:extLst>
              <a:ext uri="{FF2B5EF4-FFF2-40B4-BE49-F238E27FC236}">
                <a16:creationId xmlns:a16="http://schemas.microsoft.com/office/drawing/2014/main" id="{D20084FA-E816-4613-91EF-E7E8CB6D13A3}"/>
              </a:ext>
            </a:extLst>
          </p:cNvPr>
          <p:cNvSpPr/>
          <p:nvPr/>
        </p:nvSpPr>
        <p:spPr>
          <a:xfrm>
            <a:off x="8602441" y="2981409"/>
            <a:ext cx="1934397" cy="914400"/>
          </a:xfrm>
          <a:prstGeom prst="rect">
            <a:avLst/>
          </a:prstGeom>
        </p:spPr>
        <p:txBody>
          <a:bodyPr wrap="square">
            <a:spAutoFit/>
          </a:bodyPr>
          <a:lstStyle/>
          <a:p>
            <a:pPr>
              <a:lnSpc>
                <a:spcPct val="150000"/>
              </a:lnSpc>
            </a:pPr>
            <a:r>
              <a:rPr altLang="en-US" lang="zh-CN" sz="1200">
                <a:solidFill>
                  <a:schemeClr val="tx1">
                    <a:lumMod val="75000"/>
                    <a:lumOff val="25000"/>
                  </a:schemeClr>
                </a:solidFill>
                <a:latin typeface="+mn-ea"/>
              </a:rPr>
              <a:t>这里可以添加主要内容这里可以添加主要内容这里可以添加主要内容</a:t>
            </a:r>
          </a:p>
        </p:txBody>
      </p:sp>
      <p:sp>
        <p:nvSpPr>
          <p:cNvPr id="45" name="Rectangle 60">
            <a:extLst>
              <a:ext uri="{FF2B5EF4-FFF2-40B4-BE49-F238E27FC236}">
                <a16:creationId xmlns:a16="http://schemas.microsoft.com/office/drawing/2014/main" id="{56D9F473-B5DC-40B7-AFA6-7096AFACCC00}"/>
              </a:ext>
            </a:extLst>
          </p:cNvPr>
          <p:cNvSpPr/>
          <p:nvPr/>
        </p:nvSpPr>
        <p:spPr>
          <a:xfrm>
            <a:off x="1675779" y="2981409"/>
            <a:ext cx="1934397" cy="914400"/>
          </a:xfrm>
          <a:prstGeom prst="rect">
            <a:avLst/>
          </a:prstGeom>
        </p:spPr>
        <p:txBody>
          <a:bodyPr wrap="square">
            <a:spAutoFit/>
          </a:bodyPr>
          <a:lstStyle/>
          <a:p>
            <a:pPr>
              <a:lnSpc>
                <a:spcPct val="150000"/>
              </a:lnSpc>
            </a:pPr>
            <a:r>
              <a:rPr altLang="en-US" lang="zh-CN" sz="1200">
                <a:solidFill>
                  <a:schemeClr val="tx1">
                    <a:lumMod val="75000"/>
                    <a:lumOff val="25000"/>
                  </a:schemeClr>
                </a:solidFill>
                <a:latin typeface="+mn-ea"/>
              </a:rPr>
              <a:t>这里可以添加主要内容这里可以添加主要内容这里可以添加主要内容</a:t>
            </a:r>
          </a:p>
        </p:txBody>
      </p:sp>
      <p:sp>
        <p:nvSpPr>
          <p:cNvPr id="2" name="箭头: 右 1">
            <a:extLst>
              <a:ext uri="{FF2B5EF4-FFF2-40B4-BE49-F238E27FC236}">
                <a16:creationId xmlns:a16="http://schemas.microsoft.com/office/drawing/2014/main" id="{C39B3BE0-25AF-48A5-A074-563551EFDF83}"/>
              </a:ext>
            </a:extLst>
          </p:cNvPr>
          <p:cNvSpPr/>
          <p:nvPr/>
        </p:nvSpPr>
        <p:spPr>
          <a:xfrm>
            <a:off x="1345655" y="5387102"/>
            <a:ext cx="9265285" cy="384380"/>
          </a:xfrm>
          <a:prstGeom prst="right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46" name="箭头: 右 45">
            <a:extLst>
              <a:ext uri="{FF2B5EF4-FFF2-40B4-BE49-F238E27FC236}">
                <a16:creationId xmlns:a16="http://schemas.microsoft.com/office/drawing/2014/main" id="{6D53EFE6-83BA-42E3-8ED4-C04F34F7B75F}"/>
              </a:ext>
            </a:extLst>
          </p:cNvPr>
          <p:cNvSpPr/>
          <p:nvPr/>
        </p:nvSpPr>
        <p:spPr>
          <a:xfrm>
            <a:off x="4822521" y="5883932"/>
            <a:ext cx="4913628" cy="384380"/>
          </a:xfrm>
          <a:prstGeom prst="right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47" name="箭头: 右 46">
            <a:extLst>
              <a:ext uri="{FF2B5EF4-FFF2-40B4-BE49-F238E27FC236}">
                <a16:creationId xmlns:a16="http://schemas.microsoft.com/office/drawing/2014/main" id="{73BC1291-7094-488D-A4AF-F45A76558265}"/>
              </a:ext>
            </a:extLst>
          </p:cNvPr>
          <p:cNvSpPr/>
          <p:nvPr/>
        </p:nvSpPr>
        <p:spPr>
          <a:xfrm>
            <a:off x="2073049" y="4804064"/>
            <a:ext cx="4121601" cy="384380"/>
          </a:xfrm>
          <a:prstGeom prst="right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Tree>
    <p:extLst>
      <p:ext uri="{BB962C8B-B14F-4D97-AF65-F5344CB8AC3E}">
        <p14:creationId val="2858567669"/>
      </p:ext>
    </p:extLst>
  </p:cSld>
  <p:clrMapOvr>
    <a:masterClrMapping/>
  </p:clrMapOvr>
  <mc:AlternateContent>
    <mc:Choice Requires="p14">
      <p:transition p14:dur="1500" spd="slow">
        <p:random/>
      </p:transition>
    </mc:Choice>
    <mc:Fallback>
      <p:transition spd="slow">
        <p:random/>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decel="100000" fill="hold" grpId="0" id="5" nodeType="withEffect" presetClass="entr" presetID="50" presetSubtype="0">
                                  <p:stCondLst>
                                    <p:cond delay="0"/>
                                  </p:stCondLst>
                                  <p:childTnLst>
                                    <p:set>
                                      <p:cBhvr>
                                        <p:cTn dur="1" fill="hold" id="6">
                                          <p:stCondLst>
                                            <p:cond delay="0"/>
                                          </p:stCondLst>
                                        </p:cTn>
                                        <p:tgtEl>
                                          <p:spTgt spid="10"/>
                                        </p:tgtEl>
                                        <p:attrNameLst>
                                          <p:attrName>style.visibility</p:attrName>
                                        </p:attrNameLst>
                                      </p:cBhvr>
                                      <p:to>
                                        <p:strVal val="visible"/>
                                      </p:to>
                                    </p:set>
                                    <p:anim calcmode="lin" valueType="num">
                                      <p:cBhvr>
                                        <p:cTn dur="1000" fill="hold" id="7"/>
                                        <p:tgtEl>
                                          <p:spTgt spid="10"/>
                                        </p:tgtEl>
                                        <p:attrNameLst>
                                          <p:attrName>ppt_w</p:attrName>
                                        </p:attrNameLst>
                                      </p:cBhvr>
                                      <p:tavLst>
                                        <p:tav tm="0">
                                          <p:val>
                                            <p:strVal val="#ppt_w+.3"/>
                                          </p:val>
                                        </p:tav>
                                        <p:tav tm="100000">
                                          <p:val>
                                            <p:strVal val="#ppt_w"/>
                                          </p:val>
                                        </p:tav>
                                      </p:tavLst>
                                    </p:anim>
                                    <p:anim calcmode="lin" valueType="num">
                                      <p:cBhvr>
                                        <p:cTn dur="1000" fill="hold" id="8"/>
                                        <p:tgtEl>
                                          <p:spTgt spid="10"/>
                                        </p:tgtEl>
                                        <p:attrNameLst>
                                          <p:attrName>ppt_h</p:attrName>
                                        </p:attrNameLst>
                                      </p:cBhvr>
                                      <p:tavLst>
                                        <p:tav tm="0">
                                          <p:val>
                                            <p:strVal val="#ppt_h"/>
                                          </p:val>
                                        </p:tav>
                                        <p:tav tm="100000">
                                          <p:val>
                                            <p:strVal val="#ppt_h"/>
                                          </p:val>
                                        </p:tav>
                                      </p:tavLst>
                                    </p:anim>
                                    <p:animEffect filter="fade" transition="in">
                                      <p:cBhvr>
                                        <p:cTn dur="1000" id="9"/>
                                        <p:tgtEl>
                                          <p:spTgt spid="10"/>
                                        </p:tgtEl>
                                      </p:cBhvr>
                                    </p:animEffect>
                                  </p:childTnLst>
                                </p:cTn>
                              </p:par>
                              <p:par>
                                <p:cTn fill="hold" id="10" nodeType="withEffect" presetClass="entr" presetID="53" presetSubtype="0">
                                  <p:stCondLst>
                                    <p:cond delay="250"/>
                                  </p:stCondLst>
                                  <p:childTnLst>
                                    <p:set>
                                      <p:cBhvr>
                                        <p:cTn dur="1" fill="hold" id="11">
                                          <p:stCondLst>
                                            <p:cond delay="0"/>
                                          </p:stCondLst>
                                        </p:cTn>
                                        <p:tgtEl>
                                          <p:spTgt spid="15"/>
                                        </p:tgtEl>
                                        <p:attrNameLst>
                                          <p:attrName>style.visibility</p:attrName>
                                        </p:attrNameLst>
                                      </p:cBhvr>
                                      <p:to>
                                        <p:strVal val="visible"/>
                                      </p:to>
                                    </p:set>
                                    <p:anim calcmode="lin" valueType="num">
                                      <p:cBhvr>
                                        <p:cTn dur="500" fill="hold" id="12"/>
                                        <p:tgtEl>
                                          <p:spTgt spid="15"/>
                                        </p:tgtEl>
                                        <p:attrNameLst>
                                          <p:attrName>ppt_w</p:attrName>
                                        </p:attrNameLst>
                                      </p:cBhvr>
                                      <p:tavLst>
                                        <p:tav tm="0">
                                          <p:val>
                                            <p:fltVal val="0"/>
                                          </p:val>
                                        </p:tav>
                                        <p:tav tm="100000">
                                          <p:val>
                                            <p:strVal val="#ppt_w"/>
                                          </p:val>
                                        </p:tav>
                                      </p:tavLst>
                                    </p:anim>
                                    <p:anim calcmode="lin" valueType="num">
                                      <p:cBhvr>
                                        <p:cTn dur="500" fill="hold" id="13"/>
                                        <p:tgtEl>
                                          <p:spTgt spid="15"/>
                                        </p:tgtEl>
                                        <p:attrNameLst>
                                          <p:attrName>ppt_h</p:attrName>
                                        </p:attrNameLst>
                                      </p:cBhvr>
                                      <p:tavLst>
                                        <p:tav tm="0">
                                          <p:val>
                                            <p:fltVal val="0"/>
                                          </p:val>
                                        </p:tav>
                                        <p:tav tm="100000">
                                          <p:val>
                                            <p:strVal val="#ppt_h"/>
                                          </p:val>
                                        </p:tav>
                                      </p:tavLst>
                                    </p:anim>
                                    <p:animEffect filter="fade" transition="in">
                                      <p:cBhvr>
                                        <p:cTn dur="500" id="14"/>
                                        <p:tgtEl>
                                          <p:spTgt spid="15"/>
                                        </p:tgtEl>
                                      </p:cBhvr>
                                    </p:animEffect>
                                  </p:childTnLst>
                                </p:cTn>
                              </p:par>
                              <p:par>
                                <p:cTn fill="hold" id="15" nodeType="withEffect" presetClass="entr" presetID="53" presetSubtype="0">
                                  <p:stCondLst>
                                    <p:cond delay="250"/>
                                  </p:stCondLst>
                                  <p:childTnLst>
                                    <p:set>
                                      <p:cBhvr>
                                        <p:cTn dur="1" fill="hold" id="16">
                                          <p:stCondLst>
                                            <p:cond delay="0"/>
                                          </p:stCondLst>
                                        </p:cTn>
                                        <p:tgtEl>
                                          <p:spTgt spid="16"/>
                                        </p:tgtEl>
                                        <p:attrNameLst>
                                          <p:attrName>style.visibility</p:attrName>
                                        </p:attrNameLst>
                                      </p:cBhvr>
                                      <p:to>
                                        <p:strVal val="visible"/>
                                      </p:to>
                                    </p:set>
                                    <p:anim calcmode="lin" valueType="num">
                                      <p:cBhvr>
                                        <p:cTn dur="500" fill="hold" id="17"/>
                                        <p:tgtEl>
                                          <p:spTgt spid="16"/>
                                        </p:tgtEl>
                                        <p:attrNameLst>
                                          <p:attrName>ppt_w</p:attrName>
                                        </p:attrNameLst>
                                      </p:cBhvr>
                                      <p:tavLst>
                                        <p:tav tm="0">
                                          <p:val>
                                            <p:fltVal val="0"/>
                                          </p:val>
                                        </p:tav>
                                        <p:tav tm="100000">
                                          <p:val>
                                            <p:strVal val="#ppt_w"/>
                                          </p:val>
                                        </p:tav>
                                      </p:tavLst>
                                    </p:anim>
                                    <p:anim calcmode="lin" valueType="num">
                                      <p:cBhvr>
                                        <p:cTn dur="500" fill="hold" id="18"/>
                                        <p:tgtEl>
                                          <p:spTgt spid="16"/>
                                        </p:tgtEl>
                                        <p:attrNameLst>
                                          <p:attrName>ppt_h</p:attrName>
                                        </p:attrNameLst>
                                      </p:cBhvr>
                                      <p:tavLst>
                                        <p:tav tm="0">
                                          <p:val>
                                            <p:fltVal val="0"/>
                                          </p:val>
                                        </p:tav>
                                        <p:tav tm="100000">
                                          <p:val>
                                            <p:strVal val="#ppt_h"/>
                                          </p:val>
                                        </p:tav>
                                      </p:tavLst>
                                    </p:anim>
                                    <p:animEffect filter="fade" transition="in">
                                      <p:cBhvr>
                                        <p:cTn dur="500" id="19"/>
                                        <p:tgtEl>
                                          <p:spTgt spid="16"/>
                                        </p:tgtEl>
                                      </p:cBhvr>
                                    </p:animEffect>
                                  </p:childTnLst>
                                </p:cTn>
                              </p:par>
                              <p:par>
                                <p:cTn fill="hold" id="20" nodeType="withEffect" presetClass="entr" presetID="22" presetSubtype="8">
                                  <p:stCondLst>
                                    <p:cond delay="750"/>
                                  </p:stCondLst>
                                  <p:childTnLst>
                                    <p:set>
                                      <p:cBhvr>
                                        <p:cTn dur="1" fill="hold" id="21">
                                          <p:stCondLst>
                                            <p:cond delay="0"/>
                                          </p:stCondLst>
                                        </p:cTn>
                                        <p:tgtEl>
                                          <p:spTgt spid="13"/>
                                        </p:tgtEl>
                                        <p:attrNameLst>
                                          <p:attrName>style.visibility</p:attrName>
                                        </p:attrNameLst>
                                      </p:cBhvr>
                                      <p:to>
                                        <p:strVal val="visible"/>
                                      </p:to>
                                    </p:set>
                                    <p:animEffect filter="wipe(left)" transition="in">
                                      <p:cBhvr>
                                        <p:cTn dur="250" id="22"/>
                                        <p:tgtEl>
                                          <p:spTgt spid="13"/>
                                        </p:tgtEl>
                                      </p:cBhvr>
                                    </p:animEffect>
                                  </p:childTnLst>
                                </p:cTn>
                              </p:par>
                              <p:par>
                                <p:cTn fill="hold" id="23" nodeType="withEffect" presetClass="entr" presetID="22" presetSubtype="2">
                                  <p:stCondLst>
                                    <p:cond delay="750"/>
                                  </p:stCondLst>
                                  <p:childTnLst>
                                    <p:set>
                                      <p:cBhvr>
                                        <p:cTn dur="1" fill="hold" id="24">
                                          <p:stCondLst>
                                            <p:cond delay="0"/>
                                          </p:stCondLst>
                                        </p:cTn>
                                        <p:tgtEl>
                                          <p:spTgt spid="18"/>
                                        </p:tgtEl>
                                        <p:attrNameLst>
                                          <p:attrName>style.visibility</p:attrName>
                                        </p:attrNameLst>
                                      </p:cBhvr>
                                      <p:to>
                                        <p:strVal val="visible"/>
                                      </p:to>
                                    </p:set>
                                    <p:animEffect filter="wipe(right)" transition="in">
                                      <p:cBhvr>
                                        <p:cTn dur="250" id="25"/>
                                        <p:tgtEl>
                                          <p:spTgt spid="18"/>
                                        </p:tgtEl>
                                      </p:cBhvr>
                                    </p:animEffect>
                                  </p:childTnLst>
                                </p:cTn>
                              </p:par>
                            </p:childTnLst>
                          </p:cTn>
                        </p:par>
                        <p:par>
                          <p:cTn fill="hold" id="26" nodeType="afterGroup">
                            <p:stCondLst>
                              <p:cond delay="1000"/>
                            </p:stCondLst>
                            <p:childTnLst>
                              <p:par>
                                <p:cTn fill="hold" grpId="0" id="27" nodeType="afterEffect" presetClass="entr" presetID="14" presetSubtype="10">
                                  <p:stCondLst>
                                    <p:cond delay="0"/>
                                  </p:stCondLst>
                                  <p:childTnLst>
                                    <p:set>
                                      <p:cBhvr>
                                        <p:cTn dur="1" fill="hold" id="28">
                                          <p:stCondLst>
                                            <p:cond delay="0"/>
                                          </p:stCondLst>
                                        </p:cTn>
                                        <p:tgtEl>
                                          <p:spTgt spid="29"/>
                                        </p:tgtEl>
                                        <p:attrNameLst>
                                          <p:attrName>style.visibility</p:attrName>
                                        </p:attrNameLst>
                                      </p:cBhvr>
                                      <p:to>
                                        <p:strVal val="visible"/>
                                      </p:to>
                                    </p:set>
                                    <p:animEffect filter="randombar(horizontal)" transition="in">
                                      <p:cBhvr>
                                        <p:cTn dur="500" id="29"/>
                                        <p:tgtEl>
                                          <p:spTgt spid="29"/>
                                        </p:tgtEl>
                                      </p:cBhvr>
                                    </p:animEffect>
                                  </p:childTnLst>
                                </p:cTn>
                              </p:par>
                              <p:par>
                                <p:cTn fill="hold" id="30" nodeType="withEffect" presetClass="entr" presetID="14" presetSubtype="10">
                                  <p:stCondLst>
                                    <p:cond delay="0"/>
                                  </p:stCondLst>
                                  <p:childTnLst>
                                    <p:set>
                                      <p:cBhvr>
                                        <p:cTn dur="1" fill="hold" id="31">
                                          <p:stCondLst>
                                            <p:cond delay="0"/>
                                          </p:stCondLst>
                                        </p:cTn>
                                        <p:tgtEl>
                                          <p:spTgt spid="41"/>
                                        </p:tgtEl>
                                        <p:attrNameLst>
                                          <p:attrName>style.visibility</p:attrName>
                                        </p:attrNameLst>
                                      </p:cBhvr>
                                      <p:to>
                                        <p:strVal val="visible"/>
                                      </p:to>
                                    </p:set>
                                    <p:animEffect filter="randombar(horizontal)" transition="in">
                                      <p:cBhvr>
                                        <p:cTn dur="500" id="32"/>
                                        <p:tgtEl>
                                          <p:spTgt spid="41"/>
                                        </p:tgtEl>
                                      </p:cBhvr>
                                    </p:animEffect>
                                  </p:childTnLst>
                                </p:cTn>
                              </p:par>
                              <p:par>
                                <p:cTn fill="hold" grpId="0" id="33" nodeType="withEffect" presetClass="entr" presetID="14" presetSubtype="10">
                                  <p:stCondLst>
                                    <p:cond delay="0"/>
                                  </p:stCondLst>
                                  <p:childTnLst>
                                    <p:set>
                                      <p:cBhvr>
                                        <p:cTn dur="1" fill="hold" id="34">
                                          <p:stCondLst>
                                            <p:cond delay="0"/>
                                          </p:stCondLst>
                                        </p:cTn>
                                        <p:tgtEl>
                                          <p:spTgt spid="31"/>
                                        </p:tgtEl>
                                        <p:attrNameLst>
                                          <p:attrName>style.visibility</p:attrName>
                                        </p:attrNameLst>
                                      </p:cBhvr>
                                      <p:to>
                                        <p:strVal val="visible"/>
                                      </p:to>
                                    </p:set>
                                    <p:animEffect filter="randombar(horizontal)" transition="in">
                                      <p:cBhvr>
                                        <p:cTn dur="500" id="35"/>
                                        <p:tgtEl>
                                          <p:spTgt spid="31"/>
                                        </p:tgtEl>
                                      </p:cBhvr>
                                    </p:animEffect>
                                  </p:childTnLst>
                                </p:cTn>
                              </p:par>
                              <p:par>
                                <p:cTn fill="hold" grpId="0" id="36" nodeType="withEffect" presetClass="entr" presetID="14" presetSubtype="10">
                                  <p:stCondLst>
                                    <p:cond delay="0"/>
                                  </p:stCondLst>
                                  <p:childTnLst>
                                    <p:set>
                                      <p:cBhvr>
                                        <p:cTn dur="1" fill="hold" id="37">
                                          <p:stCondLst>
                                            <p:cond delay="0"/>
                                          </p:stCondLst>
                                        </p:cTn>
                                        <p:tgtEl>
                                          <p:spTgt spid="30"/>
                                        </p:tgtEl>
                                        <p:attrNameLst>
                                          <p:attrName>style.visibility</p:attrName>
                                        </p:attrNameLst>
                                      </p:cBhvr>
                                      <p:to>
                                        <p:strVal val="visible"/>
                                      </p:to>
                                    </p:set>
                                    <p:animEffect filter="randombar(horizontal)" transition="in">
                                      <p:cBhvr>
                                        <p:cTn dur="500" id="38"/>
                                        <p:tgtEl>
                                          <p:spTgt spid="30"/>
                                        </p:tgtEl>
                                      </p:cBhvr>
                                    </p:animEffect>
                                  </p:childTnLst>
                                </p:cTn>
                              </p:par>
                            </p:childTnLst>
                          </p:cTn>
                        </p:par>
                        <p:par>
                          <p:cTn fill="hold" id="39" nodeType="afterGroup">
                            <p:stCondLst>
                              <p:cond delay="1500"/>
                            </p:stCondLst>
                            <p:childTnLst>
                              <p:par>
                                <p:cTn fill="hold" grpId="0" id="40" nodeType="afterEffect" presetClass="entr" presetID="2" presetSubtype="9">
                                  <p:stCondLst>
                                    <p:cond delay="0"/>
                                  </p:stCondLst>
                                  <p:childTnLst>
                                    <p:set>
                                      <p:cBhvr>
                                        <p:cTn dur="1" fill="hold" id="41">
                                          <p:stCondLst>
                                            <p:cond delay="0"/>
                                          </p:stCondLst>
                                        </p:cTn>
                                        <p:tgtEl>
                                          <p:spTgt spid="34"/>
                                        </p:tgtEl>
                                        <p:attrNameLst>
                                          <p:attrName>style.visibility</p:attrName>
                                        </p:attrNameLst>
                                      </p:cBhvr>
                                      <p:to>
                                        <p:strVal val="visible"/>
                                      </p:to>
                                    </p:set>
                                    <p:anim calcmode="lin" valueType="num">
                                      <p:cBhvr additive="base">
                                        <p:cTn dur="1250" fill="hold" id="42"/>
                                        <p:tgtEl>
                                          <p:spTgt spid="34"/>
                                        </p:tgtEl>
                                        <p:attrNameLst>
                                          <p:attrName>ppt_x</p:attrName>
                                        </p:attrNameLst>
                                      </p:cBhvr>
                                      <p:tavLst>
                                        <p:tav tm="0">
                                          <p:val>
                                            <p:strVal val="0-#ppt_w/2"/>
                                          </p:val>
                                        </p:tav>
                                        <p:tav tm="100000">
                                          <p:val>
                                            <p:strVal val="#ppt_x"/>
                                          </p:val>
                                        </p:tav>
                                      </p:tavLst>
                                    </p:anim>
                                    <p:anim calcmode="lin" valueType="num">
                                      <p:cBhvr additive="base">
                                        <p:cTn dur="1250" fill="hold" id="43"/>
                                        <p:tgtEl>
                                          <p:spTgt spid="34"/>
                                        </p:tgtEl>
                                        <p:attrNameLst>
                                          <p:attrName>ppt_y</p:attrName>
                                        </p:attrNameLst>
                                      </p:cBhvr>
                                      <p:tavLst>
                                        <p:tav tm="0">
                                          <p:val>
                                            <p:strVal val="0-#ppt_h/2"/>
                                          </p:val>
                                        </p:tav>
                                        <p:tav tm="100000">
                                          <p:val>
                                            <p:strVal val="#ppt_y"/>
                                          </p:val>
                                        </p:tav>
                                      </p:tavLst>
                                    </p:anim>
                                  </p:childTnLst>
                                </p:cTn>
                              </p:par>
                              <p:par>
                                <p:cTn fill="hold" grpId="0" id="44" nodeType="withEffect" presetClass="entr" presetID="2" presetSubtype="3">
                                  <p:stCondLst>
                                    <p:cond delay="0"/>
                                  </p:stCondLst>
                                  <p:childTnLst>
                                    <p:set>
                                      <p:cBhvr>
                                        <p:cTn dur="1" fill="hold" id="45">
                                          <p:stCondLst>
                                            <p:cond delay="0"/>
                                          </p:stCondLst>
                                        </p:cTn>
                                        <p:tgtEl>
                                          <p:spTgt spid="39"/>
                                        </p:tgtEl>
                                        <p:attrNameLst>
                                          <p:attrName>style.visibility</p:attrName>
                                        </p:attrNameLst>
                                      </p:cBhvr>
                                      <p:to>
                                        <p:strVal val="visible"/>
                                      </p:to>
                                    </p:set>
                                    <p:anim calcmode="lin" valueType="num">
                                      <p:cBhvr additive="base">
                                        <p:cTn dur="1250" fill="hold" id="46"/>
                                        <p:tgtEl>
                                          <p:spTgt spid="39"/>
                                        </p:tgtEl>
                                        <p:attrNameLst>
                                          <p:attrName>ppt_x</p:attrName>
                                        </p:attrNameLst>
                                      </p:cBhvr>
                                      <p:tavLst>
                                        <p:tav tm="0">
                                          <p:val>
                                            <p:strVal val="1+#ppt_w/2"/>
                                          </p:val>
                                        </p:tav>
                                        <p:tav tm="100000">
                                          <p:val>
                                            <p:strVal val="#ppt_x"/>
                                          </p:val>
                                        </p:tav>
                                      </p:tavLst>
                                    </p:anim>
                                    <p:anim calcmode="lin" valueType="num">
                                      <p:cBhvr additive="base">
                                        <p:cTn dur="1250" fill="hold" id="47"/>
                                        <p:tgtEl>
                                          <p:spTgt spid="39"/>
                                        </p:tgtEl>
                                        <p:attrNameLst>
                                          <p:attrName>ppt_y</p:attrName>
                                        </p:attrNameLst>
                                      </p:cBhvr>
                                      <p:tavLst>
                                        <p:tav tm="0">
                                          <p:val>
                                            <p:strVal val="0-#ppt_h/2"/>
                                          </p:val>
                                        </p:tav>
                                        <p:tav tm="100000">
                                          <p:val>
                                            <p:strVal val="#ppt_y"/>
                                          </p:val>
                                        </p:tav>
                                      </p:tavLst>
                                    </p:anim>
                                  </p:childTnLst>
                                </p:cTn>
                              </p:par>
                            </p:childTnLst>
                          </p:cTn>
                        </p:par>
                        <p:par>
                          <p:cTn fill="hold" id="48" nodeType="afterGroup">
                            <p:stCondLst>
                              <p:cond delay="2750"/>
                            </p:stCondLst>
                            <p:childTnLst>
                              <p:par>
                                <p:cTn fill="hold" grpId="0" id="49" nodeType="afterEffect" presetClass="entr" presetID="42" presetSubtype="0">
                                  <p:stCondLst>
                                    <p:cond delay="0"/>
                                  </p:stCondLst>
                                  <p:childTnLst>
                                    <p:set>
                                      <p:cBhvr>
                                        <p:cTn dur="1" fill="hold" id="50">
                                          <p:stCondLst>
                                            <p:cond delay="0"/>
                                          </p:stCondLst>
                                        </p:cTn>
                                        <p:tgtEl>
                                          <p:spTgt spid="45"/>
                                        </p:tgtEl>
                                        <p:attrNameLst>
                                          <p:attrName>style.visibility</p:attrName>
                                        </p:attrNameLst>
                                      </p:cBhvr>
                                      <p:to>
                                        <p:strVal val="visible"/>
                                      </p:to>
                                    </p:set>
                                    <p:animEffect filter="fade" transition="in">
                                      <p:cBhvr>
                                        <p:cTn dur="1000" id="51"/>
                                        <p:tgtEl>
                                          <p:spTgt spid="45"/>
                                        </p:tgtEl>
                                      </p:cBhvr>
                                    </p:animEffect>
                                    <p:anim calcmode="lin" valueType="num">
                                      <p:cBhvr>
                                        <p:cTn dur="1000" fill="hold" id="52"/>
                                        <p:tgtEl>
                                          <p:spTgt spid="45"/>
                                        </p:tgtEl>
                                        <p:attrNameLst>
                                          <p:attrName>ppt_x</p:attrName>
                                        </p:attrNameLst>
                                      </p:cBhvr>
                                      <p:tavLst>
                                        <p:tav tm="0">
                                          <p:val>
                                            <p:strVal val="#ppt_x"/>
                                          </p:val>
                                        </p:tav>
                                        <p:tav tm="100000">
                                          <p:val>
                                            <p:strVal val="#ppt_x"/>
                                          </p:val>
                                        </p:tav>
                                      </p:tavLst>
                                    </p:anim>
                                    <p:anim calcmode="lin" valueType="num">
                                      <p:cBhvr>
                                        <p:cTn dur="1000" fill="hold" id="53"/>
                                        <p:tgtEl>
                                          <p:spTgt spid="45"/>
                                        </p:tgtEl>
                                        <p:attrNameLst>
                                          <p:attrName>ppt_y</p:attrName>
                                        </p:attrNameLst>
                                      </p:cBhvr>
                                      <p:tavLst>
                                        <p:tav tm="0">
                                          <p:val>
                                            <p:strVal val="#ppt_y+.1"/>
                                          </p:val>
                                        </p:tav>
                                        <p:tav tm="100000">
                                          <p:val>
                                            <p:strVal val="#ppt_y"/>
                                          </p:val>
                                        </p:tav>
                                      </p:tavLst>
                                    </p:anim>
                                  </p:childTnLst>
                                </p:cTn>
                              </p:par>
                              <p:par>
                                <p:cTn fill="hold" grpId="0" id="54" nodeType="withEffect" presetClass="entr" presetID="42" presetSubtype="0">
                                  <p:stCondLst>
                                    <p:cond delay="0"/>
                                  </p:stCondLst>
                                  <p:childTnLst>
                                    <p:set>
                                      <p:cBhvr>
                                        <p:cTn dur="1" fill="hold" id="55">
                                          <p:stCondLst>
                                            <p:cond delay="0"/>
                                          </p:stCondLst>
                                        </p:cTn>
                                        <p:tgtEl>
                                          <p:spTgt spid="44"/>
                                        </p:tgtEl>
                                        <p:attrNameLst>
                                          <p:attrName>style.visibility</p:attrName>
                                        </p:attrNameLst>
                                      </p:cBhvr>
                                      <p:to>
                                        <p:strVal val="visible"/>
                                      </p:to>
                                    </p:set>
                                    <p:animEffect filter="fade" transition="in">
                                      <p:cBhvr>
                                        <p:cTn dur="1000" id="56"/>
                                        <p:tgtEl>
                                          <p:spTgt spid="44"/>
                                        </p:tgtEl>
                                      </p:cBhvr>
                                    </p:animEffect>
                                    <p:anim calcmode="lin" valueType="num">
                                      <p:cBhvr>
                                        <p:cTn dur="1000" fill="hold" id="57"/>
                                        <p:tgtEl>
                                          <p:spTgt spid="44"/>
                                        </p:tgtEl>
                                        <p:attrNameLst>
                                          <p:attrName>ppt_x</p:attrName>
                                        </p:attrNameLst>
                                      </p:cBhvr>
                                      <p:tavLst>
                                        <p:tav tm="0">
                                          <p:val>
                                            <p:strVal val="#ppt_x"/>
                                          </p:val>
                                        </p:tav>
                                        <p:tav tm="100000">
                                          <p:val>
                                            <p:strVal val="#ppt_x"/>
                                          </p:val>
                                        </p:tav>
                                      </p:tavLst>
                                    </p:anim>
                                    <p:anim calcmode="lin" valueType="num">
                                      <p:cBhvr>
                                        <p:cTn dur="1000" fill="hold" id="58"/>
                                        <p:tgtEl>
                                          <p:spTgt spid="44"/>
                                        </p:tgtEl>
                                        <p:attrNameLst>
                                          <p:attrName>ppt_y</p:attrName>
                                        </p:attrNameLst>
                                      </p:cBhvr>
                                      <p:tavLst>
                                        <p:tav tm="0">
                                          <p:val>
                                            <p:strVal val="#ppt_y+.1"/>
                                          </p:val>
                                        </p:tav>
                                        <p:tav tm="100000">
                                          <p:val>
                                            <p:strVal val="#ppt_y"/>
                                          </p:val>
                                        </p:tav>
                                      </p:tavLst>
                                    </p:anim>
                                  </p:childTnLst>
                                </p:cTn>
                              </p:par>
                              <p:par>
                                <p:cTn fill="hold" id="59" nodeType="withEffect" presetClass="entr" presetID="10" presetSubtype="0">
                                  <p:stCondLst>
                                    <p:cond delay="0"/>
                                  </p:stCondLst>
                                  <p:childTnLst>
                                    <p:set>
                                      <p:cBhvr>
                                        <p:cTn dur="1" fill="hold" id="60">
                                          <p:stCondLst>
                                            <p:cond delay="0"/>
                                          </p:stCondLst>
                                        </p:cTn>
                                        <p:tgtEl>
                                          <p:spTgt spid="36"/>
                                        </p:tgtEl>
                                        <p:attrNameLst>
                                          <p:attrName>style.visibility</p:attrName>
                                        </p:attrNameLst>
                                      </p:cBhvr>
                                      <p:to>
                                        <p:strVal val="visible"/>
                                      </p:to>
                                    </p:set>
                                    <p:animEffect filter="fade" transition="in">
                                      <p:cBhvr>
                                        <p:cTn dur="500" id="61"/>
                                        <p:tgtEl>
                                          <p:spTgt spid="36"/>
                                        </p:tgtEl>
                                      </p:cBhvr>
                                    </p:animEffect>
                                  </p:childTnLst>
                                </p:cTn>
                              </p:par>
                              <p:par>
                                <p:cTn fill="hold" grpId="0" id="62" nodeType="withEffect" presetClass="entr" presetID="10" presetSubtype="0">
                                  <p:stCondLst>
                                    <p:cond delay="0"/>
                                  </p:stCondLst>
                                  <p:childTnLst>
                                    <p:set>
                                      <p:cBhvr>
                                        <p:cTn dur="1" fill="hold" id="63">
                                          <p:stCondLst>
                                            <p:cond delay="0"/>
                                          </p:stCondLst>
                                        </p:cTn>
                                        <p:tgtEl>
                                          <p:spTgt spid="42"/>
                                        </p:tgtEl>
                                        <p:attrNameLst>
                                          <p:attrName>style.visibility</p:attrName>
                                        </p:attrNameLst>
                                      </p:cBhvr>
                                      <p:to>
                                        <p:strVal val="visible"/>
                                      </p:to>
                                    </p:set>
                                    <p:animEffect filter="fade" transition="in">
                                      <p:cBhvr>
                                        <p:cTn dur="500" id="64"/>
                                        <p:tgtEl>
                                          <p:spTgt spid="42"/>
                                        </p:tgtEl>
                                      </p:cBhvr>
                                    </p:animEffect>
                                  </p:childTnLst>
                                </p:cTn>
                              </p:par>
                              <p:par>
                                <p:cTn fill="hold" grpId="0" id="65" nodeType="withEffect" presetClass="entr" presetID="10" presetSubtype="0">
                                  <p:stCondLst>
                                    <p:cond delay="0"/>
                                  </p:stCondLst>
                                  <p:childTnLst>
                                    <p:set>
                                      <p:cBhvr>
                                        <p:cTn dur="1" fill="hold" id="66">
                                          <p:stCondLst>
                                            <p:cond delay="0"/>
                                          </p:stCondLst>
                                        </p:cTn>
                                        <p:tgtEl>
                                          <p:spTgt spid="43"/>
                                        </p:tgtEl>
                                        <p:attrNameLst>
                                          <p:attrName>style.visibility</p:attrName>
                                        </p:attrNameLst>
                                      </p:cBhvr>
                                      <p:to>
                                        <p:strVal val="visible"/>
                                      </p:to>
                                    </p:set>
                                    <p:animEffect filter="fade" transition="in">
                                      <p:cBhvr>
                                        <p:cTn dur="500" id="67"/>
                                        <p:tgtEl>
                                          <p:spTgt spid="43"/>
                                        </p:tgtEl>
                                      </p:cBhvr>
                                    </p:animEffect>
                                  </p:childTnLst>
                                </p:cTn>
                              </p:par>
                            </p:childTnLst>
                          </p:cTn>
                        </p:par>
                        <p:par>
                          <p:cTn fill="hold" id="68" nodeType="afterGroup">
                            <p:stCondLst>
                              <p:cond delay="3750"/>
                            </p:stCondLst>
                            <p:childTnLst>
                              <p:par>
                                <p:cTn fill="hold" grpId="0" id="69" nodeType="afterEffect" presetClass="entr" presetID="22" presetSubtype="8">
                                  <p:stCondLst>
                                    <p:cond delay="0"/>
                                  </p:stCondLst>
                                  <p:childTnLst>
                                    <p:set>
                                      <p:cBhvr>
                                        <p:cTn dur="1" fill="hold" id="70">
                                          <p:stCondLst>
                                            <p:cond delay="0"/>
                                          </p:stCondLst>
                                        </p:cTn>
                                        <p:tgtEl>
                                          <p:spTgt spid="47"/>
                                        </p:tgtEl>
                                        <p:attrNameLst>
                                          <p:attrName>style.visibility</p:attrName>
                                        </p:attrNameLst>
                                      </p:cBhvr>
                                      <p:to>
                                        <p:strVal val="visible"/>
                                      </p:to>
                                    </p:set>
                                    <p:animEffect filter="wipe(left)" transition="in">
                                      <p:cBhvr>
                                        <p:cTn dur="500" id="71"/>
                                        <p:tgtEl>
                                          <p:spTgt spid="47"/>
                                        </p:tgtEl>
                                      </p:cBhvr>
                                    </p:animEffect>
                                  </p:childTnLst>
                                </p:cTn>
                              </p:par>
                              <p:par>
                                <p:cTn fill="hold" grpId="0" id="72" nodeType="withEffect" presetClass="entr" presetID="22" presetSubtype="8">
                                  <p:stCondLst>
                                    <p:cond delay="0"/>
                                  </p:stCondLst>
                                  <p:childTnLst>
                                    <p:set>
                                      <p:cBhvr>
                                        <p:cTn dur="1" fill="hold" id="73">
                                          <p:stCondLst>
                                            <p:cond delay="0"/>
                                          </p:stCondLst>
                                        </p:cTn>
                                        <p:tgtEl>
                                          <p:spTgt spid="2"/>
                                        </p:tgtEl>
                                        <p:attrNameLst>
                                          <p:attrName>style.visibility</p:attrName>
                                        </p:attrNameLst>
                                      </p:cBhvr>
                                      <p:to>
                                        <p:strVal val="visible"/>
                                      </p:to>
                                    </p:set>
                                    <p:animEffect filter="wipe(left)" transition="in">
                                      <p:cBhvr>
                                        <p:cTn dur="500" id="74"/>
                                        <p:tgtEl>
                                          <p:spTgt spid="2"/>
                                        </p:tgtEl>
                                      </p:cBhvr>
                                    </p:animEffect>
                                  </p:childTnLst>
                                </p:cTn>
                              </p:par>
                              <p:par>
                                <p:cTn fill="hold" grpId="0" id="75" nodeType="withEffect" presetClass="entr" presetID="22" presetSubtype="8">
                                  <p:stCondLst>
                                    <p:cond delay="0"/>
                                  </p:stCondLst>
                                  <p:childTnLst>
                                    <p:set>
                                      <p:cBhvr>
                                        <p:cTn dur="1" fill="hold" id="76">
                                          <p:stCondLst>
                                            <p:cond delay="0"/>
                                          </p:stCondLst>
                                        </p:cTn>
                                        <p:tgtEl>
                                          <p:spTgt spid="46"/>
                                        </p:tgtEl>
                                        <p:attrNameLst>
                                          <p:attrName>style.visibility</p:attrName>
                                        </p:attrNameLst>
                                      </p:cBhvr>
                                      <p:to>
                                        <p:strVal val="visible"/>
                                      </p:to>
                                    </p:set>
                                    <p:animEffect filter="wipe(left)" transition="in">
                                      <p:cBhvr>
                                        <p:cTn dur="500" id="77"/>
                                        <p:tgtEl>
                                          <p:spTgt spid="46"/>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10"/>
      <p:bldP grpId="0" spid="29"/>
      <p:bldP grpId="0" spid="30"/>
      <p:bldP grpId="0" spid="31"/>
      <p:bldP grpId="0" spid="34"/>
      <p:bldP grpId="0" spid="39"/>
      <p:bldP grpId="0" spid="42"/>
      <p:bldP grpId="0" spid="43"/>
      <p:bldP grpId="0" spid="44"/>
      <p:bldP grpId="0" spid="45"/>
      <p:bldP grpId="0" spid="2"/>
      <p:bldP grpId="0" spid="46"/>
      <p:bldP grpId="0" spid="47"/>
    </p:bldLst>
  </p:timing>
</p:sld>
</file>

<file path=ppt/slides/slide24.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15" name="矩形 14">
            <a:extLst>
              <a:ext uri="{FF2B5EF4-FFF2-40B4-BE49-F238E27FC236}">
                <a16:creationId xmlns:a16="http://schemas.microsoft.com/office/drawing/2014/main" id="{CE36C7F1-6C00-4850-BBD3-E2708CA8A36A}"/>
              </a:ext>
            </a:extLst>
          </p:cNvPr>
          <p:cNvSpPr/>
          <p:nvPr/>
        </p:nvSpPr>
        <p:spPr>
          <a:xfrm>
            <a:off x="0" y="0"/>
            <a:ext cx="6096000" cy="6858000"/>
          </a:xfrm>
          <a:prstGeom prst="rect">
            <a:avLst/>
          </a:prstGeom>
          <a:solidFill>
            <a:srgbClr val="A0CBD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16" name="矩形 15">
            <a:extLst>
              <a:ext uri="{FF2B5EF4-FFF2-40B4-BE49-F238E27FC236}">
                <a16:creationId xmlns:a16="http://schemas.microsoft.com/office/drawing/2014/main" id="{0BB73022-E843-4B58-8CAE-72943EF2BA47}"/>
              </a:ext>
            </a:extLst>
          </p:cNvPr>
          <p:cNvSpPr/>
          <p:nvPr/>
        </p:nvSpPr>
        <p:spPr>
          <a:xfrm>
            <a:off x="6096000" y="0"/>
            <a:ext cx="6096000" cy="6858000"/>
          </a:xfrm>
          <a:prstGeom prst="rect">
            <a:avLst/>
          </a:prstGeom>
          <a:solidFill>
            <a:srgbClr val="FAD3D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pic>
        <p:nvPicPr>
          <p:cNvPr id="13" name="图片 12">
            <a:extLst>
              <a:ext uri="{FF2B5EF4-FFF2-40B4-BE49-F238E27FC236}">
                <a16:creationId xmlns:a16="http://schemas.microsoft.com/office/drawing/2014/main" id="{6DD138FA-3C37-42AF-8AF2-84E223662A24}"/>
              </a:ext>
            </a:extLst>
          </p:cNvPr>
          <p:cNvPicPr>
            <a:picLocks noChangeAspect="1"/>
          </p:cNvPicPr>
          <p:nvPr/>
        </p:nvPicPr>
        <p:blipFill>
          <a:blip r:embed="rId3">
            <a:extLst>
              <a:ext uri="{28A0092B-C50C-407E-A947-70E740481C1C}">
                <a14:useLocalDpi val="0"/>
              </a:ext>
            </a:extLst>
          </a:blip>
          <a:srcRect b="9410" l="12695" r="15432" t="13963"/>
          <a:stretch>
            <a:fillRect/>
          </a:stretch>
        </p:blipFill>
        <p:spPr>
          <a:xfrm rot="5400000">
            <a:off x="2515440" y="-2202731"/>
            <a:ext cx="7034120" cy="11163542"/>
          </a:xfrm>
          <a:prstGeom prst="rect">
            <a:avLst/>
          </a:prstGeom>
          <a:effectLst>
            <a:outerShdw algn="t" blurRad="152400" dir="5400000" dist="76200" rotWithShape="0">
              <a:prstClr val="black">
                <a:alpha val="40000"/>
              </a:prstClr>
            </a:outerShdw>
          </a:effectLst>
        </p:spPr>
      </p:pic>
      <p:pic>
        <p:nvPicPr>
          <p:cNvPr id="6" name="图片 5">
            <a:extLst>
              <a:ext uri="{FF2B5EF4-FFF2-40B4-BE49-F238E27FC236}">
                <a16:creationId xmlns:a16="http://schemas.microsoft.com/office/drawing/2014/main" id="{6E0EC271-F6FA-400A-98A1-C5D063F69E46}"/>
              </a:ext>
            </a:extLst>
          </p:cNvPr>
          <p:cNvPicPr>
            <a:picLocks noChangeAspect="1"/>
          </p:cNvPicPr>
          <p:nvPr/>
        </p:nvPicPr>
        <p:blipFill>
          <a:blip r:embed="rId4"/>
          <a:srcRect r="50000"/>
          <a:stretch>
            <a:fillRect/>
          </a:stretch>
        </p:blipFill>
        <p:spPr>
          <a:xfrm>
            <a:off x="848716" y="1264956"/>
            <a:ext cx="4749800" cy="2802443"/>
          </a:xfrm>
          <a:prstGeom prst="rect">
            <a:avLst/>
          </a:prstGeom>
        </p:spPr>
      </p:pic>
      <p:grpSp>
        <p:nvGrpSpPr>
          <p:cNvPr id="9" name="组合 8">
            <a:extLst>
              <a:ext uri="{FF2B5EF4-FFF2-40B4-BE49-F238E27FC236}">
                <a16:creationId xmlns:a16="http://schemas.microsoft.com/office/drawing/2014/main" id="{62992CA3-CD68-48C1-8271-50D55EEED39C}"/>
              </a:ext>
            </a:extLst>
          </p:cNvPr>
          <p:cNvGrpSpPr/>
          <p:nvPr/>
        </p:nvGrpSpPr>
        <p:grpSpPr>
          <a:xfrm>
            <a:off x="4926015" y="4986601"/>
            <a:ext cx="2339970" cy="482600"/>
            <a:chOff x="4926015" y="5410200"/>
            <a:chExt cx="2339970" cy="482600"/>
          </a:xfrm>
        </p:grpSpPr>
        <p:sp>
          <p:nvSpPr>
            <p:cNvPr id="8" name="矩形 7">
              <a:extLst>
                <a:ext uri="{FF2B5EF4-FFF2-40B4-BE49-F238E27FC236}">
                  <a16:creationId xmlns:a16="http://schemas.microsoft.com/office/drawing/2014/main" id="{2F65B562-D7CA-457A-AEC6-E818A4EF662E}"/>
                </a:ext>
              </a:extLst>
            </p:cNvPr>
            <p:cNvSpPr/>
            <p:nvPr/>
          </p:nvSpPr>
          <p:spPr>
            <a:xfrm>
              <a:off x="4926015" y="5410200"/>
              <a:ext cx="1169985" cy="482600"/>
            </a:xfrm>
            <a:prstGeom prst="rect">
              <a:avLst/>
            </a:prstGeom>
            <a:solidFill>
              <a:srgbClr val="FF626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2000">
                <a:solidFill>
                  <a:srgbClr val="00416B"/>
                </a:solidFill>
                <a:latin charset="-122" panose="02000500000000000000" pitchFamily="2" typeface="方正雅士黑 简"/>
                <a:ea charset="-122" panose="02000500000000000000" pitchFamily="2" typeface="方正雅士黑 简"/>
              </a:endParaRPr>
            </a:p>
          </p:txBody>
        </p:sp>
        <p:sp>
          <p:nvSpPr>
            <p:cNvPr id="17" name="矩形 16">
              <a:extLst>
                <a:ext uri="{FF2B5EF4-FFF2-40B4-BE49-F238E27FC236}">
                  <a16:creationId xmlns:a16="http://schemas.microsoft.com/office/drawing/2014/main" id="{40BA06C4-4442-4A2A-8A77-3439F3875064}"/>
                </a:ext>
              </a:extLst>
            </p:cNvPr>
            <p:cNvSpPr/>
            <p:nvPr/>
          </p:nvSpPr>
          <p:spPr>
            <a:xfrm>
              <a:off x="6096000" y="5410200"/>
              <a:ext cx="1169985" cy="482600"/>
            </a:xfrm>
            <a:prstGeom prst="rect">
              <a:avLst/>
            </a:prstGeom>
            <a:solidFill>
              <a:srgbClr val="60A8A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2000">
                <a:solidFill>
                  <a:srgbClr val="00416B"/>
                </a:solidFill>
                <a:latin charset="-122" panose="02000500000000000000" pitchFamily="2" typeface="方正雅士黑 简"/>
                <a:ea charset="-122" panose="02000500000000000000" pitchFamily="2" typeface="方正雅士黑 简"/>
              </a:endParaRPr>
            </a:p>
          </p:txBody>
        </p:sp>
      </p:grpSp>
      <p:sp>
        <p:nvSpPr>
          <p:cNvPr id="18" name="矩形 17">
            <a:extLst>
              <a:ext uri="{FF2B5EF4-FFF2-40B4-BE49-F238E27FC236}">
                <a16:creationId xmlns:a16="http://schemas.microsoft.com/office/drawing/2014/main" id="{F1C18E1B-3E2C-401E-A30C-B8E4B40EDF25}"/>
              </a:ext>
            </a:extLst>
          </p:cNvPr>
          <p:cNvSpPr/>
          <p:nvPr/>
        </p:nvSpPr>
        <p:spPr>
          <a:xfrm>
            <a:off x="5433063" y="5046491"/>
            <a:ext cx="1325880" cy="365760"/>
          </a:xfrm>
          <a:prstGeom prst="rect">
            <a:avLst/>
          </a:prstGeom>
        </p:spPr>
        <p:txBody>
          <a:bodyPr wrap="none">
            <a:spAutoFit/>
          </a:bodyPr>
          <a:lstStyle/>
          <a:p>
            <a:pPr algn="ctr"/>
            <a:r>
              <a:rPr altLang="zh-CN" lang="en-US">
                <a:solidFill>
                  <a:schemeClr val="bg1"/>
                </a:solidFill>
                <a:latin charset="-122" panose="02000500000000000000" pitchFamily="2" typeface="方正雅士黑 简"/>
                <a:ea charset="-122" panose="02000500000000000000" pitchFamily="2" typeface="方正雅士黑 简"/>
              </a:rPr>
              <a:t>2020-01-01</a:t>
            </a:r>
          </a:p>
        </p:txBody>
      </p:sp>
      <p:pic>
        <p:nvPicPr>
          <p:cNvPr id="14" name="图片 13">
            <a:extLst>
              <a:ext uri="{FF2B5EF4-FFF2-40B4-BE49-F238E27FC236}">
                <a16:creationId xmlns:a16="http://schemas.microsoft.com/office/drawing/2014/main" id="{EA40FC9A-B7C0-426E-9DB1-8176B1F1ECA3}"/>
              </a:ext>
            </a:extLst>
          </p:cNvPr>
          <p:cNvPicPr>
            <a:picLocks noChangeAspect="1"/>
          </p:cNvPicPr>
          <p:nvPr/>
        </p:nvPicPr>
        <p:blipFill>
          <a:blip r:embed="rId4"/>
          <a:srcRect r="50000"/>
          <a:stretch>
            <a:fillRect/>
          </a:stretch>
        </p:blipFill>
        <p:spPr>
          <a:xfrm flipH="1">
            <a:off x="6500150" y="1264956"/>
            <a:ext cx="4749800" cy="2802443"/>
          </a:xfrm>
          <a:prstGeom prst="rect">
            <a:avLst/>
          </a:prstGeom>
        </p:spPr>
      </p:pic>
      <p:sp>
        <p:nvSpPr>
          <p:cNvPr id="10" name="文本框 9">
            <a:extLst>
              <a:ext uri="{FF2B5EF4-FFF2-40B4-BE49-F238E27FC236}">
                <a16:creationId xmlns:a16="http://schemas.microsoft.com/office/drawing/2014/main" id="{3D04C131-A9F0-481A-BFC4-4732E3222A5F}"/>
              </a:ext>
            </a:extLst>
          </p:cNvPr>
          <p:cNvSpPr txBox="1"/>
          <p:nvPr/>
        </p:nvSpPr>
        <p:spPr>
          <a:xfrm>
            <a:off x="2529824" y="2138124"/>
            <a:ext cx="1448972" cy="2377440"/>
          </a:xfrm>
          <a:prstGeom prst="rect">
            <a:avLst/>
          </a:prstGeom>
          <a:noFill/>
        </p:spPr>
        <p:txBody>
          <a:bodyPr rtlCol="0" wrap="square">
            <a:spAutoFit/>
          </a:bodyPr>
          <a:lstStyle/>
          <a:p>
            <a:pPr algn="ctr"/>
            <a:r>
              <a:rPr altLang="en-US" lang="zh-CN" sz="15000">
                <a:blipFill>
                  <a:blip r:embed="rId5"/>
                  <a:stretch>
                    <a:fillRect/>
                  </a:stretch>
                </a:blipFill>
                <a:latin charset="-122" panose="020b0800000000000000" pitchFamily="34" typeface="思源黑体 CN Bold"/>
                <a:ea charset="-122" panose="020b0800000000000000" pitchFamily="34" typeface="思源黑体 CN Bold"/>
              </a:rPr>
              <a:t>感</a:t>
            </a:r>
          </a:p>
        </p:txBody>
      </p:sp>
      <p:sp>
        <p:nvSpPr>
          <p:cNvPr id="19" name="文本框 18">
            <a:extLst>
              <a:ext uri="{FF2B5EF4-FFF2-40B4-BE49-F238E27FC236}">
                <a16:creationId xmlns:a16="http://schemas.microsoft.com/office/drawing/2014/main" id="{2F7FE082-DB17-4662-80E8-5F5BA4782F1C}"/>
              </a:ext>
            </a:extLst>
          </p:cNvPr>
          <p:cNvSpPr txBox="1"/>
          <p:nvPr/>
        </p:nvSpPr>
        <p:spPr>
          <a:xfrm>
            <a:off x="4383333" y="2138124"/>
            <a:ext cx="1448972" cy="2377440"/>
          </a:xfrm>
          <a:prstGeom prst="rect">
            <a:avLst/>
          </a:prstGeom>
          <a:noFill/>
        </p:spPr>
        <p:txBody>
          <a:bodyPr rtlCol="0" wrap="square">
            <a:spAutoFit/>
          </a:bodyPr>
          <a:lstStyle/>
          <a:p>
            <a:pPr algn="ctr"/>
            <a:r>
              <a:rPr altLang="en-US" lang="zh-CN" sz="15000">
                <a:blipFill>
                  <a:blip r:embed="rId6"/>
                  <a:stretch>
                    <a:fillRect/>
                  </a:stretch>
                </a:blipFill>
                <a:latin charset="-122" panose="020b0800000000000000" pitchFamily="34" typeface="思源黑体 CN Bold"/>
                <a:ea charset="-122" panose="020b0800000000000000" pitchFamily="34" typeface="思源黑体 CN Bold"/>
              </a:rPr>
              <a:t>谢</a:t>
            </a:r>
          </a:p>
        </p:txBody>
      </p:sp>
      <p:sp>
        <p:nvSpPr>
          <p:cNvPr id="20" name="文本框 19">
            <a:extLst>
              <a:ext uri="{FF2B5EF4-FFF2-40B4-BE49-F238E27FC236}">
                <a16:creationId xmlns:a16="http://schemas.microsoft.com/office/drawing/2014/main" id="{75974C8B-0BB8-41ED-8212-0A541D2FF2C6}"/>
              </a:ext>
            </a:extLst>
          </p:cNvPr>
          <p:cNvSpPr txBox="1"/>
          <p:nvPr/>
        </p:nvSpPr>
        <p:spPr>
          <a:xfrm>
            <a:off x="6236842" y="2138124"/>
            <a:ext cx="1448972" cy="2377440"/>
          </a:xfrm>
          <a:prstGeom prst="rect">
            <a:avLst/>
          </a:prstGeom>
          <a:noFill/>
        </p:spPr>
        <p:txBody>
          <a:bodyPr rtlCol="0" wrap="square">
            <a:spAutoFit/>
          </a:bodyPr>
          <a:lstStyle/>
          <a:p>
            <a:pPr algn="ctr"/>
            <a:r>
              <a:rPr altLang="en-US" lang="zh-CN" sz="15000">
                <a:blipFill>
                  <a:blip r:embed="rId7"/>
                  <a:stretch>
                    <a:fillRect/>
                  </a:stretch>
                </a:blipFill>
                <a:latin charset="-122" panose="020b0800000000000000" pitchFamily="34" typeface="思源黑体 CN Bold"/>
                <a:ea charset="-122" panose="020b0800000000000000" pitchFamily="34" typeface="思源黑体 CN Bold"/>
              </a:rPr>
              <a:t>聆</a:t>
            </a:r>
          </a:p>
        </p:txBody>
      </p:sp>
      <p:sp>
        <p:nvSpPr>
          <p:cNvPr id="21" name="文本框 20">
            <a:extLst>
              <a:ext uri="{FF2B5EF4-FFF2-40B4-BE49-F238E27FC236}">
                <a16:creationId xmlns:a16="http://schemas.microsoft.com/office/drawing/2014/main" id="{8C666069-8153-4557-8F94-0F7F6B4442B6}"/>
              </a:ext>
            </a:extLst>
          </p:cNvPr>
          <p:cNvSpPr txBox="1"/>
          <p:nvPr/>
        </p:nvSpPr>
        <p:spPr>
          <a:xfrm>
            <a:off x="8090353" y="2138124"/>
            <a:ext cx="1448972" cy="2377440"/>
          </a:xfrm>
          <a:prstGeom prst="rect">
            <a:avLst/>
          </a:prstGeom>
          <a:noFill/>
        </p:spPr>
        <p:txBody>
          <a:bodyPr rtlCol="0" wrap="square">
            <a:spAutoFit/>
          </a:bodyPr>
          <a:lstStyle/>
          <a:p>
            <a:pPr algn="ctr"/>
            <a:r>
              <a:rPr altLang="en-US" lang="zh-CN" sz="15000">
                <a:blipFill>
                  <a:blip r:embed="rId8"/>
                  <a:stretch>
                    <a:fillRect/>
                  </a:stretch>
                </a:blipFill>
                <a:latin charset="-122" panose="020b0800000000000000" pitchFamily="34" typeface="思源黑体 CN Bold"/>
                <a:ea charset="-122" panose="020b0800000000000000" pitchFamily="34" typeface="思源黑体 CN Bold"/>
              </a:rPr>
              <a:t>听</a:t>
            </a:r>
          </a:p>
        </p:txBody>
      </p:sp>
      <p:sp>
        <p:nvSpPr>
          <p:cNvPr id="12" name="矩形 11">
            <a:extLst>
              <a:ext uri="{FF2B5EF4-FFF2-40B4-BE49-F238E27FC236}">
                <a16:creationId xmlns:a16="http://schemas.microsoft.com/office/drawing/2014/main" id="{72BFFB41-9570-482A-8C6C-3AD4BACB5C93}"/>
              </a:ext>
            </a:extLst>
          </p:cNvPr>
          <p:cNvSpPr/>
          <p:nvPr/>
        </p:nvSpPr>
        <p:spPr>
          <a:xfrm>
            <a:off x="2798876" y="4192053"/>
            <a:ext cx="6594248" cy="640080"/>
          </a:xfrm>
          <a:prstGeom prst="rect">
            <a:avLst/>
          </a:prstGeom>
        </p:spPr>
        <p:txBody>
          <a:bodyPr wrap="square">
            <a:spAutoFit/>
          </a:bodyPr>
          <a:lstStyle/>
          <a:p>
            <a:pPr algn="ctr"/>
            <a:r>
              <a:rPr altLang="en-US" lang="zh-CN" sz="1200">
                <a:solidFill>
                  <a:schemeClr val="bg1">
                    <a:lumMod val="65000"/>
                  </a:schemeClr>
                </a:solidFill>
              </a:rPr>
              <a:t>Thank you for downloading the PPT works provided on the website. For the benefit of you,</a:t>
            </a:r>
          </a:p>
          <a:p>
            <a:pPr algn="ctr"/>
            <a:r>
              <a:rPr altLang="en-US" lang="zh-CN" sz="1200">
                <a:solidFill>
                  <a:schemeClr val="bg1">
                    <a:lumMod val="65000"/>
                  </a:schemeClr>
                </a:solidFill>
              </a:rPr>
              <a:t> the website and the original author, please do not copy,</a:t>
            </a:r>
          </a:p>
          <a:p>
            <a:pPr algn="ctr"/>
            <a:r>
              <a:rPr altLang="en-US" lang="zh-CN" sz="1200">
                <a:solidFill>
                  <a:schemeClr val="bg1">
                    <a:lumMod val="65000"/>
                  </a:schemeClr>
                </a:solidFill>
              </a:rPr>
              <a:t> spread or sell them, otherwise you will bear legal responsibility!</a:t>
            </a:r>
          </a:p>
        </p:txBody>
      </p:sp>
    </p:spTree>
    <p:extLst>
      <p:ext uri="{BB962C8B-B14F-4D97-AF65-F5344CB8AC3E}">
        <p14:creationId val="154971363"/>
      </p:ext>
    </p:extLst>
  </p:cSld>
  <p:clrMapOvr>
    <a:masterClrMapping/>
  </p:clrMapOvr>
  <mc:AlternateContent>
    <mc:Choice Requires="p14">
      <p:transition p14:dur="1500" spd="slow">
        <p:random/>
      </p:transition>
    </mc:Choice>
    <mc:Fallback>
      <p:transition spd="slow">
        <p:random/>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grpId="0" id="5" nodeType="withEffect" presetClass="entr" presetID="2" presetSubtype="9">
                                  <p:stCondLst>
                                    <p:cond delay="0"/>
                                  </p:stCondLst>
                                  <p:childTnLst>
                                    <p:set>
                                      <p:cBhvr>
                                        <p:cTn dur="1" fill="hold" id="6">
                                          <p:stCondLst>
                                            <p:cond delay="0"/>
                                          </p:stCondLst>
                                        </p:cTn>
                                        <p:tgtEl>
                                          <p:spTgt spid="10"/>
                                        </p:tgtEl>
                                        <p:attrNameLst>
                                          <p:attrName>style.visibility</p:attrName>
                                        </p:attrNameLst>
                                      </p:cBhvr>
                                      <p:to>
                                        <p:strVal val="visible"/>
                                      </p:to>
                                    </p:set>
                                    <p:anim calcmode="lin" valueType="num">
                                      <p:cBhvr additive="base">
                                        <p:cTn dur="1500" fill="hold" id="7"/>
                                        <p:tgtEl>
                                          <p:spTgt spid="10"/>
                                        </p:tgtEl>
                                        <p:attrNameLst>
                                          <p:attrName>ppt_x</p:attrName>
                                        </p:attrNameLst>
                                      </p:cBhvr>
                                      <p:tavLst>
                                        <p:tav tm="0">
                                          <p:val>
                                            <p:strVal val="0-#ppt_w/2"/>
                                          </p:val>
                                        </p:tav>
                                        <p:tav tm="100000">
                                          <p:val>
                                            <p:strVal val="#ppt_x"/>
                                          </p:val>
                                        </p:tav>
                                      </p:tavLst>
                                    </p:anim>
                                    <p:anim calcmode="lin" valueType="num">
                                      <p:cBhvr additive="base">
                                        <p:cTn dur="1500" fill="hold" id="8"/>
                                        <p:tgtEl>
                                          <p:spTgt spid="10"/>
                                        </p:tgtEl>
                                        <p:attrNameLst>
                                          <p:attrName>ppt_y</p:attrName>
                                        </p:attrNameLst>
                                      </p:cBhvr>
                                      <p:tavLst>
                                        <p:tav tm="0">
                                          <p:val>
                                            <p:strVal val="0-#ppt_h/2"/>
                                          </p:val>
                                        </p:tav>
                                        <p:tav tm="100000">
                                          <p:val>
                                            <p:strVal val="#ppt_y"/>
                                          </p:val>
                                        </p:tav>
                                      </p:tavLst>
                                    </p:anim>
                                  </p:childTnLst>
                                </p:cTn>
                              </p:par>
                              <p:par>
                                <p:cTn fill="hold" grpId="0" id="9" nodeType="withEffect" presetClass="entr" presetID="2" presetSubtype="12">
                                  <p:stCondLst>
                                    <p:cond delay="0"/>
                                  </p:stCondLst>
                                  <p:childTnLst>
                                    <p:set>
                                      <p:cBhvr>
                                        <p:cTn dur="1" fill="hold" id="10">
                                          <p:stCondLst>
                                            <p:cond delay="0"/>
                                          </p:stCondLst>
                                        </p:cTn>
                                        <p:tgtEl>
                                          <p:spTgt spid="19"/>
                                        </p:tgtEl>
                                        <p:attrNameLst>
                                          <p:attrName>style.visibility</p:attrName>
                                        </p:attrNameLst>
                                      </p:cBhvr>
                                      <p:to>
                                        <p:strVal val="visible"/>
                                      </p:to>
                                    </p:set>
                                    <p:anim calcmode="lin" valueType="num">
                                      <p:cBhvr additive="base">
                                        <p:cTn dur="1500" fill="hold" id="11"/>
                                        <p:tgtEl>
                                          <p:spTgt spid="19"/>
                                        </p:tgtEl>
                                        <p:attrNameLst>
                                          <p:attrName>ppt_x</p:attrName>
                                        </p:attrNameLst>
                                      </p:cBhvr>
                                      <p:tavLst>
                                        <p:tav tm="0">
                                          <p:val>
                                            <p:strVal val="0-#ppt_w/2"/>
                                          </p:val>
                                        </p:tav>
                                        <p:tav tm="100000">
                                          <p:val>
                                            <p:strVal val="#ppt_x"/>
                                          </p:val>
                                        </p:tav>
                                      </p:tavLst>
                                    </p:anim>
                                    <p:anim calcmode="lin" valueType="num">
                                      <p:cBhvr additive="base">
                                        <p:cTn dur="1500" fill="hold" id="12"/>
                                        <p:tgtEl>
                                          <p:spTgt spid="19"/>
                                        </p:tgtEl>
                                        <p:attrNameLst>
                                          <p:attrName>ppt_y</p:attrName>
                                        </p:attrNameLst>
                                      </p:cBhvr>
                                      <p:tavLst>
                                        <p:tav tm="0">
                                          <p:val>
                                            <p:strVal val="1+#ppt_h/2"/>
                                          </p:val>
                                        </p:tav>
                                        <p:tav tm="100000">
                                          <p:val>
                                            <p:strVal val="#ppt_y"/>
                                          </p:val>
                                        </p:tav>
                                      </p:tavLst>
                                    </p:anim>
                                  </p:childTnLst>
                                </p:cTn>
                              </p:par>
                              <p:par>
                                <p:cTn fill="hold" grpId="0" id="13" nodeType="withEffect" presetClass="entr" presetID="2" presetSubtype="3">
                                  <p:stCondLst>
                                    <p:cond delay="0"/>
                                  </p:stCondLst>
                                  <p:childTnLst>
                                    <p:set>
                                      <p:cBhvr>
                                        <p:cTn dur="1" fill="hold" id="14">
                                          <p:stCondLst>
                                            <p:cond delay="0"/>
                                          </p:stCondLst>
                                        </p:cTn>
                                        <p:tgtEl>
                                          <p:spTgt spid="20"/>
                                        </p:tgtEl>
                                        <p:attrNameLst>
                                          <p:attrName>style.visibility</p:attrName>
                                        </p:attrNameLst>
                                      </p:cBhvr>
                                      <p:to>
                                        <p:strVal val="visible"/>
                                      </p:to>
                                    </p:set>
                                    <p:anim calcmode="lin" valueType="num">
                                      <p:cBhvr additive="base">
                                        <p:cTn dur="1500" fill="hold" id="15"/>
                                        <p:tgtEl>
                                          <p:spTgt spid="20"/>
                                        </p:tgtEl>
                                        <p:attrNameLst>
                                          <p:attrName>ppt_x</p:attrName>
                                        </p:attrNameLst>
                                      </p:cBhvr>
                                      <p:tavLst>
                                        <p:tav tm="0">
                                          <p:val>
                                            <p:strVal val="1+#ppt_w/2"/>
                                          </p:val>
                                        </p:tav>
                                        <p:tav tm="100000">
                                          <p:val>
                                            <p:strVal val="#ppt_x"/>
                                          </p:val>
                                        </p:tav>
                                      </p:tavLst>
                                    </p:anim>
                                    <p:anim calcmode="lin" valueType="num">
                                      <p:cBhvr additive="base">
                                        <p:cTn dur="1500" fill="hold" id="16"/>
                                        <p:tgtEl>
                                          <p:spTgt spid="20"/>
                                        </p:tgtEl>
                                        <p:attrNameLst>
                                          <p:attrName>ppt_y</p:attrName>
                                        </p:attrNameLst>
                                      </p:cBhvr>
                                      <p:tavLst>
                                        <p:tav tm="0">
                                          <p:val>
                                            <p:strVal val="0-#ppt_h/2"/>
                                          </p:val>
                                        </p:tav>
                                        <p:tav tm="100000">
                                          <p:val>
                                            <p:strVal val="#ppt_y"/>
                                          </p:val>
                                        </p:tav>
                                      </p:tavLst>
                                    </p:anim>
                                  </p:childTnLst>
                                </p:cTn>
                              </p:par>
                              <p:par>
                                <p:cTn fill="hold" grpId="0" id="17" nodeType="withEffect" presetClass="entr" presetID="2" presetSubtype="6">
                                  <p:stCondLst>
                                    <p:cond delay="0"/>
                                  </p:stCondLst>
                                  <p:childTnLst>
                                    <p:set>
                                      <p:cBhvr>
                                        <p:cTn dur="1" fill="hold" id="18">
                                          <p:stCondLst>
                                            <p:cond delay="0"/>
                                          </p:stCondLst>
                                        </p:cTn>
                                        <p:tgtEl>
                                          <p:spTgt spid="21"/>
                                        </p:tgtEl>
                                        <p:attrNameLst>
                                          <p:attrName>style.visibility</p:attrName>
                                        </p:attrNameLst>
                                      </p:cBhvr>
                                      <p:to>
                                        <p:strVal val="visible"/>
                                      </p:to>
                                    </p:set>
                                    <p:anim calcmode="lin" valueType="num">
                                      <p:cBhvr additive="base">
                                        <p:cTn dur="1500" fill="hold" id="19"/>
                                        <p:tgtEl>
                                          <p:spTgt spid="21"/>
                                        </p:tgtEl>
                                        <p:attrNameLst>
                                          <p:attrName>ppt_x</p:attrName>
                                        </p:attrNameLst>
                                      </p:cBhvr>
                                      <p:tavLst>
                                        <p:tav tm="0">
                                          <p:val>
                                            <p:strVal val="1+#ppt_w/2"/>
                                          </p:val>
                                        </p:tav>
                                        <p:tav tm="100000">
                                          <p:val>
                                            <p:strVal val="#ppt_x"/>
                                          </p:val>
                                        </p:tav>
                                      </p:tavLst>
                                    </p:anim>
                                    <p:anim calcmode="lin" valueType="num">
                                      <p:cBhvr additive="base">
                                        <p:cTn dur="1500" fill="hold" id="20"/>
                                        <p:tgtEl>
                                          <p:spTgt spid="21"/>
                                        </p:tgtEl>
                                        <p:attrNameLst>
                                          <p:attrName>ppt_y</p:attrName>
                                        </p:attrNameLst>
                                      </p:cBhvr>
                                      <p:tavLst>
                                        <p:tav tm="0">
                                          <p:val>
                                            <p:strVal val="1+#ppt_h/2"/>
                                          </p:val>
                                        </p:tav>
                                        <p:tav tm="100000">
                                          <p:val>
                                            <p:strVal val="#ppt_y"/>
                                          </p:val>
                                        </p:tav>
                                      </p:tavLst>
                                    </p:anim>
                                  </p:childTnLst>
                                </p:cTn>
                              </p:par>
                              <p:par>
                                <p:cTn fill="hold" id="21" nodeType="withEffect" presetClass="entr" presetID="53" presetSubtype="0">
                                  <p:stCondLst>
                                    <p:cond delay="1250"/>
                                  </p:stCondLst>
                                  <p:childTnLst>
                                    <p:set>
                                      <p:cBhvr>
                                        <p:cTn dur="1" fill="hold" id="22">
                                          <p:stCondLst>
                                            <p:cond delay="0"/>
                                          </p:stCondLst>
                                        </p:cTn>
                                        <p:tgtEl>
                                          <p:spTgt spid="14"/>
                                        </p:tgtEl>
                                        <p:attrNameLst>
                                          <p:attrName>style.visibility</p:attrName>
                                        </p:attrNameLst>
                                      </p:cBhvr>
                                      <p:to>
                                        <p:strVal val="visible"/>
                                      </p:to>
                                    </p:set>
                                    <p:anim calcmode="lin" valueType="num">
                                      <p:cBhvr>
                                        <p:cTn dur="500" fill="hold" id="23"/>
                                        <p:tgtEl>
                                          <p:spTgt spid="14"/>
                                        </p:tgtEl>
                                        <p:attrNameLst>
                                          <p:attrName>ppt_w</p:attrName>
                                        </p:attrNameLst>
                                      </p:cBhvr>
                                      <p:tavLst>
                                        <p:tav tm="0">
                                          <p:val>
                                            <p:fltVal val="0"/>
                                          </p:val>
                                        </p:tav>
                                        <p:tav tm="100000">
                                          <p:val>
                                            <p:strVal val="#ppt_w"/>
                                          </p:val>
                                        </p:tav>
                                      </p:tavLst>
                                    </p:anim>
                                    <p:anim calcmode="lin" valueType="num">
                                      <p:cBhvr>
                                        <p:cTn dur="500" fill="hold" id="24"/>
                                        <p:tgtEl>
                                          <p:spTgt spid="14"/>
                                        </p:tgtEl>
                                        <p:attrNameLst>
                                          <p:attrName>ppt_h</p:attrName>
                                        </p:attrNameLst>
                                      </p:cBhvr>
                                      <p:tavLst>
                                        <p:tav tm="0">
                                          <p:val>
                                            <p:fltVal val="0"/>
                                          </p:val>
                                        </p:tav>
                                        <p:tav tm="100000">
                                          <p:val>
                                            <p:strVal val="#ppt_h"/>
                                          </p:val>
                                        </p:tav>
                                      </p:tavLst>
                                    </p:anim>
                                    <p:animEffect filter="fade" transition="in">
                                      <p:cBhvr>
                                        <p:cTn dur="500" id="25"/>
                                        <p:tgtEl>
                                          <p:spTgt spid="14"/>
                                        </p:tgtEl>
                                      </p:cBhvr>
                                    </p:animEffect>
                                  </p:childTnLst>
                                </p:cTn>
                              </p:par>
                              <p:par>
                                <p:cTn fill="hold" id="26" nodeType="withEffect" presetClass="entr" presetID="53" presetSubtype="0">
                                  <p:stCondLst>
                                    <p:cond delay="1250"/>
                                  </p:stCondLst>
                                  <p:childTnLst>
                                    <p:set>
                                      <p:cBhvr>
                                        <p:cTn dur="1" fill="hold" id="27">
                                          <p:stCondLst>
                                            <p:cond delay="0"/>
                                          </p:stCondLst>
                                        </p:cTn>
                                        <p:tgtEl>
                                          <p:spTgt spid="6"/>
                                        </p:tgtEl>
                                        <p:attrNameLst>
                                          <p:attrName>style.visibility</p:attrName>
                                        </p:attrNameLst>
                                      </p:cBhvr>
                                      <p:to>
                                        <p:strVal val="visible"/>
                                      </p:to>
                                    </p:set>
                                    <p:anim calcmode="lin" valueType="num">
                                      <p:cBhvr>
                                        <p:cTn dur="500" fill="hold" id="28"/>
                                        <p:tgtEl>
                                          <p:spTgt spid="6"/>
                                        </p:tgtEl>
                                        <p:attrNameLst>
                                          <p:attrName>ppt_w</p:attrName>
                                        </p:attrNameLst>
                                      </p:cBhvr>
                                      <p:tavLst>
                                        <p:tav tm="0">
                                          <p:val>
                                            <p:fltVal val="0"/>
                                          </p:val>
                                        </p:tav>
                                        <p:tav tm="100000">
                                          <p:val>
                                            <p:strVal val="#ppt_w"/>
                                          </p:val>
                                        </p:tav>
                                      </p:tavLst>
                                    </p:anim>
                                    <p:anim calcmode="lin" valueType="num">
                                      <p:cBhvr>
                                        <p:cTn dur="500" fill="hold" id="29"/>
                                        <p:tgtEl>
                                          <p:spTgt spid="6"/>
                                        </p:tgtEl>
                                        <p:attrNameLst>
                                          <p:attrName>ppt_h</p:attrName>
                                        </p:attrNameLst>
                                      </p:cBhvr>
                                      <p:tavLst>
                                        <p:tav tm="0">
                                          <p:val>
                                            <p:fltVal val="0"/>
                                          </p:val>
                                        </p:tav>
                                        <p:tav tm="100000">
                                          <p:val>
                                            <p:strVal val="#ppt_h"/>
                                          </p:val>
                                        </p:tav>
                                      </p:tavLst>
                                    </p:anim>
                                    <p:animEffect filter="fade" transition="in">
                                      <p:cBhvr>
                                        <p:cTn dur="500" id="30"/>
                                        <p:tgtEl>
                                          <p:spTgt spid="6"/>
                                        </p:tgtEl>
                                      </p:cBhvr>
                                    </p:animEffect>
                                  </p:childTnLst>
                                </p:cTn>
                              </p:par>
                            </p:childTnLst>
                          </p:cTn>
                        </p:par>
                        <p:par>
                          <p:cTn fill="hold" id="31" nodeType="afterGroup">
                            <p:stCondLst>
                              <p:cond delay="1750"/>
                            </p:stCondLst>
                            <p:childTnLst>
                              <p:par>
                                <p:cTn fill="hold" id="32" nodeType="afterEffect" presetClass="entr" presetID="16" presetSubtype="21">
                                  <p:stCondLst>
                                    <p:cond delay="0"/>
                                  </p:stCondLst>
                                  <p:childTnLst>
                                    <p:set>
                                      <p:cBhvr>
                                        <p:cTn dur="1" fill="hold" id="33">
                                          <p:stCondLst>
                                            <p:cond delay="0"/>
                                          </p:stCondLst>
                                        </p:cTn>
                                        <p:tgtEl>
                                          <p:spTgt spid="9"/>
                                        </p:tgtEl>
                                        <p:attrNameLst>
                                          <p:attrName>style.visibility</p:attrName>
                                        </p:attrNameLst>
                                      </p:cBhvr>
                                      <p:to>
                                        <p:strVal val="visible"/>
                                      </p:to>
                                    </p:set>
                                    <p:animEffect filter="barn(inVertical)" transition="in">
                                      <p:cBhvr>
                                        <p:cTn dur="500" id="34"/>
                                        <p:tgtEl>
                                          <p:spTgt spid="9"/>
                                        </p:tgtEl>
                                      </p:cBhvr>
                                    </p:animEffect>
                                  </p:childTnLst>
                                </p:cTn>
                              </p:par>
                              <p:par>
                                <p:cTn fill="hold" grpId="0" id="35" nodeType="withEffect" presetClass="entr" presetID="16" presetSubtype="37">
                                  <p:stCondLst>
                                    <p:cond delay="0"/>
                                  </p:stCondLst>
                                  <p:childTnLst>
                                    <p:set>
                                      <p:cBhvr>
                                        <p:cTn dur="1" fill="hold" id="36">
                                          <p:stCondLst>
                                            <p:cond delay="0"/>
                                          </p:stCondLst>
                                        </p:cTn>
                                        <p:tgtEl>
                                          <p:spTgt spid="18"/>
                                        </p:tgtEl>
                                        <p:attrNameLst>
                                          <p:attrName>style.visibility</p:attrName>
                                        </p:attrNameLst>
                                      </p:cBhvr>
                                      <p:to>
                                        <p:strVal val="visible"/>
                                      </p:to>
                                    </p:set>
                                    <p:animEffect filter="barn(outVertical)" transition="in">
                                      <p:cBhvr>
                                        <p:cTn dur="500" id="37"/>
                                        <p:tgtEl>
                                          <p:spTgt spid="18"/>
                                        </p:tgtEl>
                                      </p:cBhvr>
                                    </p:animEffect>
                                  </p:childTnLst>
                                </p:cTn>
                              </p:par>
                            </p:childTnLst>
                          </p:cTn>
                        </p:par>
                        <p:par>
                          <p:cTn fill="hold" id="38" nodeType="afterGroup">
                            <p:stCondLst>
                              <p:cond delay="2250"/>
                            </p:stCondLst>
                            <p:childTnLst>
                              <p:par>
                                <p:cTn fill="hold" grpId="0" id="39" nodeType="afterEffect" presetClass="entr" presetID="22" presetSubtype="1">
                                  <p:stCondLst>
                                    <p:cond delay="0"/>
                                  </p:stCondLst>
                                  <p:childTnLst>
                                    <p:set>
                                      <p:cBhvr>
                                        <p:cTn dur="1" fill="hold" id="40">
                                          <p:stCondLst>
                                            <p:cond delay="0"/>
                                          </p:stCondLst>
                                        </p:cTn>
                                        <p:tgtEl>
                                          <p:spTgt spid="12"/>
                                        </p:tgtEl>
                                        <p:attrNameLst>
                                          <p:attrName>style.visibility</p:attrName>
                                        </p:attrNameLst>
                                      </p:cBhvr>
                                      <p:to>
                                        <p:strVal val="visible"/>
                                      </p:to>
                                    </p:set>
                                    <p:animEffect filter="wipe(up)" transition="in">
                                      <p:cBhvr>
                                        <p:cTn dur="500" id="41"/>
                                        <p:tgtEl>
                                          <p:spTgt spid="12"/>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18"/>
      <p:bldP grpId="0" spid="10"/>
      <p:bldP grpId="0" spid="19"/>
      <p:bldP grpId="0" spid="20"/>
      <p:bldP grpId="0" spid="21"/>
      <p:bldP grpId="0" spid="12"/>
    </p:bldLst>
  </p:timing>
</p:sld>
</file>

<file path=ppt/slides/slide3.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pic>
        <p:nvPicPr>
          <p:cNvPr id="52" name="图形 51">
            <a:extLst>
              <a:ext uri="{FF2B5EF4-FFF2-40B4-BE49-F238E27FC236}">
                <a16:creationId xmlns:a16="http://schemas.microsoft.com/office/drawing/2014/main" id="{8D33FEF6-9F37-4458-AA3E-4C458A179BF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flipV="1">
            <a:off x="59107" y="4827095"/>
            <a:ext cx="1870413" cy="1956409"/>
          </a:xfrm>
          <a:prstGeom prst="rect">
            <a:avLst/>
          </a:prstGeom>
        </p:spPr>
      </p:pic>
      <p:pic>
        <p:nvPicPr>
          <p:cNvPr id="53" name="图形 52">
            <a:extLst>
              <a:ext uri="{FF2B5EF4-FFF2-40B4-BE49-F238E27FC236}">
                <a16:creationId xmlns:a16="http://schemas.microsoft.com/office/drawing/2014/main" id="{2B0BF704-574C-4B05-806E-D359C2544A7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051181" y="40578"/>
            <a:ext cx="2065140" cy="1630373"/>
          </a:xfrm>
          <a:prstGeom prst="rect">
            <a:avLst/>
          </a:prstGeom>
        </p:spPr>
      </p:pic>
      <p:pic>
        <p:nvPicPr>
          <p:cNvPr id="18" name="图片 17">
            <a:extLst>
              <a:ext uri="{FF2B5EF4-FFF2-40B4-BE49-F238E27FC236}">
                <a16:creationId xmlns:a16="http://schemas.microsoft.com/office/drawing/2014/main" id="{01B58B04-61DF-4368-9E5B-1A9430F90136}"/>
              </a:ext>
            </a:extLst>
          </p:cNvPr>
          <p:cNvPicPr>
            <a:picLocks noChangeAspect="1"/>
          </p:cNvPicPr>
          <p:nvPr/>
        </p:nvPicPr>
        <p:blipFill>
          <a:blip r:embed="rId7">
            <a:extLst>
              <a:ext uri="{28A0092B-C50C-407E-A947-70E740481C1C}">
                <a14:useLocalDpi val="0"/>
              </a:ext>
            </a:extLst>
          </a:blip>
          <a:srcRect b="9410" l="12695" r="15432" t="13963"/>
          <a:stretch>
            <a:fillRect/>
          </a:stretch>
        </p:blipFill>
        <p:spPr>
          <a:xfrm rot="5400000">
            <a:off x="2925434" y="-1362528"/>
            <a:ext cx="6195993" cy="9583056"/>
          </a:xfrm>
          <a:prstGeom prst="rect">
            <a:avLst/>
          </a:prstGeom>
          <a:effectLst>
            <a:outerShdw algn="t" blurRad="152400" dir="5400000" dist="76200" rotWithShape="0">
              <a:prstClr val="black">
                <a:alpha val="40000"/>
              </a:prstClr>
            </a:outerShdw>
          </a:effectLst>
        </p:spPr>
      </p:pic>
      <p:sp>
        <p:nvSpPr>
          <p:cNvPr id="14" name="文本框 13">
            <a:extLst>
              <a:ext uri="{FF2B5EF4-FFF2-40B4-BE49-F238E27FC236}">
                <a16:creationId xmlns:a16="http://schemas.microsoft.com/office/drawing/2014/main" id="{3AAB08FD-929D-4210-86B9-92132AA71D62}"/>
              </a:ext>
            </a:extLst>
          </p:cNvPr>
          <p:cNvSpPr txBox="1"/>
          <p:nvPr/>
        </p:nvSpPr>
        <p:spPr>
          <a:xfrm>
            <a:off x="1244600" y="3157664"/>
            <a:ext cx="9702800" cy="1554480"/>
          </a:xfrm>
          <a:prstGeom prst="rect">
            <a:avLst/>
          </a:prstGeom>
          <a:noFill/>
        </p:spPr>
        <p:txBody>
          <a:bodyPr rtlCol="0" wrap="square">
            <a:spAutoFit/>
          </a:bodyPr>
          <a:lstStyle/>
          <a:p>
            <a:pPr algn="ctr"/>
            <a:r>
              <a:rPr altLang="en-US" b="1" lang="zh-CN" spc="-150" sz="9600">
                <a:solidFill>
                  <a:schemeClr val="tx1">
                    <a:lumMod val="75000"/>
                    <a:lumOff val="25000"/>
                  </a:schemeClr>
                </a:solidFill>
                <a:latin charset="-122" panose="02000500000000000000" pitchFamily="2" typeface="方正手迹-小欢卡通体"/>
                <a:ea charset="-122" panose="02000500000000000000" pitchFamily="2" typeface="方正手迹-小欢卡通体"/>
              </a:rPr>
              <a:t>目标完成情况</a:t>
            </a:r>
          </a:p>
        </p:txBody>
      </p:sp>
      <p:grpSp>
        <p:nvGrpSpPr>
          <p:cNvPr id="2" name="组合 1">
            <a:extLst>
              <a:ext uri="{FF2B5EF4-FFF2-40B4-BE49-F238E27FC236}">
                <a16:creationId xmlns:a16="http://schemas.microsoft.com/office/drawing/2014/main" id="{838B7507-BC27-4394-A9B9-4F3FCB597C1B}"/>
              </a:ext>
            </a:extLst>
          </p:cNvPr>
          <p:cNvGrpSpPr/>
          <p:nvPr/>
        </p:nvGrpSpPr>
        <p:grpSpPr>
          <a:xfrm>
            <a:off x="4926015" y="4766828"/>
            <a:ext cx="2339970" cy="482600"/>
            <a:chOff x="4926015" y="4766828"/>
            <a:chExt cx="2339970" cy="482600"/>
          </a:xfrm>
        </p:grpSpPr>
        <p:sp>
          <p:nvSpPr>
            <p:cNvPr id="15" name="矩形 14">
              <a:extLst>
                <a:ext uri="{FF2B5EF4-FFF2-40B4-BE49-F238E27FC236}">
                  <a16:creationId xmlns:a16="http://schemas.microsoft.com/office/drawing/2014/main" id="{76128341-D5BE-4727-98FA-EEEF15553AE5}"/>
                </a:ext>
              </a:extLst>
            </p:cNvPr>
            <p:cNvSpPr/>
            <p:nvPr/>
          </p:nvSpPr>
          <p:spPr>
            <a:xfrm>
              <a:off x="4926015" y="4766828"/>
              <a:ext cx="1169985" cy="482600"/>
            </a:xfrm>
            <a:prstGeom prst="rect">
              <a:avLst/>
            </a:prstGeom>
            <a:solidFill>
              <a:srgbClr val="FF626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2000">
                <a:solidFill>
                  <a:srgbClr val="00416B"/>
                </a:solidFill>
                <a:latin charset="-122" panose="02000500000000000000" pitchFamily="2" typeface="方正雅士黑 简"/>
                <a:ea charset="-122" panose="02000500000000000000" pitchFamily="2" typeface="方正雅士黑 简"/>
              </a:endParaRPr>
            </a:p>
          </p:txBody>
        </p:sp>
        <p:sp>
          <p:nvSpPr>
            <p:cNvPr id="16" name="矩形 15">
              <a:extLst>
                <a:ext uri="{FF2B5EF4-FFF2-40B4-BE49-F238E27FC236}">
                  <a16:creationId xmlns:a16="http://schemas.microsoft.com/office/drawing/2014/main" id="{EB775F2C-CA06-4532-900A-BFA261DBEEB0}"/>
                </a:ext>
              </a:extLst>
            </p:cNvPr>
            <p:cNvSpPr/>
            <p:nvPr/>
          </p:nvSpPr>
          <p:spPr>
            <a:xfrm>
              <a:off x="6096000" y="4766828"/>
              <a:ext cx="1169985" cy="482600"/>
            </a:xfrm>
            <a:prstGeom prst="rect">
              <a:avLst/>
            </a:prstGeom>
            <a:solidFill>
              <a:srgbClr val="60A8A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2000">
                <a:solidFill>
                  <a:srgbClr val="00416B"/>
                </a:solidFill>
                <a:latin charset="-122" panose="02000500000000000000" pitchFamily="2" typeface="方正雅士黑 简"/>
                <a:ea charset="-122" panose="02000500000000000000" pitchFamily="2" typeface="方正雅士黑 简"/>
              </a:endParaRPr>
            </a:p>
          </p:txBody>
        </p:sp>
      </p:grpSp>
      <p:sp>
        <p:nvSpPr>
          <p:cNvPr id="17" name="矩形 16">
            <a:extLst>
              <a:ext uri="{FF2B5EF4-FFF2-40B4-BE49-F238E27FC236}">
                <a16:creationId xmlns:a16="http://schemas.microsoft.com/office/drawing/2014/main" id="{013E49E3-785E-448C-8679-9E330C4A1944}"/>
              </a:ext>
            </a:extLst>
          </p:cNvPr>
          <p:cNvSpPr/>
          <p:nvPr/>
        </p:nvSpPr>
        <p:spPr>
          <a:xfrm>
            <a:off x="5242562" y="4783176"/>
            <a:ext cx="1706880" cy="457200"/>
          </a:xfrm>
          <a:prstGeom prst="rect">
            <a:avLst/>
          </a:prstGeom>
        </p:spPr>
        <p:txBody>
          <a:bodyPr wrap="none">
            <a:spAutoFit/>
          </a:bodyPr>
          <a:lstStyle/>
          <a:p>
            <a:pPr algn="ctr"/>
            <a:r>
              <a:rPr altLang="zh-CN" lang="en-US" sz="2400">
                <a:solidFill>
                  <a:schemeClr val="bg1"/>
                </a:solidFill>
                <a:latin charset="-122" panose="02000500000000000000" pitchFamily="2" typeface="方正雅士黑 简"/>
                <a:ea charset="-122" panose="02000500000000000000" pitchFamily="2" typeface="方正雅士黑 简"/>
              </a:rPr>
              <a:t>PART   ONE</a:t>
            </a:r>
          </a:p>
        </p:txBody>
      </p:sp>
      <p:pic>
        <p:nvPicPr>
          <p:cNvPr id="25" name="图形 24">
            <a:extLst>
              <a:ext uri="{FF2B5EF4-FFF2-40B4-BE49-F238E27FC236}">
                <a16:creationId xmlns:a16="http://schemas.microsoft.com/office/drawing/2014/main" id="{EB439E43-824A-4AEF-9049-253B0748B0F4}"/>
              </a:ext>
            </a:extLst>
          </p:cNvPr>
          <p:cNvPicPr>
            <a:picLocks noChangeAspect="1"/>
          </p:cNvPicPr>
          <p:nvPr/>
        </p:nvPicPr>
        <p:blipFill>
          <a:blip r:embed="rId8">
            <a:extLst>
              <a:ext uri="{96DAC541-7B7A-43D3-8B79-37D633B846F1}">
                <asvg:svgBlip xmlns:asvg="http://schemas.microsoft.com/office/drawing/2016/SVG/main" r:embed="rId9"/>
              </a:ext>
            </a:extLst>
          </a:blip>
          <a:srcRect b="5167" l="7384" r="26979" t="2999"/>
          <a:stretch>
            <a:fillRect/>
          </a:stretch>
        </p:blipFill>
        <p:spPr>
          <a:xfrm>
            <a:off x="6220433" y="1715302"/>
            <a:ext cx="718794" cy="1275860"/>
          </a:xfrm>
          <a:custGeom>
            <a:rect b="b" l="l" r="r" t="t"/>
            <a:pathLst>
              <a:path h="1837631" w="1035286">
                <a:moveTo>
                  <a:pt x="619939" y="0"/>
                </a:moveTo>
                <a:lnTo>
                  <a:pt x="1035286" y="0"/>
                </a:lnTo>
                <a:lnTo>
                  <a:pt x="1035286" y="1837632"/>
                </a:lnTo>
                <a:lnTo>
                  <a:pt x="527503" y="1837632"/>
                </a:lnTo>
                <a:lnTo>
                  <a:pt x="527503" y="633496"/>
                </a:lnTo>
                <a:cubicBezTo>
                  <a:pt x="445337" y="695942"/>
                  <a:pt x="365842" y="746474"/>
                  <a:pt x="289017" y="785092"/>
                </a:cubicBezTo>
                <a:cubicBezTo>
                  <a:pt x="212192" y="823710"/>
                  <a:pt x="115853" y="860684"/>
                  <a:pt x="0" y="896015"/>
                </a:cubicBezTo>
                <a:lnTo>
                  <a:pt x="0" y="484366"/>
                </a:lnTo>
                <a:cubicBezTo>
                  <a:pt x="170904" y="429315"/>
                  <a:pt x="303602" y="363172"/>
                  <a:pt x="398092" y="285936"/>
                </a:cubicBezTo>
                <a:cubicBezTo>
                  <a:pt x="492582" y="208701"/>
                  <a:pt x="566531" y="113389"/>
                  <a:pt x="619939" y="0"/>
                </a:cubicBezTo>
                <a:close/>
              </a:path>
            </a:pathLst>
          </a:custGeom>
        </p:spPr>
      </p:pic>
      <p:pic>
        <p:nvPicPr>
          <p:cNvPr id="37" name="图形 36">
            <a:extLst>
              <a:ext uri="{FF2B5EF4-FFF2-40B4-BE49-F238E27FC236}">
                <a16:creationId xmlns:a16="http://schemas.microsoft.com/office/drawing/2014/main" id="{1922C27C-412F-48EA-86A1-63AB411C8C2D}"/>
              </a:ext>
            </a:extLst>
          </p:cNvPr>
          <p:cNvPicPr>
            <a:picLocks noChangeAspect="1"/>
          </p:cNvPicPr>
          <p:nvPr/>
        </p:nvPicPr>
        <p:blipFill>
          <a:blip r:embed="rId10">
            <a:extLst>
              <a:ext uri="{96DAC541-7B7A-43D3-8B79-37D633B846F1}">
                <asvg:svgBlip xmlns:asvg="http://schemas.microsoft.com/office/drawing/2016/SVG/main" r:embed="rId11"/>
              </a:ext>
            </a:extLst>
          </a:blip>
          <a:srcRect b="22696" l="25200" r="27996" t="18077"/>
          <a:stretch>
            <a:fillRect/>
          </a:stretch>
        </p:blipFill>
        <p:spPr>
          <a:xfrm>
            <a:off x="5122872" y="1770899"/>
            <a:ext cx="1025136" cy="1297252"/>
          </a:xfrm>
          <a:custGeom>
            <a:rect b="b" l="l" r="r" t="t"/>
            <a:pathLst>
              <a:path h="1868444" w="1476514">
                <a:moveTo>
                  <a:pt x="750582" y="0"/>
                </a:moveTo>
                <a:cubicBezTo>
                  <a:pt x="872187" y="0"/>
                  <a:pt x="972018" y="14995"/>
                  <a:pt x="1050075" y="44986"/>
                </a:cubicBezTo>
                <a:cubicBezTo>
                  <a:pt x="1128132" y="74976"/>
                  <a:pt x="1191811" y="114005"/>
                  <a:pt x="1241110" y="162072"/>
                </a:cubicBezTo>
                <a:cubicBezTo>
                  <a:pt x="1290409" y="210138"/>
                  <a:pt x="1329233" y="260670"/>
                  <a:pt x="1357580" y="313667"/>
                </a:cubicBezTo>
                <a:cubicBezTo>
                  <a:pt x="1385927" y="366664"/>
                  <a:pt x="1408728" y="428493"/>
                  <a:pt x="1425982" y="499156"/>
                </a:cubicBezTo>
                <a:cubicBezTo>
                  <a:pt x="1459670" y="633907"/>
                  <a:pt x="1476514" y="774410"/>
                  <a:pt x="1476514" y="920665"/>
                </a:cubicBezTo>
                <a:cubicBezTo>
                  <a:pt x="1476514" y="1248505"/>
                  <a:pt x="1421053" y="1488429"/>
                  <a:pt x="1310129" y="1640435"/>
                </a:cubicBezTo>
                <a:cubicBezTo>
                  <a:pt x="1199206" y="1792441"/>
                  <a:pt x="1008171" y="1868444"/>
                  <a:pt x="737025" y="1868444"/>
                </a:cubicBezTo>
                <a:cubicBezTo>
                  <a:pt x="585018" y="1868444"/>
                  <a:pt x="462181" y="1844205"/>
                  <a:pt x="368512" y="1795728"/>
                </a:cubicBezTo>
                <a:cubicBezTo>
                  <a:pt x="274844" y="1747250"/>
                  <a:pt x="198019" y="1676177"/>
                  <a:pt x="138038" y="1582508"/>
                </a:cubicBezTo>
                <a:cubicBezTo>
                  <a:pt x="94490" y="1515954"/>
                  <a:pt x="60597" y="1424956"/>
                  <a:pt x="36358" y="1309513"/>
                </a:cubicBezTo>
                <a:cubicBezTo>
                  <a:pt x="12119" y="1194071"/>
                  <a:pt x="0" y="1066509"/>
                  <a:pt x="0" y="926827"/>
                </a:cubicBezTo>
                <a:cubicBezTo>
                  <a:pt x="0" y="583375"/>
                  <a:pt x="61829" y="343041"/>
                  <a:pt x="185488" y="205825"/>
                </a:cubicBezTo>
                <a:cubicBezTo>
                  <a:pt x="309148" y="68608"/>
                  <a:pt x="497512" y="0"/>
                  <a:pt x="750582" y="0"/>
                </a:cubicBezTo>
                <a:close/>
                <a:moveTo>
                  <a:pt x="733327" y="334003"/>
                </a:moveTo>
                <a:cubicBezTo>
                  <a:pt x="650340" y="334003"/>
                  <a:pt x="590359" y="376113"/>
                  <a:pt x="553385" y="460332"/>
                </a:cubicBezTo>
                <a:cubicBezTo>
                  <a:pt x="516410" y="544552"/>
                  <a:pt x="497923" y="700461"/>
                  <a:pt x="497923" y="928060"/>
                </a:cubicBezTo>
                <a:cubicBezTo>
                  <a:pt x="497923" y="1158123"/>
                  <a:pt x="518259" y="1315265"/>
                  <a:pt x="558931" y="1399485"/>
                </a:cubicBezTo>
                <a:cubicBezTo>
                  <a:pt x="599603" y="1483704"/>
                  <a:pt x="658556" y="1525814"/>
                  <a:pt x="735792" y="1525814"/>
                </a:cubicBezTo>
                <a:cubicBezTo>
                  <a:pt x="786735" y="1525814"/>
                  <a:pt x="830899" y="1507943"/>
                  <a:pt x="868284" y="1472201"/>
                </a:cubicBezTo>
                <a:cubicBezTo>
                  <a:pt x="905669" y="1436459"/>
                  <a:pt x="933195" y="1379970"/>
                  <a:pt x="950860" y="1302735"/>
                </a:cubicBezTo>
                <a:cubicBezTo>
                  <a:pt x="968526" y="1225499"/>
                  <a:pt x="977359" y="1105126"/>
                  <a:pt x="977359" y="941617"/>
                </a:cubicBezTo>
                <a:cubicBezTo>
                  <a:pt x="977359" y="701694"/>
                  <a:pt x="957023" y="540444"/>
                  <a:pt x="916351" y="457868"/>
                </a:cubicBezTo>
                <a:cubicBezTo>
                  <a:pt x="875679" y="375291"/>
                  <a:pt x="814671" y="334003"/>
                  <a:pt x="733327" y="334003"/>
                </a:cubicBezTo>
                <a:close/>
              </a:path>
            </a:pathLst>
          </a:custGeom>
        </p:spPr>
      </p:pic>
      <p:cxnSp>
        <p:nvCxnSpPr>
          <p:cNvPr id="41" name="直接连接符 40">
            <a:extLst>
              <a:ext uri="{FF2B5EF4-FFF2-40B4-BE49-F238E27FC236}">
                <a16:creationId xmlns:a16="http://schemas.microsoft.com/office/drawing/2014/main" id="{E636E03A-FE62-4C2C-A59C-E8FD958F8D13}"/>
              </a:ext>
            </a:extLst>
          </p:cNvPr>
          <p:cNvCxnSpPr/>
          <p:nvPr/>
        </p:nvCxnSpPr>
        <p:spPr>
          <a:xfrm>
            <a:off x="411695" y="2518913"/>
            <a:ext cx="983411" cy="0"/>
          </a:xfrm>
          <a:prstGeom prst="line">
            <a:avLst/>
          </a:prstGeom>
          <a:ln cap="rnd" w="38100">
            <a:solidFill>
              <a:schemeClr val="bg1"/>
            </a:solidFill>
            <a:round/>
          </a:ln>
        </p:spPr>
        <p:style>
          <a:lnRef idx="1">
            <a:schemeClr val="accent1"/>
          </a:lnRef>
          <a:fillRef idx="0">
            <a:schemeClr val="accent1"/>
          </a:fillRef>
          <a:effectRef idx="0">
            <a:schemeClr val="accent1"/>
          </a:effectRef>
          <a:fontRef idx="minor">
            <a:schemeClr val="tx1"/>
          </a:fontRef>
        </p:style>
      </p:cxnSp>
      <p:cxnSp>
        <p:nvCxnSpPr>
          <p:cNvPr id="42" name="直接连接符 41">
            <a:extLst>
              <a:ext uri="{FF2B5EF4-FFF2-40B4-BE49-F238E27FC236}">
                <a16:creationId xmlns:a16="http://schemas.microsoft.com/office/drawing/2014/main" id="{95F08B9C-16B6-4569-B702-38B1AF5AF488}"/>
              </a:ext>
            </a:extLst>
          </p:cNvPr>
          <p:cNvCxnSpPr/>
          <p:nvPr/>
        </p:nvCxnSpPr>
        <p:spPr>
          <a:xfrm>
            <a:off x="1101913" y="2271473"/>
            <a:ext cx="379561" cy="0"/>
          </a:xfrm>
          <a:prstGeom prst="line">
            <a:avLst/>
          </a:prstGeom>
          <a:ln cap="rnd" w="38100">
            <a:solidFill>
              <a:schemeClr val="bg1"/>
            </a:solidFill>
            <a:round/>
          </a:ln>
        </p:spPr>
        <p:style>
          <a:lnRef idx="1">
            <a:schemeClr val="accent1"/>
          </a:lnRef>
          <a:fillRef idx="0">
            <a:schemeClr val="accent1"/>
          </a:fillRef>
          <a:effectRef idx="0">
            <a:schemeClr val="accent1"/>
          </a:effectRef>
          <a:fontRef idx="minor">
            <a:schemeClr val="tx1"/>
          </a:fontRef>
        </p:style>
      </p:cxnSp>
      <p:pic>
        <p:nvPicPr>
          <p:cNvPr id="54" name="图形 53">
            <a:extLst>
              <a:ext uri="{FF2B5EF4-FFF2-40B4-BE49-F238E27FC236}">
                <a16:creationId xmlns:a16="http://schemas.microsoft.com/office/drawing/2014/main" id="{13D02E48-3DEE-4265-A5E9-DA6886F9CFDD}"/>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830955" y="763694"/>
            <a:ext cx="268506" cy="268506"/>
          </a:xfrm>
          <a:prstGeom prst="rect">
            <a:avLst/>
          </a:prstGeom>
        </p:spPr>
      </p:pic>
      <p:pic>
        <p:nvPicPr>
          <p:cNvPr id="55" name="图形 54">
            <a:extLst>
              <a:ext uri="{FF2B5EF4-FFF2-40B4-BE49-F238E27FC236}">
                <a16:creationId xmlns:a16="http://schemas.microsoft.com/office/drawing/2014/main" id="{D8F8FC5F-39E0-413A-A0E1-834248523C3C}"/>
              </a:ext>
            </a:extLst>
          </p:cNvPr>
          <p:cNvPicPr>
            <a:picLocks noChangeAspect="1"/>
          </p:cNvPicPr>
          <p:nvPr/>
        </p:nvPicPr>
        <p:blipFill>
          <a:blip r:embed="rId12">
            <a:extLst>
              <a:ext uri="{96DAC541-7B7A-43D3-8B79-37D633B846F1}">
                <asvg:svgBlip xmlns:asvg="http://schemas.microsoft.com/office/drawing/2016/SVG/main" r:embed="rId14"/>
              </a:ext>
            </a:extLst>
          </a:blip>
          <a:stretch>
            <a:fillRect/>
          </a:stretch>
        </p:blipFill>
        <p:spPr>
          <a:xfrm>
            <a:off x="11086082" y="6011689"/>
            <a:ext cx="246232" cy="246232"/>
          </a:xfrm>
          <a:prstGeom prst="rect">
            <a:avLst/>
          </a:prstGeom>
        </p:spPr>
      </p:pic>
      <p:cxnSp>
        <p:nvCxnSpPr>
          <p:cNvPr id="56" name="直接连接符 55">
            <a:extLst>
              <a:ext uri="{FF2B5EF4-FFF2-40B4-BE49-F238E27FC236}">
                <a16:creationId xmlns:a16="http://schemas.microsoft.com/office/drawing/2014/main" id="{19633C08-5B20-4E2F-8F2E-815875B31679}"/>
              </a:ext>
            </a:extLst>
          </p:cNvPr>
          <p:cNvCxnSpPr/>
          <p:nvPr/>
        </p:nvCxnSpPr>
        <p:spPr>
          <a:xfrm>
            <a:off x="10736186" y="4572796"/>
            <a:ext cx="983411" cy="0"/>
          </a:xfrm>
          <a:prstGeom prst="line">
            <a:avLst/>
          </a:prstGeom>
          <a:ln cap="rnd" w="38100">
            <a:solidFill>
              <a:schemeClr val="bg1"/>
            </a:solidFill>
            <a:round/>
          </a:ln>
        </p:spPr>
        <p:style>
          <a:lnRef idx="1">
            <a:schemeClr val="accent1"/>
          </a:lnRef>
          <a:fillRef idx="0">
            <a:schemeClr val="accent1"/>
          </a:fillRef>
          <a:effectRef idx="0">
            <a:schemeClr val="accent1"/>
          </a:effectRef>
          <a:fontRef idx="minor">
            <a:schemeClr val="tx1"/>
          </a:fontRef>
        </p:style>
      </p:cxnSp>
      <p:cxnSp>
        <p:nvCxnSpPr>
          <p:cNvPr id="57" name="直接连接符 56">
            <a:extLst>
              <a:ext uri="{FF2B5EF4-FFF2-40B4-BE49-F238E27FC236}">
                <a16:creationId xmlns:a16="http://schemas.microsoft.com/office/drawing/2014/main" id="{E7261DA9-E5D1-475F-A769-B1177D9364B2}"/>
              </a:ext>
            </a:extLst>
          </p:cNvPr>
          <p:cNvCxnSpPr/>
          <p:nvPr/>
        </p:nvCxnSpPr>
        <p:spPr>
          <a:xfrm>
            <a:off x="11426404" y="4325356"/>
            <a:ext cx="379561" cy="0"/>
          </a:xfrm>
          <a:prstGeom prst="line">
            <a:avLst/>
          </a:prstGeom>
          <a:ln cap="rnd" w="38100">
            <a:solidFill>
              <a:schemeClr val="bg1"/>
            </a:solidFill>
            <a:round/>
          </a:ln>
        </p:spPr>
        <p:style>
          <a:lnRef idx="1">
            <a:schemeClr val="accent1"/>
          </a:lnRef>
          <a:fillRef idx="0">
            <a:schemeClr val="accent1"/>
          </a:fillRef>
          <a:effectRef idx="0">
            <a:schemeClr val="accent1"/>
          </a:effectRef>
          <a:fontRef idx="minor">
            <a:schemeClr val="tx1"/>
          </a:fontRef>
        </p:style>
      </p:cxnSp>
      <p:grpSp>
        <p:nvGrpSpPr>
          <p:cNvPr id="63" name="组合 62">
            <a:extLst>
              <a:ext uri="{FF2B5EF4-FFF2-40B4-BE49-F238E27FC236}">
                <a16:creationId xmlns:a16="http://schemas.microsoft.com/office/drawing/2014/main" id="{8AD69468-B53A-4849-A0EA-E60DD2D66E1D}"/>
              </a:ext>
            </a:extLst>
          </p:cNvPr>
          <p:cNvGrpSpPr/>
          <p:nvPr/>
        </p:nvGrpSpPr>
        <p:grpSpPr>
          <a:xfrm>
            <a:off x="4310626" y="1648268"/>
            <a:ext cx="758330" cy="1509396"/>
            <a:chOff x="4355021" y="1468708"/>
            <a:chExt cx="758330" cy="1509396"/>
          </a:xfrm>
        </p:grpSpPr>
        <p:sp>
          <p:nvSpPr>
            <p:cNvPr id="58" name="星形: 五角 57">
              <a:extLst>
                <a:ext uri="{FF2B5EF4-FFF2-40B4-BE49-F238E27FC236}">
                  <a16:creationId xmlns:a16="http://schemas.microsoft.com/office/drawing/2014/main" id="{954F6521-7C96-4022-A877-6F6F92D8C137}"/>
                </a:ext>
              </a:extLst>
            </p:cNvPr>
            <p:cNvSpPr/>
            <p:nvPr/>
          </p:nvSpPr>
          <p:spPr>
            <a:xfrm>
              <a:off x="4652433" y="2517186"/>
              <a:ext cx="460918" cy="460918"/>
            </a:xfrm>
            <a:prstGeom prst="star5">
              <a:avLst/>
            </a:prstGeom>
            <a:solidFill>
              <a:srgbClr val="FF626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60" name="星形: 五角 59">
              <a:extLst>
                <a:ext uri="{FF2B5EF4-FFF2-40B4-BE49-F238E27FC236}">
                  <a16:creationId xmlns:a16="http://schemas.microsoft.com/office/drawing/2014/main" id="{68CACEF3-4258-4B14-9C2B-D2CB02B9AC7E}"/>
                </a:ext>
              </a:extLst>
            </p:cNvPr>
            <p:cNvSpPr/>
            <p:nvPr/>
          </p:nvSpPr>
          <p:spPr>
            <a:xfrm>
              <a:off x="4355021" y="2208794"/>
              <a:ext cx="320445" cy="320445"/>
            </a:xfrm>
            <a:prstGeom prst="star5">
              <a:avLst/>
            </a:prstGeom>
            <a:solidFill>
              <a:srgbClr val="60A8A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61" name="星形: 五角 60">
              <a:extLst>
                <a:ext uri="{FF2B5EF4-FFF2-40B4-BE49-F238E27FC236}">
                  <a16:creationId xmlns:a16="http://schemas.microsoft.com/office/drawing/2014/main" id="{94563166-AC75-47DA-83AB-8F7760639102}"/>
                </a:ext>
              </a:extLst>
            </p:cNvPr>
            <p:cNvSpPr/>
            <p:nvPr/>
          </p:nvSpPr>
          <p:spPr>
            <a:xfrm>
              <a:off x="4431095" y="1794975"/>
              <a:ext cx="228299" cy="228299"/>
            </a:xfrm>
            <a:prstGeom prst="star5">
              <a:avLst/>
            </a:prstGeom>
            <a:solidFill>
              <a:srgbClr val="FFC73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62" name="星形: 五角 61">
              <a:extLst>
                <a:ext uri="{FF2B5EF4-FFF2-40B4-BE49-F238E27FC236}">
                  <a16:creationId xmlns:a16="http://schemas.microsoft.com/office/drawing/2014/main" id="{08C48CBA-C2D1-46B1-9CC5-8F9D9CD271DD}"/>
                </a:ext>
              </a:extLst>
            </p:cNvPr>
            <p:cNvSpPr/>
            <p:nvPr/>
          </p:nvSpPr>
          <p:spPr>
            <a:xfrm>
              <a:off x="4771591" y="1468708"/>
              <a:ext cx="160111" cy="160111"/>
            </a:xfrm>
            <a:prstGeom prst="star5">
              <a:avLst/>
            </a:prstGeom>
            <a:solidFill>
              <a:srgbClr val="00456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grpSp>
      <p:grpSp>
        <p:nvGrpSpPr>
          <p:cNvPr id="75" name="组合 74">
            <a:extLst>
              <a:ext uri="{FF2B5EF4-FFF2-40B4-BE49-F238E27FC236}">
                <a16:creationId xmlns:a16="http://schemas.microsoft.com/office/drawing/2014/main" id="{733A3385-D462-478D-A653-6745B30FBDE3}"/>
              </a:ext>
            </a:extLst>
          </p:cNvPr>
          <p:cNvGrpSpPr/>
          <p:nvPr/>
        </p:nvGrpSpPr>
        <p:grpSpPr>
          <a:xfrm flipH="1">
            <a:off x="7123046" y="1648268"/>
            <a:ext cx="758330" cy="1509396"/>
            <a:chOff x="4355021" y="1468708"/>
            <a:chExt cx="758330" cy="1509396"/>
          </a:xfrm>
        </p:grpSpPr>
        <p:sp>
          <p:nvSpPr>
            <p:cNvPr id="76" name="星形: 五角 75">
              <a:extLst>
                <a:ext uri="{FF2B5EF4-FFF2-40B4-BE49-F238E27FC236}">
                  <a16:creationId xmlns:a16="http://schemas.microsoft.com/office/drawing/2014/main" id="{2D1F972A-604C-4581-9AE8-0CD88F41C244}"/>
                </a:ext>
              </a:extLst>
            </p:cNvPr>
            <p:cNvSpPr/>
            <p:nvPr/>
          </p:nvSpPr>
          <p:spPr>
            <a:xfrm>
              <a:off x="4652433" y="2517186"/>
              <a:ext cx="460918" cy="460918"/>
            </a:xfrm>
            <a:prstGeom prst="star5">
              <a:avLst/>
            </a:prstGeom>
            <a:solidFill>
              <a:srgbClr val="FF626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77" name="星形: 五角 76">
              <a:extLst>
                <a:ext uri="{FF2B5EF4-FFF2-40B4-BE49-F238E27FC236}">
                  <a16:creationId xmlns:a16="http://schemas.microsoft.com/office/drawing/2014/main" id="{1E62B4AF-C5E3-4C40-9B39-B6B2CC30AB7D}"/>
                </a:ext>
              </a:extLst>
            </p:cNvPr>
            <p:cNvSpPr/>
            <p:nvPr/>
          </p:nvSpPr>
          <p:spPr>
            <a:xfrm>
              <a:off x="4355021" y="2208794"/>
              <a:ext cx="320445" cy="320445"/>
            </a:xfrm>
            <a:prstGeom prst="star5">
              <a:avLst/>
            </a:prstGeom>
            <a:solidFill>
              <a:srgbClr val="60A8A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78" name="星形: 五角 77">
              <a:extLst>
                <a:ext uri="{FF2B5EF4-FFF2-40B4-BE49-F238E27FC236}">
                  <a16:creationId xmlns:a16="http://schemas.microsoft.com/office/drawing/2014/main" id="{96ACDF28-8D51-4EAA-BCA8-C9B791D850D7}"/>
                </a:ext>
              </a:extLst>
            </p:cNvPr>
            <p:cNvSpPr/>
            <p:nvPr/>
          </p:nvSpPr>
          <p:spPr>
            <a:xfrm>
              <a:off x="4431095" y="1794975"/>
              <a:ext cx="228299" cy="228299"/>
            </a:xfrm>
            <a:prstGeom prst="star5">
              <a:avLst/>
            </a:prstGeom>
            <a:solidFill>
              <a:srgbClr val="FFC73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79" name="星形: 五角 78">
              <a:extLst>
                <a:ext uri="{FF2B5EF4-FFF2-40B4-BE49-F238E27FC236}">
                  <a16:creationId xmlns:a16="http://schemas.microsoft.com/office/drawing/2014/main" id="{3B7B9B4F-2F72-4E18-8E56-918C8D8A059E}"/>
                </a:ext>
              </a:extLst>
            </p:cNvPr>
            <p:cNvSpPr/>
            <p:nvPr/>
          </p:nvSpPr>
          <p:spPr>
            <a:xfrm>
              <a:off x="4771591" y="1468708"/>
              <a:ext cx="160111" cy="160111"/>
            </a:xfrm>
            <a:prstGeom prst="star5">
              <a:avLst/>
            </a:prstGeom>
            <a:solidFill>
              <a:srgbClr val="00456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grpSp>
    </p:spTree>
    <p:extLst>
      <p:ext uri="{BB962C8B-B14F-4D97-AF65-F5344CB8AC3E}">
        <p14:creationId val="2855302570"/>
      </p:ext>
    </p:extLst>
  </p:cSld>
  <p:clrMapOvr>
    <a:masterClrMapping/>
  </p:clrMapOvr>
  <mc:AlternateContent>
    <mc:Choice Requires="p14">
      <p:transition p14:dur="1500" spd="slow">
        <p:random/>
      </p:transition>
    </mc:Choice>
    <mc:Fallback>
      <p:transition spd="slow">
        <p:random/>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id="5" nodeType="withEffect" presetClass="entr" presetID="2" presetSubtype="3">
                                  <p:stCondLst>
                                    <p:cond delay="0"/>
                                  </p:stCondLst>
                                  <p:childTnLst>
                                    <p:set>
                                      <p:cBhvr>
                                        <p:cTn dur="1" fill="hold" id="6">
                                          <p:stCondLst>
                                            <p:cond delay="0"/>
                                          </p:stCondLst>
                                        </p:cTn>
                                        <p:tgtEl>
                                          <p:spTgt spid="25"/>
                                        </p:tgtEl>
                                        <p:attrNameLst>
                                          <p:attrName>style.visibility</p:attrName>
                                        </p:attrNameLst>
                                      </p:cBhvr>
                                      <p:to>
                                        <p:strVal val="visible"/>
                                      </p:to>
                                    </p:set>
                                    <p:anim calcmode="lin" valueType="num">
                                      <p:cBhvr additive="base">
                                        <p:cTn dur="1250" fill="hold" id="7"/>
                                        <p:tgtEl>
                                          <p:spTgt spid="25"/>
                                        </p:tgtEl>
                                        <p:attrNameLst>
                                          <p:attrName>ppt_x</p:attrName>
                                        </p:attrNameLst>
                                      </p:cBhvr>
                                      <p:tavLst>
                                        <p:tav tm="0">
                                          <p:val>
                                            <p:strVal val="1+#ppt_w/2"/>
                                          </p:val>
                                        </p:tav>
                                        <p:tav tm="100000">
                                          <p:val>
                                            <p:strVal val="#ppt_x"/>
                                          </p:val>
                                        </p:tav>
                                      </p:tavLst>
                                    </p:anim>
                                    <p:anim calcmode="lin" valueType="num">
                                      <p:cBhvr additive="base">
                                        <p:cTn dur="1250" fill="hold" id="8"/>
                                        <p:tgtEl>
                                          <p:spTgt spid="25"/>
                                        </p:tgtEl>
                                        <p:attrNameLst>
                                          <p:attrName>ppt_y</p:attrName>
                                        </p:attrNameLst>
                                      </p:cBhvr>
                                      <p:tavLst>
                                        <p:tav tm="0">
                                          <p:val>
                                            <p:strVal val="0-#ppt_h/2"/>
                                          </p:val>
                                        </p:tav>
                                        <p:tav tm="100000">
                                          <p:val>
                                            <p:strVal val="#ppt_y"/>
                                          </p:val>
                                        </p:tav>
                                      </p:tavLst>
                                    </p:anim>
                                  </p:childTnLst>
                                </p:cTn>
                              </p:par>
                              <p:par>
                                <p:cTn fill="hold" id="9" nodeType="withEffect" presetClass="entr" presetID="2" presetSubtype="9">
                                  <p:stCondLst>
                                    <p:cond delay="0"/>
                                  </p:stCondLst>
                                  <p:childTnLst>
                                    <p:set>
                                      <p:cBhvr>
                                        <p:cTn dur="1" fill="hold" id="10">
                                          <p:stCondLst>
                                            <p:cond delay="0"/>
                                          </p:stCondLst>
                                        </p:cTn>
                                        <p:tgtEl>
                                          <p:spTgt spid="37"/>
                                        </p:tgtEl>
                                        <p:attrNameLst>
                                          <p:attrName>style.visibility</p:attrName>
                                        </p:attrNameLst>
                                      </p:cBhvr>
                                      <p:to>
                                        <p:strVal val="visible"/>
                                      </p:to>
                                    </p:set>
                                    <p:anim calcmode="lin" valueType="num">
                                      <p:cBhvr additive="base">
                                        <p:cTn dur="1250" fill="hold" id="11"/>
                                        <p:tgtEl>
                                          <p:spTgt spid="37"/>
                                        </p:tgtEl>
                                        <p:attrNameLst>
                                          <p:attrName>ppt_x</p:attrName>
                                        </p:attrNameLst>
                                      </p:cBhvr>
                                      <p:tavLst>
                                        <p:tav tm="0">
                                          <p:val>
                                            <p:strVal val="0-#ppt_w/2"/>
                                          </p:val>
                                        </p:tav>
                                        <p:tav tm="100000">
                                          <p:val>
                                            <p:strVal val="#ppt_x"/>
                                          </p:val>
                                        </p:tav>
                                      </p:tavLst>
                                    </p:anim>
                                    <p:anim calcmode="lin" valueType="num">
                                      <p:cBhvr additive="base">
                                        <p:cTn dur="1250" fill="hold" id="12"/>
                                        <p:tgtEl>
                                          <p:spTgt spid="37"/>
                                        </p:tgtEl>
                                        <p:attrNameLst>
                                          <p:attrName>ppt_y</p:attrName>
                                        </p:attrNameLst>
                                      </p:cBhvr>
                                      <p:tavLst>
                                        <p:tav tm="0">
                                          <p:val>
                                            <p:strVal val="0-#ppt_h/2"/>
                                          </p:val>
                                        </p:tav>
                                        <p:tav tm="100000">
                                          <p:val>
                                            <p:strVal val="#ppt_y"/>
                                          </p:val>
                                        </p:tav>
                                      </p:tavLst>
                                    </p:anim>
                                  </p:childTnLst>
                                </p:cTn>
                              </p:par>
                            </p:childTnLst>
                          </p:cTn>
                        </p:par>
                        <p:par>
                          <p:cTn fill="hold" id="13" nodeType="afterGroup">
                            <p:stCondLst>
                              <p:cond delay="1250"/>
                            </p:stCondLst>
                            <p:childTnLst>
                              <p:par>
                                <p:cTn fill="hold" id="14" nodeType="afterEffect" presetClass="entr" presetID="22" presetSubtype="4">
                                  <p:stCondLst>
                                    <p:cond delay="0"/>
                                  </p:stCondLst>
                                  <p:childTnLst>
                                    <p:set>
                                      <p:cBhvr>
                                        <p:cTn dur="1" fill="hold" id="15">
                                          <p:stCondLst>
                                            <p:cond delay="0"/>
                                          </p:stCondLst>
                                        </p:cTn>
                                        <p:tgtEl>
                                          <p:spTgt spid="63"/>
                                        </p:tgtEl>
                                        <p:attrNameLst>
                                          <p:attrName>style.visibility</p:attrName>
                                        </p:attrNameLst>
                                      </p:cBhvr>
                                      <p:to>
                                        <p:strVal val="visible"/>
                                      </p:to>
                                    </p:set>
                                    <p:animEffect filter="wipe(down)" transition="in">
                                      <p:cBhvr>
                                        <p:cTn dur="500" id="16"/>
                                        <p:tgtEl>
                                          <p:spTgt spid="63"/>
                                        </p:tgtEl>
                                      </p:cBhvr>
                                    </p:animEffect>
                                  </p:childTnLst>
                                </p:cTn>
                              </p:par>
                              <p:par>
                                <p:cTn fill="hold" id="17" nodeType="withEffect" presetClass="entr" presetID="22" presetSubtype="4">
                                  <p:stCondLst>
                                    <p:cond delay="0"/>
                                  </p:stCondLst>
                                  <p:childTnLst>
                                    <p:set>
                                      <p:cBhvr>
                                        <p:cTn dur="1" fill="hold" id="18">
                                          <p:stCondLst>
                                            <p:cond delay="0"/>
                                          </p:stCondLst>
                                        </p:cTn>
                                        <p:tgtEl>
                                          <p:spTgt spid="75"/>
                                        </p:tgtEl>
                                        <p:attrNameLst>
                                          <p:attrName>style.visibility</p:attrName>
                                        </p:attrNameLst>
                                      </p:cBhvr>
                                      <p:to>
                                        <p:strVal val="visible"/>
                                      </p:to>
                                    </p:set>
                                    <p:animEffect filter="wipe(down)" transition="in">
                                      <p:cBhvr>
                                        <p:cTn dur="500" id="19"/>
                                        <p:tgtEl>
                                          <p:spTgt spid="75"/>
                                        </p:tgtEl>
                                      </p:cBhvr>
                                    </p:animEffect>
                                  </p:childTnLst>
                                </p:cTn>
                              </p:par>
                            </p:childTnLst>
                          </p:cTn>
                        </p:par>
                        <p:par>
                          <p:cTn fill="hold" id="20" nodeType="afterGroup">
                            <p:stCondLst>
                              <p:cond delay="1750"/>
                            </p:stCondLst>
                            <p:childTnLst>
                              <p:par>
                                <p:cTn fill="hold" grpId="0" id="21" nodeType="afterEffect" presetClass="entr" presetID="56" presetSubtype="0">
                                  <p:stCondLst>
                                    <p:cond delay="0"/>
                                  </p:stCondLst>
                                  <p:iterate type="lt">
                                    <p:tmPct val="13333"/>
                                  </p:iterate>
                                  <p:childTnLst>
                                    <p:set>
                                      <p:cBhvr>
                                        <p:cTn dur="1" fill="hold" id="22">
                                          <p:stCondLst>
                                            <p:cond delay="0"/>
                                          </p:stCondLst>
                                        </p:cTn>
                                        <p:tgtEl>
                                          <p:spTgt spid="14"/>
                                        </p:tgtEl>
                                        <p:attrNameLst>
                                          <p:attrName>style.visibility</p:attrName>
                                        </p:attrNameLst>
                                      </p:cBhvr>
                                      <p:to>
                                        <p:strVal val="visible"/>
                                      </p:to>
                                    </p:set>
                                    <p:anim by="(-#ppt_w*2)" calcmode="lin" valueType="num">
                                      <p:cBhvr rctx="PPT">
                                        <p:cTn autoRev="1" dur="375" fill="hold" id="23">
                                          <p:stCondLst>
                                            <p:cond delay="0"/>
                                          </p:stCondLst>
                                        </p:cTn>
                                        <p:tgtEl>
                                          <p:spTgt spid="14"/>
                                        </p:tgtEl>
                                        <p:attrNameLst>
                                          <p:attrName>ppt_w</p:attrName>
                                        </p:attrNameLst>
                                      </p:cBhvr>
                                    </p:anim>
                                    <p:anim by="(#ppt_w*0.50)" calcmode="lin" valueType="num">
                                      <p:cBhvr>
                                        <p:cTn autoRev="1" decel="50000" dur="375" fill="hold" id="24">
                                          <p:stCondLst>
                                            <p:cond delay="0"/>
                                          </p:stCondLst>
                                        </p:cTn>
                                        <p:tgtEl>
                                          <p:spTgt spid="14"/>
                                        </p:tgtEl>
                                        <p:attrNameLst>
                                          <p:attrName>ppt_x</p:attrName>
                                        </p:attrNameLst>
                                      </p:cBhvr>
                                    </p:anim>
                                    <p:anim calcmode="lin" from="(-#ppt_h/2)" to="(#ppt_y)" valueType="num">
                                      <p:cBhvr>
                                        <p:cTn dur="750" fill="hold" id="25">
                                          <p:stCondLst>
                                            <p:cond delay="0"/>
                                          </p:stCondLst>
                                        </p:cTn>
                                        <p:tgtEl>
                                          <p:spTgt spid="14"/>
                                        </p:tgtEl>
                                        <p:attrNameLst>
                                          <p:attrName>ppt_y</p:attrName>
                                        </p:attrNameLst>
                                      </p:cBhvr>
                                    </p:anim>
                                    <p:animRot by="21600000">
                                      <p:cBhvr>
                                        <p:cTn dur="750" fill="hold" id="26">
                                          <p:stCondLst>
                                            <p:cond delay="0"/>
                                          </p:stCondLst>
                                        </p:cTn>
                                        <p:tgtEl>
                                          <p:spTgt spid="14"/>
                                        </p:tgtEl>
                                        <p:attrNameLst>
                                          <p:attrName>r</p:attrName>
                                        </p:attrNameLst>
                                      </p:cBhvr>
                                    </p:animRot>
                                  </p:childTnLst>
                                </p:cTn>
                              </p:par>
                            </p:childTnLst>
                          </p:cTn>
                        </p:par>
                        <p:par>
                          <p:cTn fill="hold" id="27" nodeType="afterGroup">
                            <p:stCondLst>
                              <p:cond delay="2500"/>
                            </p:stCondLst>
                            <p:childTnLst>
                              <p:par>
                                <p:cTn fill="hold" grpId="1" id="28" nodeType="afterEffect" presetClass="emph" presetID="26" presetSubtype="0">
                                  <p:stCondLst>
                                    <p:cond delay="0"/>
                                  </p:stCondLst>
                                  <p:iterate type="lt">
                                    <p:tmPct val="10000"/>
                                  </p:iterate>
                                  <p:childTnLst>
                                    <p:animEffect filter="fade" transition="out">
                                      <p:cBhvr>
                                        <p:cTn dur="500" id="29" tmFilter="0, 0; .2, .5; .8, .5; 1, 0"/>
                                        <p:tgtEl>
                                          <p:spTgt spid="14"/>
                                        </p:tgtEl>
                                      </p:cBhvr>
                                    </p:animEffect>
                                    <p:animScale>
                                      <p:cBhvr>
                                        <p:cTn autoRev="1" dur="250" fill="hold" id="30"/>
                                        <p:tgtEl>
                                          <p:spTgt spid="14"/>
                                        </p:tgtEl>
                                      </p:cBhvr>
                                      <p:by x="105000" y="105000"/>
                                    </p:animScale>
                                  </p:childTnLst>
                                </p:cTn>
                              </p:par>
                            </p:childTnLst>
                          </p:cTn>
                        </p:par>
                        <p:par>
                          <p:cTn fill="hold" id="31" nodeType="afterGroup">
                            <p:stCondLst>
                              <p:cond delay="3000"/>
                            </p:stCondLst>
                            <p:childTnLst>
                              <p:par>
                                <p:cTn fill="hold" id="32" nodeType="afterEffect" presetClass="entr" presetID="16" presetSubtype="21">
                                  <p:stCondLst>
                                    <p:cond delay="0"/>
                                  </p:stCondLst>
                                  <p:childTnLst>
                                    <p:set>
                                      <p:cBhvr>
                                        <p:cTn dur="1" fill="hold" id="33">
                                          <p:stCondLst>
                                            <p:cond delay="0"/>
                                          </p:stCondLst>
                                        </p:cTn>
                                        <p:tgtEl>
                                          <p:spTgt spid="2"/>
                                        </p:tgtEl>
                                        <p:attrNameLst>
                                          <p:attrName>style.visibility</p:attrName>
                                        </p:attrNameLst>
                                      </p:cBhvr>
                                      <p:to>
                                        <p:strVal val="visible"/>
                                      </p:to>
                                    </p:set>
                                    <p:animEffect filter="barn(inVertical)" transition="in">
                                      <p:cBhvr>
                                        <p:cTn dur="500" id="34"/>
                                        <p:tgtEl>
                                          <p:spTgt spid="2"/>
                                        </p:tgtEl>
                                      </p:cBhvr>
                                    </p:animEffect>
                                  </p:childTnLst>
                                </p:cTn>
                              </p:par>
                              <p:par>
                                <p:cTn fill="hold" grpId="0" id="35" nodeType="withEffect" presetClass="entr" presetID="16" presetSubtype="37">
                                  <p:stCondLst>
                                    <p:cond delay="0"/>
                                  </p:stCondLst>
                                  <p:childTnLst>
                                    <p:set>
                                      <p:cBhvr>
                                        <p:cTn dur="1" fill="hold" id="36">
                                          <p:stCondLst>
                                            <p:cond delay="0"/>
                                          </p:stCondLst>
                                        </p:cTn>
                                        <p:tgtEl>
                                          <p:spTgt spid="17"/>
                                        </p:tgtEl>
                                        <p:attrNameLst>
                                          <p:attrName>style.visibility</p:attrName>
                                        </p:attrNameLst>
                                      </p:cBhvr>
                                      <p:to>
                                        <p:strVal val="visible"/>
                                      </p:to>
                                    </p:set>
                                    <p:animEffect filter="barn(outVertical)" transition="in">
                                      <p:cBhvr>
                                        <p:cTn dur="500" id="37"/>
                                        <p:tgtEl>
                                          <p:spTgt spid="17"/>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14"/>
      <p:bldP grpId="1" spid="14"/>
      <p:bldP grpId="0" spid="17"/>
    </p:bldLst>
  </p:timing>
</p:sld>
</file>

<file path=ppt/slides/slide4.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7" name="椭圆 6">
            <a:extLst>
              <a:ext uri="{FF2B5EF4-FFF2-40B4-BE49-F238E27FC236}">
                <a16:creationId xmlns:a16="http://schemas.microsoft.com/office/drawing/2014/main" id="{97F35CCF-B1AD-40AD-9D77-E1886CA3C847}"/>
              </a:ext>
            </a:extLst>
          </p:cNvPr>
          <p:cNvSpPr/>
          <p:nvPr/>
        </p:nvSpPr>
        <p:spPr>
          <a:xfrm>
            <a:off x="11325281" y="5957455"/>
            <a:ext cx="1193212" cy="1193212"/>
          </a:xfrm>
          <a:prstGeom prst="ellipse">
            <a:avLst/>
          </a:prstGeom>
          <a:solidFill>
            <a:srgbClr val="A0CBD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pic>
        <p:nvPicPr>
          <p:cNvPr id="9" name="图形 8">
            <a:extLst>
              <a:ext uri="{FF2B5EF4-FFF2-40B4-BE49-F238E27FC236}">
                <a16:creationId xmlns:a16="http://schemas.microsoft.com/office/drawing/2014/main" id="{3A827DE4-2CFA-4B3F-BDA9-A7AAAB41F317}"/>
              </a:ext>
            </a:extLst>
          </p:cNvPr>
          <p:cNvPicPr>
            <a:picLocks noChangeAspect="1"/>
          </p:cNvPicPr>
          <p:nvPr/>
        </p:nvPicPr>
        <p:blipFill>
          <a:blip r:embed="rId3">
            <a:extLst>
              <a:ext uri="{96DAC541-7B7A-43D3-8B79-37D633B846F1}">
                <asvg:svgBlip xmlns:asvg="http://schemas.microsoft.com/office/drawing/2016/SVG/main" r:embed="rId4"/>
              </a:ext>
            </a:extLst>
          </a:blip>
          <a:srcRect b="5167" l="7384" r="26979" t="2999"/>
          <a:stretch>
            <a:fillRect/>
          </a:stretch>
        </p:blipFill>
        <p:spPr>
          <a:xfrm>
            <a:off x="11325281" y="5618178"/>
            <a:ext cx="527258" cy="935883"/>
          </a:xfrm>
          <a:custGeom>
            <a:rect b="b" l="l" r="r" t="t"/>
            <a:pathLst>
              <a:path h="1837631" w="1035286">
                <a:moveTo>
                  <a:pt x="619939" y="0"/>
                </a:moveTo>
                <a:lnTo>
                  <a:pt x="1035286" y="0"/>
                </a:lnTo>
                <a:lnTo>
                  <a:pt x="1035286" y="1837632"/>
                </a:lnTo>
                <a:lnTo>
                  <a:pt x="527503" y="1837632"/>
                </a:lnTo>
                <a:lnTo>
                  <a:pt x="527503" y="633496"/>
                </a:lnTo>
                <a:cubicBezTo>
                  <a:pt x="445337" y="695942"/>
                  <a:pt x="365842" y="746474"/>
                  <a:pt x="289017" y="785092"/>
                </a:cubicBezTo>
                <a:cubicBezTo>
                  <a:pt x="212192" y="823710"/>
                  <a:pt x="115853" y="860684"/>
                  <a:pt x="0" y="896015"/>
                </a:cubicBezTo>
                <a:lnTo>
                  <a:pt x="0" y="484366"/>
                </a:lnTo>
                <a:cubicBezTo>
                  <a:pt x="170904" y="429315"/>
                  <a:pt x="303602" y="363172"/>
                  <a:pt x="398092" y="285936"/>
                </a:cubicBezTo>
                <a:cubicBezTo>
                  <a:pt x="492582" y="208701"/>
                  <a:pt x="566531" y="113389"/>
                  <a:pt x="619939" y="0"/>
                </a:cubicBezTo>
                <a:close/>
              </a:path>
            </a:pathLst>
          </a:custGeom>
          <a:effectLst>
            <a:outerShdw algn="tl" blurRad="50800" dir="2700000" dist="38100" rotWithShape="0">
              <a:prstClr val="black">
                <a:alpha val="40000"/>
              </a:prstClr>
            </a:outerShdw>
          </a:effectLst>
        </p:spPr>
      </p:pic>
      <p:sp>
        <p:nvSpPr>
          <p:cNvPr id="10" name="文本框 9">
            <a:extLst>
              <a:ext uri="{FF2B5EF4-FFF2-40B4-BE49-F238E27FC236}">
                <a16:creationId xmlns:a16="http://schemas.microsoft.com/office/drawing/2014/main" id="{3EF1E9ED-80AB-4909-8BA5-A43F4FCE2334}"/>
              </a:ext>
            </a:extLst>
          </p:cNvPr>
          <p:cNvSpPr txBox="1"/>
          <p:nvPr/>
        </p:nvSpPr>
        <p:spPr>
          <a:xfrm>
            <a:off x="4133850" y="390618"/>
            <a:ext cx="3924300" cy="640080"/>
          </a:xfrm>
          <a:prstGeom prst="rect">
            <a:avLst/>
          </a:prstGeom>
          <a:noFill/>
        </p:spPr>
        <p:txBody>
          <a:bodyPr rtlCol="0" wrap="square">
            <a:spAutoFit/>
          </a:bodyPr>
          <a:lstStyle/>
          <a:p>
            <a:pPr algn="ctr"/>
            <a:r>
              <a:rPr altLang="en-US" lang="zh-CN" sz="3600">
                <a:solidFill>
                  <a:schemeClr val="tx1">
                    <a:lumMod val="85000"/>
                    <a:lumOff val="15000"/>
                  </a:schemeClr>
                </a:solidFill>
                <a:latin charset="-122" panose="02000500000000000000" pitchFamily="2" typeface="方正雅士黑 简"/>
                <a:ea charset="-122" panose="02000500000000000000" pitchFamily="2" typeface="方正雅士黑 简"/>
              </a:rPr>
              <a:t>目标完成情况</a:t>
            </a:r>
          </a:p>
        </p:txBody>
      </p:sp>
      <p:cxnSp>
        <p:nvCxnSpPr>
          <p:cNvPr id="13" name="直接连接符 12">
            <a:extLst>
              <a:ext uri="{FF2B5EF4-FFF2-40B4-BE49-F238E27FC236}">
                <a16:creationId xmlns:a16="http://schemas.microsoft.com/office/drawing/2014/main" id="{63C006F1-C17E-4B5D-A667-14B1AFD009FE}"/>
              </a:ext>
            </a:extLst>
          </p:cNvPr>
          <p:cNvCxnSpPr/>
          <p:nvPr/>
        </p:nvCxnSpPr>
        <p:spPr>
          <a:xfrm>
            <a:off x="7791452" y="683005"/>
            <a:ext cx="571498" cy="0"/>
          </a:xfrm>
          <a:prstGeom prst="line">
            <a:avLst/>
          </a:prstGeom>
          <a:ln cap="rnd" w="19050">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pic>
        <p:nvPicPr>
          <p:cNvPr id="15" name="图形 14">
            <a:extLst>
              <a:ext uri="{FF2B5EF4-FFF2-40B4-BE49-F238E27FC236}">
                <a16:creationId xmlns:a16="http://schemas.microsoft.com/office/drawing/2014/main" id="{D0B6809A-9193-440B-AB59-9B5857A764E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314825" y="597280"/>
            <a:ext cx="171450" cy="171450"/>
          </a:xfrm>
          <a:prstGeom prst="rect">
            <a:avLst/>
          </a:prstGeom>
        </p:spPr>
      </p:pic>
      <p:pic>
        <p:nvPicPr>
          <p:cNvPr id="16" name="图形 15">
            <a:extLst>
              <a:ext uri="{FF2B5EF4-FFF2-40B4-BE49-F238E27FC236}">
                <a16:creationId xmlns:a16="http://schemas.microsoft.com/office/drawing/2014/main" id="{1508760C-4270-4AAF-AD1C-A51CD87667C3}"/>
              </a:ext>
            </a:extLst>
          </p:cNvPr>
          <p:cNvPicPr>
            <a:picLocks noChangeAspect="1"/>
          </p:cNvPicPr>
          <p:nvPr/>
        </p:nvPicPr>
        <p:blipFill>
          <a:blip r:embed="rId5">
            <a:extLst>
              <a:ext uri="{96DAC541-7B7A-43D3-8B79-37D633B846F1}">
                <asvg:svgBlip xmlns:asvg="http://schemas.microsoft.com/office/drawing/2016/SVG/main" r:embed="rId7"/>
              </a:ext>
            </a:extLst>
          </a:blip>
          <a:stretch>
            <a:fillRect/>
          </a:stretch>
        </p:blipFill>
        <p:spPr>
          <a:xfrm>
            <a:off x="7705727" y="597280"/>
            <a:ext cx="171450" cy="171450"/>
          </a:xfrm>
          <a:prstGeom prst="rect">
            <a:avLst/>
          </a:prstGeom>
        </p:spPr>
      </p:pic>
      <p:cxnSp>
        <p:nvCxnSpPr>
          <p:cNvPr id="18" name="直接连接符 17">
            <a:extLst>
              <a:ext uri="{FF2B5EF4-FFF2-40B4-BE49-F238E27FC236}">
                <a16:creationId xmlns:a16="http://schemas.microsoft.com/office/drawing/2014/main" id="{D59B9B17-AB83-41D0-BA0B-C09A6571714C}"/>
              </a:ext>
            </a:extLst>
          </p:cNvPr>
          <p:cNvCxnSpPr/>
          <p:nvPr/>
        </p:nvCxnSpPr>
        <p:spPr>
          <a:xfrm>
            <a:off x="3829052" y="683005"/>
            <a:ext cx="571498" cy="0"/>
          </a:xfrm>
          <a:prstGeom prst="line">
            <a:avLst/>
          </a:prstGeom>
          <a:ln cap="rnd" w="19050">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sp>
        <p:nvSpPr>
          <p:cNvPr id="59" name="íSļiḋé">
            <a:extLst>
              <a:ext uri="{FF2B5EF4-FFF2-40B4-BE49-F238E27FC236}">
                <a16:creationId xmlns:a16="http://schemas.microsoft.com/office/drawing/2014/main" id="{609FBE32-3757-4817-9D6F-B1956714B82D}"/>
              </a:ext>
            </a:extLst>
          </p:cNvPr>
          <p:cNvSpPr/>
          <p:nvPr/>
        </p:nvSpPr>
        <p:spPr bwMode="auto">
          <a:xfrm>
            <a:off x="10483089" y="4030963"/>
            <a:ext cx="137277" cy="149426"/>
          </a:xfrm>
          <a:prstGeom prst="ellipse">
            <a:avLst/>
          </a:prstGeom>
          <a:solidFill>
            <a:srgbClr val="000000"/>
          </a:solidFill>
          <a:ln>
            <a:noFill/>
          </a:ln>
          <a:extLst>
            <a:ext uri="{91240B29-F687-4F45-9708-019B960494DF}">
              <a14:hiddenLine w="9525">
                <a:solidFill>
                  <a:srgbClr val="000000"/>
                </a:solidFill>
                <a:round/>
                <a:headEnd/>
                <a:tailEnd/>
              </a14:hiddenLine>
            </a:ext>
          </a:extLst>
        </p:spPr>
        <p:txBody>
          <a:bodyPr anchor="ctr"/>
          <a:lstStyle/>
          <a:p>
            <a:pPr algn="ctr"/>
            <a:endParaRPr/>
          </a:p>
        </p:txBody>
      </p:sp>
      <p:sp>
        <p:nvSpPr>
          <p:cNvPr id="60" name="iṧ1ide">
            <a:extLst>
              <a:ext uri="{FF2B5EF4-FFF2-40B4-BE49-F238E27FC236}">
                <a16:creationId xmlns:a16="http://schemas.microsoft.com/office/drawing/2014/main" id="{BC7B8AAE-5F94-4F38-9F14-5E56C9C9832A}"/>
              </a:ext>
            </a:extLst>
          </p:cNvPr>
          <p:cNvSpPr/>
          <p:nvPr/>
        </p:nvSpPr>
        <p:spPr bwMode="auto">
          <a:xfrm>
            <a:off x="9548876" y="5469334"/>
            <a:ext cx="138492" cy="138492"/>
          </a:xfrm>
          <a:prstGeom prst="ellipse">
            <a:avLst/>
          </a:prstGeom>
          <a:solidFill>
            <a:srgbClr val="000000"/>
          </a:solidFill>
          <a:ln>
            <a:noFill/>
          </a:ln>
          <a:extLst>
            <a:ext uri="{91240B29-F687-4F45-9708-019B960494DF}">
              <a14:hiddenLine w="9525">
                <a:solidFill>
                  <a:srgbClr val="000000"/>
                </a:solidFill>
                <a:round/>
                <a:headEnd/>
                <a:tailEnd/>
              </a14:hiddenLine>
            </a:ext>
          </a:extLst>
        </p:spPr>
        <p:txBody>
          <a:bodyPr anchor="ctr"/>
          <a:lstStyle/>
          <a:p>
            <a:pPr algn="ctr"/>
            <a:endParaRPr/>
          </a:p>
        </p:txBody>
      </p:sp>
      <p:sp>
        <p:nvSpPr>
          <p:cNvPr id="61" name="îslîdè">
            <a:extLst>
              <a:ext uri="{FF2B5EF4-FFF2-40B4-BE49-F238E27FC236}">
                <a16:creationId xmlns:a16="http://schemas.microsoft.com/office/drawing/2014/main" id="{B97E907A-6498-4787-BF94-673BC7D506A1}"/>
              </a:ext>
            </a:extLst>
          </p:cNvPr>
          <p:cNvSpPr/>
          <p:nvPr/>
        </p:nvSpPr>
        <p:spPr bwMode="auto">
          <a:xfrm>
            <a:off x="8685125" y="5113386"/>
            <a:ext cx="137277" cy="137277"/>
          </a:xfrm>
          <a:prstGeom prst="ellipse">
            <a:avLst/>
          </a:prstGeom>
          <a:solidFill>
            <a:srgbClr val="000000"/>
          </a:solidFill>
          <a:ln>
            <a:noFill/>
          </a:ln>
          <a:extLst>
            <a:ext uri="{91240B29-F687-4F45-9708-019B960494DF}">
              <a14:hiddenLine w="9525">
                <a:solidFill>
                  <a:srgbClr val="000000"/>
                </a:solidFill>
                <a:round/>
                <a:headEnd/>
                <a:tailEnd/>
              </a14:hiddenLine>
            </a:ext>
          </a:extLst>
        </p:spPr>
        <p:txBody>
          <a:bodyPr anchor="ctr"/>
          <a:lstStyle/>
          <a:p>
            <a:pPr algn="ctr"/>
            <a:endParaRPr/>
          </a:p>
        </p:txBody>
      </p:sp>
      <p:sp>
        <p:nvSpPr>
          <p:cNvPr id="62" name="îś1idè">
            <a:extLst>
              <a:ext uri="{FF2B5EF4-FFF2-40B4-BE49-F238E27FC236}">
                <a16:creationId xmlns:a16="http://schemas.microsoft.com/office/drawing/2014/main" id="{D13009EE-5AC1-4633-8D89-E8322A198DFD}"/>
              </a:ext>
            </a:extLst>
          </p:cNvPr>
          <p:cNvSpPr/>
          <p:nvPr/>
        </p:nvSpPr>
        <p:spPr bwMode="auto">
          <a:xfrm>
            <a:off x="7820159" y="2523346"/>
            <a:ext cx="149426" cy="149426"/>
          </a:xfrm>
          <a:prstGeom prst="ellipse">
            <a:avLst/>
          </a:prstGeom>
          <a:solidFill>
            <a:srgbClr val="000000"/>
          </a:solidFill>
          <a:ln>
            <a:noFill/>
          </a:ln>
          <a:extLst>
            <a:ext uri="{91240B29-F687-4F45-9708-019B960494DF}">
              <a14:hiddenLine w="9525">
                <a:solidFill>
                  <a:srgbClr val="000000"/>
                </a:solidFill>
                <a:round/>
                <a:headEnd/>
                <a:tailEnd/>
              </a14:hiddenLine>
            </a:ext>
          </a:extLst>
        </p:spPr>
        <p:txBody>
          <a:bodyPr anchor="ctr"/>
          <a:lstStyle/>
          <a:p>
            <a:pPr algn="ctr"/>
            <a:endParaRPr/>
          </a:p>
        </p:txBody>
      </p:sp>
      <p:sp>
        <p:nvSpPr>
          <p:cNvPr id="63" name="iṡľîḋe">
            <a:extLst>
              <a:ext uri="{FF2B5EF4-FFF2-40B4-BE49-F238E27FC236}">
                <a16:creationId xmlns:a16="http://schemas.microsoft.com/office/drawing/2014/main" id="{54106177-B0E2-47D6-AA36-7686D31C4369}"/>
              </a:ext>
            </a:extLst>
          </p:cNvPr>
          <p:cNvSpPr/>
          <p:nvPr/>
        </p:nvSpPr>
        <p:spPr bwMode="auto">
          <a:xfrm>
            <a:off x="7750913" y="4674829"/>
            <a:ext cx="138492" cy="150640"/>
          </a:xfrm>
          <a:prstGeom prst="ellipse">
            <a:avLst/>
          </a:prstGeom>
          <a:solidFill>
            <a:srgbClr val="000000"/>
          </a:solidFill>
          <a:ln>
            <a:noFill/>
          </a:ln>
          <a:extLst>
            <a:ext uri="{91240B29-F687-4F45-9708-019B960494DF}">
              <a14:hiddenLine w="9525">
                <a:solidFill>
                  <a:srgbClr val="000000"/>
                </a:solidFill>
                <a:round/>
                <a:headEnd/>
                <a:tailEnd/>
              </a14:hiddenLine>
            </a:ext>
          </a:extLst>
        </p:spPr>
        <p:txBody>
          <a:bodyPr anchor="ctr"/>
          <a:lstStyle/>
          <a:p>
            <a:pPr algn="ctr"/>
            <a:endParaRPr/>
          </a:p>
        </p:txBody>
      </p:sp>
      <p:grpSp>
        <p:nvGrpSpPr>
          <p:cNvPr id="96" name="组合 95">
            <a:extLst>
              <a:ext uri="{FF2B5EF4-FFF2-40B4-BE49-F238E27FC236}">
                <a16:creationId xmlns:a16="http://schemas.microsoft.com/office/drawing/2014/main" id="{743C220F-E48F-4B29-80D2-DE4A2049E56E}"/>
              </a:ext>
            </a:extLst>
          </p:cNvPr>
          <p:cNvGrpSpPr/>
          <p:nvPr/>
        </p:nvGrpSpPr>
        <p:grpSpPr>
          <a:xfrm>
            <a:off x="7509160" y="2384854"/>
            <a:ext cx="3261846" cy="3222972"/>
            <a:chOff x="7509160" y="2384854"/>
            <a:chExt cx="3261846" cy="3222972"/>
          </a:xfrm>
        </p:grpSpPr>
        <p:sp>
          <p:nvSpPr>
            <p:cNvPr id="54" name="ïṡľîďé">
              <a:extLst>
                <a:ext uri="{FF2B5EF4-FFF2-40B4-BE49-F238E27FC236}">
                  <a16:creationId xmlns:a16="http://schemas.microsoft.com/office/drawing/2014/main" id="{092DB7F7-08B8-415C-A2B4-96A1ECDBF508}"/>
                </a:ext>
              </a:extLst>
            </p:cNvPr>
            <p:cNvSpPr/>
            <p:nvPr/>
          </p:nvSpPr>
          <p:spPr bwMode="auto">
            <a:xfrm>
              <a:off x="9491779" y="4352895"/>
              <a:ext cx="794506" cy="817588"/>
            </a:xfrm>
            <a:custGeom>
              <a:gdLst>
                <a:gd fmla="*/ 65 w 69" name="T0"/>
                <a:gd fmla="*/ 5 h 71" name="T1"/>
                <a:gd fmla="*/ 69 w 69" name="T2"/>
                <a:gd fmla="*/ 14 h 71" name="T3"/>
                <a:gd fmla="*/ 65 w 69" name="T4"/>
                <a:gd fmla="*/ 22 h 71" name="T5"/>
                <a:gd fmla="*/ 61 w 69" name="T6"/>
                <a:gd fmla="*/ 27 h 71" name="T7"/>
                <a:gd fmla="*/ 26 w 69" name="T8"/>
                <a:gd fmla="*/ 62 h 71" name="T9"/>
                <a:gd fmla="*/ 21 w 69" name="T10"/>
                <a:gd fmla="*/ 66 h 71" name="T11"/>
                <a:gd fmla="*/ 3 w 69" name="T12"/>
                <a:gd fmla="*/ 66 h 71" name="T13"/>
                <a:gd fmla="*/ 0 w 69" name="T14"/>
                <a:gd fmla="*/ 58 h 71" name="T15"/>
                <a:gd fmla="*/ 3 w 69" name="T16"/>
                <a:gd fmla="*/ 49 h 71" name="T17"/>
                <a:gd fmla="*/ 8 w 69" name="T18"/>
                <a:gd fmla="*/ 44 h 71" name="T19"/>
                <a:gd fmla="*/ 43 w 69" name="T20"/>
                <a:gd fmla="*/ 9 h 71" name="T21"/>
                <a:gd fmla="*/ 48 w 69" name="T22"/>
                <a:gd fmla="*/ 5 h 71" name="T23"/>
                <a:gd fmla="*/ 65 w 69" name="T24"/>
                <a:gd fmla="*/ 5 h 71" name="T2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b="b" l="0" r="r" t="0"/>
              <a:pathLst>
                <a:path h="71" w="69">
                  <a:moveTo>
                    <a:pt x="65" y="5"/>
                  </a:moveTo>
                  <a:cubicBezTo>
                    <a:pt x="68" y="7"/>
                    <a:pt x="69" y="10"/>
                    <a:pt x="69" y="14"/>
                  </a:cubicBezTo>
                  <a:cubicBezTo>
                    <a:pt x="69" y="17"/>
                    <a:pt x="68" y="20"/>
                    <a:pt x="65" y="22"/>
                  </a:cubicBezTo>
                  <a:cubicBezTo>
                    <a:pt x="61" y="27"/>
                    <a:pt x="61" y="27"/>
                    <a:pt x="61" y="27"/>
                  </a:cubicBezTo>
                  <a:cubicBezTo>
                    <a:pt x="26" y="62"/>
                    <a:pt x="26" y="62"/>
                    <a:pt x="26" y="62"/>
                  </a:cubicBezTo>
                  <a:cubicBezTo>
                    <a:pt x="21" y="66"/>
                    <a:pt x="21" y="66"/>
                    <a:pt x="21" y="66"/>
                  </a:cubicBezTo>
                  <a:cubicBezTo>
                    <a:pt x="16" y="71"/>
                    <a:pt x="8" y="71"/>
                    <a:pt x="3" y="66"/>
                  </a:cubicBezTo>
                  <a:cubicBezTo>
                    <a:pt x="1" y="64"/>
                    <a:pt x="0" y="61"/>
                    <a:pt x="0" y="58"/>
                  </a:cubicBezTo>
                  <a:cubicBezTo>
                    <a:pt x="0" y="54"/>
                    <a:pt x="1" y="51"/>
                    <a:pt x="3" y="49"/>
                  </a:cubicBezTo>
                  <a:cubicBezTo>
                    <a:pt x="8" y="44"/>
                    <a:pt x="8" y="44"/>
                    <a:pt x="8" y="44"/>
                  </a:cubicBezTo>
                  <a:cubicBezTo>
                    <a:pt x="43" y="9"/>
                    <a:pt x="43" y="9"/>
                    <a:pt x="43" y="9"/>
                  </a:cubicBezTo>
                  <a:cubicBezTo>
                    <a:pt x="48" y="5"/>
                    <a:pt x="48" y="5"/>
                    <a:pt x="48" y="5"/>
                  </a:cubicBezTo>
                  <a:cubicBezTo>
                    <a:pt x="52" y="0"/>
                    <a:pt x="60" y="0"/>
                    <a:pt x="65" y="5"/>
                  </a:cubicBezTo>
                  <a:close/>
                </a:path>
              </a:pathLst>
            </a:custGeom>
            <a:solidFill>
              <a:srgbClr val="00456B"/>
            </a:solidFill>
            <a:ln>
              <a:noFill/>
            </a:ln>
            <a:extLst>
              <a:ext uri="{91240B29-F687-4F45-9708-019B960494DF}">
                <a14:hiddenLine w="9525">
                  <a:solidFill>
                    <a:srgbClr val="000000"/>
                  </a:solidFill>
                  <a:round/>
                  <a:headEnd/>
                  <a:tailEnd/>
                </a14:hiddenLine>
              </a:ext>
            </a:extLst>
          </p:spPr>
          <p:txBody>
            <a:bodyPr anchor="ctr"/>
            <a:lstStyle/>
            <a:p>
              <a:pPr algn="ctr"/>
              <a:endParaRPr/>
            </a:p>
          </p:txBody>
        </p:sp>
        <p:sp>
          <p:nvSpPr>
            <p:cNvPr id="55" name="ï$1iḑè">
              <a:extLst>
                <a:ext uri="{FF2B5EF4-FFF2-40B4-BE49-F238E27FC236}">
                  <a16:creationId xmlns:a16="http://schemas.microsoft.com/office/drawing/2014/main" id="{4B9A1C80-2B4A-4E7D-984B-2FA625256652}"/>
                </a:ext>
              </a:extLst>
            </p:cNvPr>
            <p:cNvSpPr/>
            <p:nvPr/>
          </p:nvSpPr>
          <p:spPr bwMode="auto">
            <a:xfrm>
              <a:off x="9790630" y="4663895"/>
              <a:ext cx="945146" cy="943931"/>
            </a:xfrm>
            <a:custGeom>
              <a:gdLst>
                <a:gd fmla="*/ 72 w 82" name="T0"/>
                <a:gd fmla="*/ 37 h 82" name="T1"/>
                <a:gd fmla="*/ 72 w 82" name="T2"/>
                <a:gd fmla="*/ 72 h 82" name="T3"/>
                <a:gd fmla="*/ 36 w 82" name="T4"/>
                <a:gd fmla="*/ 72 h 82" name="T5"/>
                <a:gd fmla="*/ 0 w 82" name="T6"/>
                <a:gd fmla="*/ 35 h 82" name="T7"/>
                <a:gd fmla="*/ 35 w 82" name="T8"/>
                <a:gd fmla="*/ 0 h 82" name="T9"/>
                <a:gd fmla="*/ 72 w 82" name="T10"/>
                <a:gd fmla="*/ 37 h 82" name="T11"/>
              </a:gdLst>
              <a:cxnLst>
                <a:cxn ang="0">
                  <a:pos x="T0" y="T1"/>
                </a:cxn>
                <a:cxn ang="0">
                  <a:pos x="T2" y="T3"/>
                </a:cxn>
                <a:cxn ang="0">
                  <a:pos x="T4" y="T5"/>
                </a:cxn>
                <a:cxn ang="0">
                  <a:pos x="T6" y="T7"/>
                </a:cxn>
                <a:cxn ang="0">
                  <a:pos x="T8" y="T9"/>
                </a:cxn>
                <a:cxn ang="0">
                  <a:pos x="T10" y="T11"/>
                </a:cxn>
              </a:cxnLst>
              <a:rect b="b" l="0" r="r" t="0"/>
              <a:pathLst>
                <a:path h="82" w="82">
                  <a:moveTo>
                    <a:pt x="72" y="37"/>
                  </a:moveTo>
                  <a:cubicBezTo>
                    <a:pt x="82" y="46"/>
                    <a:pt x="82" y="62"/>
                    <a:pt x="72" y="72"/>
                  </a:cubicBezTo>
                  <a:cubicBezTo>
                    <a:pt x="62" y="82"/>
                    <a:pt x="46" y="82"/>
                    <a:pt x="36" y="72"/>
                  </a:cubicBezTo>
                  <a:cubicBezTo>
                    <a:pt x="0" y="35"/>
                    <a:pt x="0" y="35"/>
                    <a:pt x="0" y="35"/>
                  </a:cubicBezTo>
                  <a:cubicBezTo>
                    <a:pt x="35" y="0"/>
                    <a:pt x="35" y="0"/>
                    <a:pt x="35" y="0"/>
                  </a:cubicBezTo>
                  <a:lnTo>
                    <a:pt x="72" y="37"/>
                  </a:lnTo>
                  <a:close/>
                </a:path>
              </a:pathLst>
            </a:custGeom>
            <a:solidFill>
              <a:srgbClr val="00456B"/>
            </a:solidFill>
            <a:ln>
              <a:noFill/>
            </a:ln>
            <a:extLst>
              <a:ext uri="{91240B29-F687-4F45-9708-019B960494DF}">
                <a14:hiddenLine w="9525">
                  <a:solidFill>
                    <a:srgbClr val="000000"/>
                  </a:solidFill>
                  <a:round/>
                  <a:headEnd/>
                  <a:tailEnd/>
                </a14:hiddenLine>
              </a:ext>
            </a:extLst>
          </p:spPr>
          <p:txBody>
            <a:bodyPr anchor="ctr"/>
            <a:lstStyle/>
            <a:p>
              <a:pPr algn="ctr"/>
              <a:endParaRPr/>
            </a:p>
          </p:txBody>
        </p:sp>
        <p:sp>
          <p:nvSpPr>
            <p:cNvPr id="56" name="íŝḻîḓè">
              <a:extLst>
                <a:ext uri="{FF2B5EF4-FFF2-40B4-BE49-F238E27FC236}">
                  <a16:creationId xmlns:a16="http://schemas.microsoft.com/office/drawing/2014/main" id="{3CC5EB3A-0F7E-4BAA-BC0D-2F33E9970D3C}"/>
                </a:ext>
              </a:extLst>
            </p:cNvPr>
            <p:cNvSpPr/>
            <p:nvPr/>
          </p:nvSpPr>
          <p:spPr bwMode="auto">
            <a:xfrm>
              <a:off x="9353288" y="4226552"/>
              <a:ext cx="634147" cy="632932"/>
            </a:xfrm>
            <a:custGeom>
              <a:gdLst>
                <a:gd fmla="*/ 55 w 55" name="T0"/>
                <a:gd fmla="*/ 20 h 55" name="T1"/>
                <a:gd fmla="*/ 20 w 55" name="T2"/>
                <a:gd fmla="*/ 55 h 55" name="T3"/>
                <a:gd fmla="*/ 0 w 55" name="T4"/>
                <a:gd fmla="*/ 36 h 55" name="T5"/>
                <a:gd fmla="*/ 20 w 55" name="T6"/>
                <a:gd fmla="*/ 20 h 55" name="T7"/>
                <a:gd fmla="*/ 35 w 55" name="T8"/>
                <a:gd fmla="*/ 0 h 55" name="T9"/>
                <a:gd fmla="*/ 55 w 55" name="T10"/>
                <a:gd fmla="*/ 20 h 55" name="T11"/>
              </a:gdLst>
              <a:cxnLst>
                <a:cxn ang="0">
                  <a:pos x="T0" y="T1"/>
                </a:cxn>
                <a:cxn ang="0">
                  <a:pos x="T2" y="T3"/>
                </a:cxn>
                <a:cxn ang="0">
                  <a:pos x="T4" y="T5"/>
                </a:cxn>
                <a:cxn ang="0">
                  <a:pos x="T6" y="T7"/>
                </a:cxn>
                <a:cxn ang="0">
                  <a:pos x="T8" y="T9"/>
                </a:cxn>
                <a:cxn ang="0">
                  <a:pos x="T10" y="T11"/>
                </a:cxn>
              </a:cxnLst>
              <a:rect b="b" l="0" r="r" t="0"/>
              <a:pathLst>
                <a:path h="55" w="55">
                  <a:moveTo>
                    <a:pt x="55" y="20"/>
                  </a:moveTo>
                  <a:cubicBezTo>
                    <a:pt x="20" y="55"/>
                    <a:pt x="20" y="55"/>
                    <a:pt x="20" y="55"/>
                  </a:cubicBezTo>
                  <a:cubicBezTo>
                    <a:pt x="0" y="36"/>
                    <a:pt x="0" y="36"/>
                    <a:pt x="0" y="36"/>
                  </a:cubicBezTo>
                  <a:cubicBezTo>
                    <a:pt x="7" y="31"/>
                    <a:pt x="14" y="26"/>
                    <a:pt x="20" y="20"/>
                  </a:cubicBezTo>
                  <a:cubicBezTo>
                    <a:pt x="26" y="14"/>
                    <a:pt x="31" y="7"/>
                    <a:pt x="35" y="0"/>
                  </a:cubicBezTo>
                  <a:lnTo>
                    <a:pt x="55" y="20"/>
                  </a:lnTo>
                  <a:close/>
                </a:path>
              </a:pathLst>
            </a:custGeom>
            <a:solidFill>
              <a:srgbClr val="00456B"/>
            </a:solidFill>
            <a:ln>
              <a:noFill/>
            </a:ln>
            <a:extLst>
              <a:ext uri="{91240B29-F687-4F45-9708-019B960494DF}">
                <a14:hiddenLine w="9525">
                  <a:solidFill>
                    <a:srgbClr val="000000"/>
                  </a:solidFill>
                  <a:round/>
                  <a:headEnd/>
                  <a:tailEnd/>
                </a14:hiddenLine>
              </a:ext>
            </a:extLst>
          </p:spPr>
          <p:txBody>
            <a:bodyPr anchor="ctr"/>
            <a:lstStyle/>
            <a:p>
              <a:pPr algn="ctr"/>
              <a:endParaRPr/>
            </a:p>
          </p:txBody>
        </p:sp>
        <p:sp>
          <p:nvSpPr>
            <p:cNvPr id="57" name="ïṥḷíďé">
              <a:extLst>
                <a:ext uri="{FF2B5EF4-FFF2-40B4-BE49-F238E27FC236}">
                  <a16:creationId xmlns:a16="http://schemas.microsoft.com/office/drawing/2014/main" id="{B3135D64-6FEB-4AD5-8808-5C5E9FDBAF98}"/>
                </a:ext>
              </a:extLst>
            </p:cNvPr>
            <p:cNvSpPr/>
            <p:nvPr/>
          </p:nvSpPr>
          <p:spPr bwMode="auto">
            <a:xfrm>
              <a:off x="7509160" y="2384854"/>
              <a:ext cx="2512290" cy="2509860"/>
            </a:xfrm>
            <a:custGeom>
              <a:gdLst>
                <a:gd fmla="*/ 180 w 218" name="T0"/>
                <a:gd fmla="*/ 39 h 218" name="T1"/>
                <a:gd fmla="*/ 39 w 218" name="T2"/>
                <a:gd fmla="*/ 39 h 218" name="T3"/>
                <a:gd fmla="*/ 39 w 218" name="T4"/>
                <a:gd fmla="*/ 180 h 218" name="T5"/>
                <a:gd fmla="*/ 160 w 218" name="T6"/>
                <a:gd fmla="*/ 196 h 218" name="T7"/>
                <a:gd fmla="*/ 180 w 218" name="T8"/>
                <a:gd fmla="*/ 180 h 218" name="T9"/>
                <a:gd fmla="*/ 195 w 218" name="T10"/>
                <a:gd fmla="*/ 160 h 218" name="T11"/>
                <a:gd fmla="*/ 180 w 218" name="T12"/>
                <a:gd fmla="*/ 39 h 218" name="T13"/>
              </a:gdLst>
              <a:cxnLst>
                <a:cxn ang="0">
                  <a:pos x="T0" y="T1"/>
                </a:cxn>
                <a:cxn ang="0">
                  <a:pos x="T2" y="T3"/>
                </a:cxn>
                <a:cxn ang="0">
                  <a:pos x="T4" y="T5"/>
                </a:cxn>
                <a:cxn ang="0">
                  <a:pos x="T6" y="T7"/>
                </a:cxn>
                <a:cxn ang="0">
                  <a:pos x="T8" y="T9"/>
                </a:cxn>
                <a:cxn ang="0">
                  <a:pos x="T10" y="T11"/>
                </a:cxn>
                <a:cxn ang="0">
                  <a:pos x="T12" y="T13"/>
                </a:cxn>
              </a:cxnLst>
              <a:rect b="b" l="0" r="r" t="0"/>
              <a:pathLst>
                <a:path h="218" w="218">
                  <a:moveTo>
                    <a:pt x="180" y="39"/>
                  </a:moveTo>
                  <a:cubicBezTo>
                    <a:pt x="141" y="0"/>
                    <a:pt x="78" y="0"/>
                    <a:pt x="39" y="39"/>
                  </a:cubicBezTo>
                  <a:cubicBezTo>
                    <a:pt x="0" y="78"/>
                    <a:pt x="0" y="141"/>
                    <a:pt x="39" y="180"/>
                  </a:cubicBezTo>
                  <a:cubicBezTo>
                    <a:pt x="72" y="213"/>
                    <a:pt x="122" y="218"/>
                    <a:pt x="160" y="196"/>
                  </a:cubicBezTo>
                  <a:cubicBezTo>
                    <a:pt x="167" y="191"/>
                    <a:pt x="174" y="186"/>
                    <a:pt x="180" y="180"/>
                  </a:cubicBezTo>
                  <a:cubicBezTo>
                    <a:pt x="186" y="174"/>
                    <a:pt x="191" y="167"/>
                    <a:pt x="195" y="160"/>
                  </a:cubicBezTo>
                  <a:cubicBezTo>
                    <a:pt x="218" y="122"/>
                    <a:pt x="213" y="72"/>
                    <a:pt x="180" y="39"/>
                  </a:cubicBezTo>
                  <a:close/>
                </a:path>
              </a:pathLst>
            </a:custGeom>
            <a:blipFill>
              <a:blip r:embed="rId8"/>
              <a:stretch>
                <a:fillRect/>
              </a:stretch>
            </a:blipFill>
            <a:ln>
              <a:noFill/>
            </a:ln>
            <a:extLst>
              <a:ext uri="{91240B29-F687-4F45-9708-019B960494DF}">
                <a14:hiddenLine w="9525">
                  <a:solidFill>
                    <a:srgbClr val="000000"/>
                  </a:solidFill>
                  <a:round/>
                  <a:headEnd/>
                  <a:tailEnd/>
                </a14:hiddenLine>
              </a:ext>
            </a:extLst>
          </p:spPr>
          <p:txBody>
            <a:bodyPr anchor="ctr"/>
            <a:lstStyle/>
            <a:p>
              <a:pPr algn="ctr"/>
              <a:endParaRPr/>
            </a:p>
          </p:txBody>
        </p:sp>
        <p:sp>
          <p:nvSpPr>
            <p:cNvPr id="58" name="íŝľiḋe">
              <a:extLst>
                <a:ext uri="{FF2B5EF4-FFF2-40B4-BE49-F238E27FC236}">
                  <a16:creationId xmlns:a16="http://schemas.microsoft.com/office/drawing/2014/main" id="{9FABF23E-2670-4470-A7BC-B91B2FF8C02C}"/>
                </a:ext>
              </a:extLst>
            </p:cNvPr>
            <p:cNvSpPr/>
            <p:nvPr/>
          </p:nvSpPr>
          <p:spPr bwMode="auto">
            <a:xfrm>
              <a:off x="7981732" y="2856212"/>
              <a:ext cx="1579292" cy="1576863"/>
            </a:xfrm>
            <a:custGeom>
              <a:gdLst>
                <a:gd fmla="*/ 112 w 137" name="T0"/>
                <a:gd fmla="*/ 24 h 137" name="T1"/>
                <a:gd fmla="*/ 112 w 137" name="T2"/>
                <a:gd fmla="*/ 113 h 137" name="T3"/>
                <a:gd fmla="*/ 24 w 137" name="T4"/>
                <a:gd fmla="*/ 113 h 137" name="T5"/>
                <a:gd fmla="*/ 24 w 137" name="T6"/>
                <a:gd fmla="*/ 24 h 137" name="T7"/>
                <a:gd fmla="*/ 112 w 137" name="T8"/>
                <a:gd fmla="*/ 24 h 137" name="T9"/>
              </a:gdLst>
              <a:cxnLst>
                <a:cxn ang="0">
                  <a:pos x="T0" y="T1"/>
                </a:cxn>
                <a:cxn ang="0">
                  <a:pos x="T2" y="T3"/>
                </a:cxn>
                <a:cxn ang="0">
                  <a:pos x="T4" y="T5"/>
                </a:cxn>
                <a:cxn ang="0">
                  <a:pos x="T6" y="T7"/>
                </a:cxn>
                <a:cxn ang="0">
                  <a:pos x="T8" y="T9"/>
                </a:cxn>
              </a:cxnLst>
              <a:rect b="b" l="0" r="r" t="0"/>
              <a:pathLst>
                <a:path h="137" w="137">
                  <a:moveTo>
                    <a:pt x="112" y="24"/>
                  </a:moveTo>
                  <a:cubicBezTo>
                    <a:pt x="137" y="49"/>
                    <a:pt x="137" y="88"/>
                    <a:pt x="112" y="113"/>
                  </a:cubicBezTo>
                  <a:cubicBezTo>
                    <a:pt x="88" y="137"/>
                    <a:pt x="49" y="137"/>
                    <a:pt x="24" y="113"/>
                  </a:cubicBezTo>
                  <a:cubicBezTo>
                    <a:pt x="0" y="88"/>
                    <a:pt x="0" y="49"/>
                    <a:pt x="24" y="24"/>
                  </a:cubicBezTo>
                  <a:cubicBezTo>
                    <a:pt x="49" y="0"/>
                    <a:pt x="88" y="0"/>
                    <a:pt x="112" y="24"/>
                  </a:cubicBezTo>
                  <a:close/>
                </a:path>
              </a:pathLst>
            </a:custGeom>
            <a:solidFill>
              <a:schemeClr val="bg1"/>
            </a:solidFill>
            <a:ln>
              <a:noFill/>
            </a:ln>
            <a:extLst>
              <a:ext uri="{91240B29-F687-4F45-9708-019B960494DF}">
                <a14:hiddenLine w="9525">
                  <a:solidFill>
                    <a:srgbClr val="000000"/>
                  </a:solidFill>
                  <a:round/>
                  <a:headEnd/>
                  <a:tailEnd/>
                </a14:hiddenLine>
              </a:ext>
            </a:extLst>
          </p:spPr>
          <p:txBody>
            <a:bodyPr anchor="ctr"/>
            <a:lstStyle/>
            <a:p>
              <a:pPr algn="ctr"/>
              <a:endParaRPr/>
            </a:p>
          </p:txBody>
        </p:sp>
        <p:sp>
          <p:nvSpPr>
            <p:cNvPr id="64" name="iṥḻïḑé">
              <a:extLst>
                <a:ext uri="{FF2B5EF4-FFF2-40B4-BE49-F238E27FC236}">
                  <a16:creationId xmlns:a16="http://schemas.microsoft.com/office/drawing/2014/main" id="{29C470E5-19BA-4746-968D-75A7D8E2F5D3}"/>
                </a:ext>
              </a:extLst>
            </p:cNvPr>
            <p:cNvSpPr/>
            <p:nvPr/>
          </p:nvSpPr>
          <p:spPr bwMode="auto">
            <a:xfrm>
              <a:off x="9721384" y="4192537"/>
              <a:ext cx="312214" cy="298851"/>
            </a:xfrm>
            <a:custGeom>
              <a:gdLst>
                <a:gd fmla="*/ 23 w 27" name="T0"/>
                <a:gd fmla="*/ 26 h 26" name="T1"/>
                <a:gd fmla="*/ 21 w 27" name="T2"/>
                <a:gd fmla="*/ 25 h 26" name="T3"/>
                <a:gd fmla="*/ 1 w 27" name="T4"/>
                <a:gd fmla="*/ 5 h 26" name="T5"/>
                <a:gd fmla="*/ 1 w 27" name="T6"/>
                <a:gd fmla="*/ 1 h 26" name="T7"/>
                <a:gd fmla="*/ 6 w 27" name="T8"/>
                <a:gd fmla="*/ 1 h 26" name="T9"/>
                <a:gd fmla="*/ 25 w 27" name="T10"/>
                <a:gd fmla="*/ 21 h 26" name="T11"/>
                <a:gd fmla="*/ 25 w 27" name="T12"/>
                <a:gd fmla="*/ 25 h 26" name="T13"/>
                <a:gd fmla="*/ 23 w 27" name="T14"/>
                <a:gd fmla="*/ 26 h 26" name="T15"/>
              </a:gdLst>
              <a:cxnLst>
                <a:cxn ang="0">
                  <a:pos x="T0" y="T1"/>
                </a:cxn>
                <a:cxn ang="0">
                  <a:pos x="T2" y="T3"/>
                </a:cxn>
                <a:cxn ang="0">
                  <a:pos x="T4" y="T5"/>
                </a:cxn>
                <a:cxn ang="0">
                  <a:pos x="T6" y="T7"/>
                </a:cxn>
                <a:cxn ang="0">
                  <a:pos x="T8" y="T9"/>
                </a:cxn>
                <a:cxn ang="0">
                  <a:pos x="T10" y="T11"/>
                </a:cxn>
                <a:cxn ang="0">
                  <a:pos x="T12" y="T13"/>
                </a:cxn>
                <a:cxn ang="0">
                  <a:pos x="T14" y="T15"/>
                </a:cxn>
              </a:cxnLst>
              <a:rect b="b" l="0" r="r" t="0"/>
              <a:pathLst>
                <a:path h="26" w="27">
                  <a:moveTo>
                    <a:pt x="23" y="26"/>
                  </a:moveTo>
                  <a:cubicBezTo>
                    <a:pt x="22" y="26"/>
                    <a:pt x="22" y="26"/>
                    <a:pt x="21" y="25"/>
                  </a:cubicBezTo>
                  <a:cubicBezTo>
                    <a:pt x="1" y="5"/>
                    <a:pt x="1" y="5"/>
                    <a:pt x="1" y="5"/>
                  </a:cubicBezTo>
                  <a:cubicBezTo>
                    <a:pt x="0" y="4"/>
                    <a:pt x="0" y="2"/>
                    <a:pt x="1" y="1"/>
                  </a:cubicBezTo>
                  <a:cubicBezTo>
                    <a:pt x="2" y="0"/>
                    <a:pt x="4" y="0"/>
                    <a:pt x="6" y="1"/>
                  </a:cubicBezTo>
                  <a:cubicBezTo>
                    <a:pt x="25" y="21"/>
                    <a:pt x="25" y="21"/>
                    <a:pt x="25" y="21"/>
                  </a:cubicBezTo>
                  <a:cubicBezTo>
                    <a:pt x="27" y="22"/>
                    <a:pt x="27" y="24"/>
                    <a:pt x="25" y="25"/>
                  </a:cubicBezTo>
                  <a:cubicBezTo>
                    <a:pt x="25" y="26"/>
                    <a:pt x="24" y="26"/>
                    <a:pt x="23" y="26"/>
                  </a:cubicBezTo>
                  <a:close/>
                </a:path>
              </a:pathLst>
            </a:custGeom>
            <a:solidFill>
              <a:srgbClr val="000000"/>
            </a:solidFill>
            <a:ln>
              <a:noFill/>
            </a:ln>
            <a:extLst>
              <a:ext uri="{91240B29-F687-4F45-9708-019B960494DF}">
                <a14:hiddenLine w="9525">
                  <a:solidFill>
                    <a:srgbClr val="000000"/>
                  </a:solidFill>
                  <a:round/>
                  <a:headEnd/>
                  <a:tailEnd/>
                </a14:hiddenLine>
              </a:ext>
            </a:extLst>
          </p:spPr>
          <p:txBody>
            <a:bodyPr anchor="ctr"/>
            <a:lstStyle/>
            <a:p>
              <a:pPr algn="ctr"/>
              <a:endParaRPr/>
            </a:p>
          </p:txBody>
        </p:sp>
        <p:sp>
          <p:nvSpPr>
            <p:cNvPr id="65" name="ïśľíḍê">
              <a:extLst>
                <a:ext uri="{FF2B5EF4-FFF2-40B4-BE49-F238E27FC236}">
                  <a16:creationId xmlns:a16="http://schemas.microsoft.com/office/drawing/2014/main" id="{88E9EFAE-A2EB-43BA-B51C-B977AA135C34}"/>
                </a:ext>
              </a:extLst>
            </p:cNvPr>
            <p:cNvSpPr/>
            <p:nvPr/>
          </p:nvSpPr>
          <p:spPr bwMode="auto">
            <a:xfrm>
              <a:off x="9318057" y="4594649"/>
              <a:ext cx="300066" cy="310999"/>
            </a:xfrm>
            <a:custGeom>
              <a:gdLst>
                <a:gd fmla="*/ 23 w 26" name="T0"/>
                <a:gd fmla="*/ 27 h 27" name="T1"/>
                <a:gd fmla="*/ 21 w 26" name="T2"/>
                <a:gd fmla="*/ 26 h 27" name="T3"/>
                <a:gd fmla="*/ 1 w 26" name="T4"/>
                <a:gd fmla="*/ 6 h 27" name="T5"/>
                <a:gd fmla="*/ 1 w 26" name="T6"/>
                <a:gd fmla="*/ 1 h 27" name="T7"/>
                <a:gd fmla="*/ 5 w 26" name="T8"/>
                <a:gd fmla="*/ 1 h 27" name="T9"/>
                <a:gd fmla="*/ 25 w 26" name="T10"/>
                <a:gd fmla="*/ 21 h 27" name="T11"/>
                <a:gd fmla="*/ 25 w 26" name="T12"/>
                <a:gd fmla="*/ 26 h 27" name="T13"/>
                <a:gd fmla="*/ 23 w 26" name="T14"/>
                <a:gd fmla="*/ 27 h 27" name="T15"/>
              </a:gdLst>
              <a:cxnLst>
                <a:cxn ang="0">
                  <a:pos x="T0" y="T1"/>
                </a:cxn>
                <a:cxn ang="0">
                  <a:pos x="T2" y="T3"/>
                </a:cxn>
                <a:cxn ang="0">
                  <a:pos x="T4" y="T5"/>
                </a:cxn>
                <a:cxn ang="0">
                  <a:pos x="T6" y="T7"/>
                </a:cxn>
                <a:cxn ang="0">
                  <a:pos x="T8" y="T9"/>
                </a:cxn>
                <a:cxn ang="0">
                  <a:pos x="T10" y="T11"/>
                </a:cxn>
                <a:cxn ang="0">
                  <a:pos x="T12" y="T13"/>
                </a:cxn>
                <a:cxn ang="0">
                  <a:pos x="T14" y="T15"/>
                </a:cxn>
              </a:cxnLst>
              <a:rect b="b" l="0" r="r" t="0"/>
              <a:pathLst>
                <a:path h="27" w="26">
                  <a:moveTo>
                    <a:pt x="23" y="27"/>
                  </a:moveTo>
                  <a:cubicBezTo>
                    <a:pt x="22" y="27"/>
                    <a:pt x="21" y="26"/>
                    <a:pt x="21" y="26"/>
                  </a:cubicBezTo>
                  <a:cubicBezTo>
                    <a:pt x="1" y="6"/>
                    <a:pt x="1" y="6"/>
                    <a:pt x="1" y="6"/>
                  </a:cubicBezTo>
                  <a:cubicBezTo>
                    <a:pt x="0" y="5"/>
                    <a:pt x="0" y="3"/>
                    <a:pt x="1" y="1"/>
                  </a:cubicBezTo>
                  <a:cubicBezTo>
                    <a:pt x="2" y="0"/>
                    <a:pt x="4" y="0"/>
                    <a:pt x="5" y="1"/>
                  </a:cubicBezTo>
                  <a:cubicBezTo>
                    <a:pt x="25" y="21"/>
                    <a:pt x="25" y="21"/>
                    <a:pt x="25" y="21"/>
                  </a:cubicBezTo>
                  <a:cubicBezTo>
                    <a:pt x="26" y="22"/>
                    <a:pt x="26" y="24"/>
                    <a:pt x="25" y="26"/>
                  </a:cubicBezTo>
                  <a:cubicBezTo>
                    <a:pt x="25" y="26"/>
                    <a:pt x="24" y="27"/>
                    <a:pt x="23" y="27"/>
                  </a:cubicBezTo>
                  <a:close/>
                </a:path>
              </a:pathLst>
            </a:custGeom>
            <a:solidFill>
              <a:srgbClr val="000000"/>
            </a:solidFill>
            <a:ln>
              <a:noFill/>
            </a:ln>
            <a:extLst>
              <a:ext uri="{91240B29-F687-4F45-9708-019B960494DF}">
                <a14:hiddenLine w="9525">
                  <a:solidFill>
                    <a:srgbClr val="000000"/>
                  </a:solidFill>
                  <a:round/>
                  <a:headEnd/>
                  <a:tailEnd/>
                </a14:hiddenLine>
              </a:ext>
            </a:extLst>
          </p:spPr>
          <p:txBody>
            <a:bodyPr anchor="ctr"/>
            <a:lstStyle/>
            <a:p>
              <a:pPr algn="ctr"/>
              <a:endParaRPr/>
            </a:p>
          </p:txBody>
        </p:sp>
        <p:sp>
          <p:nvSpPr>
            <p:cNvPr id="66" name="íṣľîḓé">
              <a:extLst>
                <a:ext uri="{FF2B5EF4-FFF2-40B4-BE49-F238E27FC236}">
                  <a16:creationId xmlns:a16="http://schemas.microsoft.com/office/drawing/2014/main" id="{DD33B527-C424-4E0E-9DF1-73642A052B94}"/>
                </a:ext>
              </a:extLst>
            </p:cNvPr>
            <p:cNvSpPr/>
            <p:nvPr/>
          </p:nvSpPr>
          <p:spPr bwMode="auto">
            <a:xfrm>
              <a:off x="9744466" y="4617731"/>
              <a:ext cx="1026540" cy="990095"/>
            </a:xfrm>
            <a:custGeom>
              <a:gdLst>
                <a:gd fmla="*/ 58 w 89" name="T0"/>
                <a:gd fmla="*/ 86 h 86" name="T1"/>
                <a:gd fmla="*/ 38 w 89" name="T2"/>
                <a:gd fmla="*/ 78 h 86" name="T3"/>
                <a:gd fmla="*/ 1 w 89" name="T4"/>
                <a:gd fmla="*/ 41 h 86" name="T5"/>
                <a:gd fmla="*/ 1 w 89" name="T6"/>
                <a:gd fmla="*/ 37 h 86" name="T7"/>
                <a:gd fmla="*/ 6 w 89" name="T8"/>
                <a:gd fmla="*/ 37 h 86" name="T9"/>
                <a:gd fmla="*/ 43 w 89" name="T10"/>
                <a:gd fmla="*/ 74 h 86" name="T11"/>
                <a:gd fmla="*/ 58 w 89" name="T12"/>
                <a:gd fmla="*/ 80 h 86" name="T13"/>
                <a:gd fmla="*/ 74 w 89" name="T14"/>
                <a:gd fmla="*/ 74 h 86" name="T15"/>
                <a:gd fmla="*/ 74 w 89" name="T16"/>
                <a:gd fmla="*/ 43 h 86" name="T17"/>
                <a:gd fmla="*/ 37 w 89" name="T18"/>
                <a:gd fmla="*/ 6 h 86" name="T19"/>
                <a:gd fmla="*/ 37 w 89" name="T20"/>
                <a:gd fmla="*/ 2 h 86" name="T21"/>
                <a:gd fmla="*/ 41 w 89" name="T22"/>
                <a:gd fmla="*/ 2 h 86" name="T23"/>
                <a:gd fmla="*/ 78 w 89" name="T24"/>
                <a:gd fmla="*/ 38 h 86" name="T25"/>
                <a:gd fmla="*/ 78 w 89" name="T26"/>
                <a:gd fmla="*/ 78 h 86" name="T27"/>
                <a:gd fmla="*/ 58 w 89" name="T28"/>
                <a:gd fmla="*/ 86 h 86" name="T2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b="b" l="0" r="r" t="0"/>
              <a:pathLst>
                <a:path h="86" w="89">
                  <a:moveTo>
                    <a:pt x="58" y="86"/>
                  </a:moveTo>
                  <a:cubicBezTo>
                    <a:pt x="51" y="86"/>
                    <a:pt x="44" y="83"/>
                    <a:pt x="38" y="78"/>
                  </a:cubicBezTo>
                  <a:cubicBezTo>
                    <a:pt x="1" y="41"/>
                    <a:pt x="1" y="41"/>
                    <a:pt x="1" y="41"/>
                  </a:cubicBezTo>
                  <a:cubicBezTo>
                    <a:pt x="0" y="40"/>
                    <a:pt x="0" y="38"/>
                    <a:pt x="1" y="37"/>
                  </a:cubicBezTo>
                  <a:cubicBezTo>
                    <a:pt x="3" y="36"/>
                    <a:pt x="5" y="36"/>
                    <a:pt x="6" y="37"/>
                  </a:cubicBezTo>
                  <a:cubicBezTo>
                    <a:pt x="43" y="74"/>
                    <a:pt x="43" y="74"/>
                    <a:pt x="43" y="74"/>
                  </a:cubicBezTo>
                  <a:cubicBezTo>
                    <a:pt x="47" y="78"/>
                    <a:pt x="52" y="80"/>
                    <a:pt x="58" y="80"/>
                  </a:cubicBezTo>
                  <a:cubicBezTo>
                    <a:pt x="64" y="80"/>
                    <a:pt x="69" y="78"/>
                    <a:pt x="74" y="74"/>
                  </a:cubicBezTo>
                  <a:cubicBezTo>
                    <a:pt x="82" y="65"/>
                    <a:pt x="82" y="51"/>
                    <a:pt x="74" y="43"/>
                  </a:cubicBezTo>
                  <a:cubicBezTo>
                    <a:pt x="37" y="6"/>
                    <a:pt x="37" y="6"/>
                    <a:pt x="37" y="6"/>
                  </a:cubicBezTo>
                  <a:cubicBezTo>
                    <a:pt x="35" y="5"/>
                    <a:pt x="35" y="3"/>
                    <a:pt x="37" y="2"/>
                  </a:cubicBezTo>
                  <a:cubicBezTo>
                    <a:pt x="38" y="0"/>
                    <a:pt x="40" y="0"/>
                    <a:pt x="41" y="2"/>
                  </a:cubicBezTo>
                  <a:cubicBezTo>
                    <a:pt x="78" y="38"/>
                    <a:pt x="78" y="38"/>
                    <a:pt x="78" y="38"/>
                  </a:cubicBezTo>
                  <a:cubicBezTo>
                    <a:pt x="89" y="49"/>
                    <a:pt x="89" y="67"/>
                    <a:pt x="78" y="78"/>
                  </a:cubicBezTo>
                  <a:cubicBezTo>
                    <a:pt x="73" y="83"/>
                    <a:pt x="66" y="86"/>
                    <a:pt x="58" y="86"/>
                  </a:cubicBezTo>
                  <a:close/>
                </a:path>
              </a:pathLst>
            </a:custGeom>
            <a:solidFill>
              <a:srgbClr val="000000"/>
            </a:solidFill>
            <a:ln>
              <a:noFill/>
            </a:ln>
            <a:extLst>
              <a:ext uri="{91240B29-F687-4F45-9708-019B960494DF}">
                <a14:hiddenLine w="9525">
                  <a:solidFill>
                    <a:srgbClr val="000000"/>
                  </a:solidFill>
                  <a:round/>
                  <a:headEnd/>
                  <a:tailEnd/>
                </a14:hiddenLine>
              </a:ext>
            </a:extLst>
          </p:spPr>
          <p:txBody>
            <a:bodyPr anchor="ctr"/>
            <a:lstStyle/>
            <a:p>
              <a:pPr algn="ctr"/>
              <a:endParaRPr/>
            </a:p>
          </p:txBody>
        </p:sp>
        <p:sp>
          <p:nvSpPr>
            <p:cNvPr id="67" name="íṧļiḑê">
              <a:extLst>
                <a:ext uri="{FF2B5EF4-FFF2-40B4-BE49-F238E27FC236}">
                  <a16:creationId xmlns:a16="http://schemas.microsoft.com/office/drawing/2014/main" id="{D7935B5B-1D8A-477C-977B-F59806F81742}"/>
                </a:ext>
              </a:extLst>
            </p:cNvPr>
            <p:cNvSpPr/>
            <p:nvPr/>
          </p:nvSpPr>
          <p:spPr bwMode="auto">
            <a:xfrm>
              <a:off x="9456549" y="4329814"/>
              <a:ext cx="864966" cy="863752"/>
            </a:xfrm>
            <a:custGeom>
              <a:gdLst>
                <a:gd fmla="*/ 15 w 75" name="T0"/>
                <a:gd fmla="*/ 75 h 75" name="T1"/>
                <a:gd fmla="*/ 4 w 75" name="T2"/>
                <a:gd fmla="*/ 71 h 75" name="T3"/>
                <a:gd fmla="*/ 0 w 75" name="T4"/>
                <a:gd fmla="*/ 60 h 75" name="T5"/>
                <a:gd fmla="*/ 4 w 75" name="T6"/>
                <a:gd fmla="*/ 49 h 75" name="T7"/>
                <a:gd fmla="*/ 48 w 75" name="T8"/>
                <a:gd fmla="*/ 4 h 75" name="T9"/>
                <a:gd fmla="*/ 59 w 75" name="T10"/>
                <a:gd fmla="*/ 0 h 75" name="T11"/>
                <a:gd fmla="*/ 70 w 75" name="T12"/>
                <a:gd fmla="*/ 4 h 75" name="T13"/>
                <a:gd fmla="*/ 75 w 75" name="T14"/>
                <a:gd fmla="*/ 16 h 75" name="T15"/>
                <a:gd fmla="*/ 70 w 75" name="T16"/>
                <a:gd fmla="*/ 27 h 75" name="T17"/>
                <a:gd fmla="*/ 26 w 75" name="T18"/>
                <a:gd fmla="*/ 71 h 75" name="T19"/>
                <a:gd fmla="*/ 15 w 75" name="T20"/>
                <a:gd fmla="*/ 75 h 75" name="T21"/>
                <a:gd fmla="*/ 59 w 75" name="T22"/>
                <a:gd fmla="*/ 6 h 75" name="T23"/>
                <a:gd fmla="*/ 53 w 75" name="T24"/>
                <a:gd fmla="*/ 9 h 75" name="T25"/>
                <a:gd fmla="*/ 9 w 75" name="T26"/>
                <a:gd fmla="*/ 53 h 75" name="T27"/>
                <a:gd fmla="*/ 6 w 75" name="T28"/>
                <a:gd fmla="*/ 60 h 75" name="T29"/>
                <a:gd fmla="*/ 9 w 75" name="T30"/>
                <a:gd fmla="*/ 66 h 75" name="T31"/>
                <a:gd fmla="*/ 15 w 75" name="T32"/>
                <a:gd fmla="*/ 69 h 75" name="T33"/>
                <a:gd fmla="*/ 22 w 75" name="T34"/>
                <a:gd fmla="*/ 66 h 75" name="T35"/>
                <a:gd fmla="*/ 66 w 75" name="T36"/>
                <a:gd fmla="*/ 22 h 75" name="T37"/>
                <a:gd fmla="*/ 69 w 75" name="T38"/>
                <a:gd fmla="*/ 16 h 75" name="T39"/>
                <a:gd fmla="*/ 66 w 75" name="T40"/>
                <a:gd fmla="*/ 9 h 75" name="T41"/>
                <a:gd fmla="*/ 59 w 75" name="T42"/>
                <a:gd fmla="*/ 6 h 75" name="T4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b="b" l="0" r="r" t="0"/>
              <a:pathLst>
                <a:path h="75" w="75">
                  <a:moveTo>
                    <a:pt x="15" y="75"/>
                  </a:moveTo>
                  <a:cubicBezTo>
                    <a:pt x="11" y="75"/>
                    <a:pt x="7" y="74"/>
                    <a:pt x="4" y="71"/>
                  </a:cubicBezTo>
                  <a:cubicBezTo>
                    <a:pt x="1" y="68"/>
                    <a:pt x="0" y="64"/>
                    <a:pt x="0" y="60"/>
                  </a:cubicBezTo>
                  <a:cubicBezTo>
                    <a:pt x="0" y="55"/>
                    <a:pt x="1" y="52"/>
                    <a:pt x="4" y="49"/>
                  </a:cubicBezTo>
                  <a:cubicBezTo>
                    <a:pt x="48" y="4"/>
                    <a:pt x="48" y="4"/>
                    <a:pt x="48" y="4"/>
                  </a:cubicBezTo>
                  <a:cubicBezTo>
                    <a:pt x="51" y="2"/>
                    <a:pt x="55" y="0"/>
                    <a:pt x="59" y="0"/>
                  </a:cubicBezTo>
                  <a:cubicBezTo>
                    <a:pt x="64" y="0"/>
                    <a:pt x="68" y="2"/>
                    <a:pt x="70" y="4"/>
                  </a:cubicBezTo>
                  <a:cubicBezTo>
                    <a:pt x="73" y="7"/>
                    <a:pt x="75" y="11"/>
                    <a:pt x="75" y="16"/>
                  </a:cubicBezTo>
                  <a:cubicBezTo>
                    <a:pt x="75" y="20"/>
                    <a:pt x="73" y="24"/>
                    <a:pt x="70" y="27"/>
                  </a:cubicBezTo>
                  <a:cubicBezTo>
                    <a:pt x="26" y="71"/>
                    <a:pt x="26" y="71"/>
                    <a:pt x="26" y="71"/>
                  </a:cubicBezTo>
                  <a:cubicBezTo>
                    <a:pt x="23" y="74"/>
                    <a:pt x="19" y="75"/>
                    <a:pt x="15" y="75"/>
                  </a:cubicBezTo>
                  <a:close/>
                  <a:moveTo>
                    <a:pt x="59" y="6"/>
                  </a:moveTo>
                  <a:cubicBezTo>
                    <a:pt x="57" y="6"/>
                    <a:pt x="55" y="7"/>
                    <a:pt x="53" y="9"/>
                  </a:cubicBezTo>
                  <a:cubicBezTo>
                    <a:pt x="9" y="53"/>
                    <a:pt x="9" y="53"/>
                    <a:pt x="9" y="53"/>
                  </a:cubicBezTo>
                  <a:cubicBezTo>
                    <a:pt x="7" y="55"/>
                    <a:pt x="6" y="57"/>
                    <a:pt x="6" y="60"/>
                  </a:cubicBezTo>
                  <a:cubicBezTo>
                    <a:pt x="6" y="62"/>
                    <a:pt x="7" y="64"/>
                    <a:pt x="9" y="66"/>
                  </a:cubicBezTo>
                  <a:cubicBezTo>
                    <a:pt x="10" y="68"/>
                    <a:pt x="13" y="69"/>
                    <a:pt x="15" y="69"/>
                  </a:cubicBezTo>
                  <a:cubicBezTo>
                    <a:pt x="18" y="69"/>
                    <a:pt x="20" y="68"/>
                    <a:pt x="22" y="66"/>
                  </a:cubicBezTo>
                  <a:cubicBezTo>
                    <a:pt x="66" y="22"/>
                    <a:pt x="66" y="22"/>
                    <a:pt x="66" y="22"/>
                  </a:cubicBezTo>
                  <a:cubicBezTo>
                    <a:pt x="68" y="20"/>
                    <a:pt x="69" y="18"/>
                    <a:pt x="69" y="16"/>
                  </a:cubicBezTo>
                  <a:cubicBezTo>
                    <a:pt x="69" y="13"/>
                    <a:pt x="68" y="11"/>
                    <a:pt x="66" y="9"/>
                  </a:cubicBezTo>
                  <a:cubicBezTo>
                    <a:pt x="64" y="7"/>
                    <a:pt x="62" y="6"/>
                    <a:pt x="59" y="6"/>
                  </a:cubicBezTo>
                  <a:close/>
                </a:path>
              </a:pathLst>
            </a:custGeom>
            <a:solidFill>
              <a:srgbClr val="000000"/>
            </a:solidFill>
            <a:ln>
              <a:noFill/>
            </a:ln>
            <a:extLst>
              <a:ext uri="{91240B29-F687-4F45-9708-019B960494DF}">
                <a14:hiddenLine w="9525">
                  <a:solidFill>
                    <a:srgbClr val="000000"/>
                  </a:solidFill>
                  <a:round/>
                  <a:headEnd/>
                  <a:tailEnd/>
                </a14:hiddenLine>
              </a:ext>
            </a:extLst>
          </p:spPr>
          <p:txBody>
            <a:bodyPr anchor="ctr"/>
            <a:lstStyle/>
            <a:p>
              <a:pPr algn="ctr"/>
              <a:endParaRPr/>
            </a:p>
          </p:txBody>
        </p:sp>
        <p:sp>
          <p:nvSpPr>
            <p:cNvPr id="68" name="i$ḻidê">
              <a:extLst>
                <a:ext uri="{FF2B5EF4-FFF2-40B4-BE49-F238E27FC236}">
                  <a16:creationId xmlns:a16="http://schemas.microsoft.com/office/drawing/2014/main" id="{06069F16-A19E-4B6D-8D70-16CDCBA9313F}"/>
                </a:ext>
              </a:extLst>
            </p:cNvPr>
            <p:cNvSpPr/>
            <p:nvPr/>
          </p:nvSpPr>
          <p:spPr bwMode="auto">
            <a:xfrm>
              <a:off x="7578406" y="2465033"/>
              <a:ext cx="2489208" cy="2360435"/>
            </a:xfrm>
            <a:custGeom>
              <a:gdLst>
                <a:gd fmla="*/ 103 w 216" name="T0"/>
                <a:gd fmla="*/ 205 h 205" name="T1"/>
                <a:gd fmla="*/ 30 w 216" name="T2"/>
                <a:gd fmla="*/ 175 h 205" name="T3"/>
                <a:gd fmla="*/ 0 w 216" name="T4"/>
                <a:gd fmla="*/ 102 h 205" name="T5"/>
                <a:gd fmla="*/ 30 w 216" name="T6"/>
                <a:gd fmla="*/ 30 h 205" name="T7"/>
                <a:gd fmla="*/ 103 w 216" name="T8"/>
                <a:gd fmla="*/ 0 h 205" name="T9"/>
                <a:gd fmla="*/ 176 w 216" name="T10"/>
                <a:gd fmla="*/ 30 h 205" name="T11"/>
                <a:gd fmla="*/ 192 w 216" name="T12"/>
                <a:gd fmla="*/ 155 h 205" name="T13"/>
                <a:gd fmla="*/ 176 w 216" name="T14"/>
                <a:gd fmla="*/ 175 h 205" name="T15"/>
                <a:gd fmla="*/ 156 w 216" name="T16"/>
                <a:gd fmla="*/ 191 h 205" name="T17"/>
                <a:gd fmla="*/ 103 w 216" name="T18"/>
                <a:gd fmla="*/ 205 h 205" name="T19"/>
                <a:gd fmla="*/ 103 w 216" name="T20"/>
                <a:gd fmla="*/ 6 h 205" name="T21"/>
                <a:gd fmla="*/ 35 w 216" name="T22"/>
                <a:gd fmla="*/ 34 h 205" name="T23"/>
                <a:gd fmla="*/ 7 w 216" name="T24"/>
                <a:gd fmla="*/ 102 h 205" name="T25"/>
                <a:gd fmla="*/ 35 w 216" name="T26"/>
                <a:gd fmla="*/ 171 h 205" name="T27"/>
                <a:gd fmla="*/ 103 w 216" name="T28"/>
                <a:gd fmla="*/ 199 h 205" name="T29"/>
                <a:gd fmla="*/ 152 w 216" name="T30"/>
                <a:gd fmla="*/ 186 h 205" name="T31"/>
                <a:gd fmla="*/ 172 w 216" name="T32"/>
                <a:gd fmla="*/ 171 h 205" name="T33"/>
                <a:gd fmla="*/ 187 w 216" name="T34"/>
                <a:gd fmla="*/ 152 h 205" name="T35"/>
                <a:gd fmla="*/ 172 w 216" name="T36"/>
                <a:gd fmla="*/ 34 h 205" name="T37"/>
                <a:gd fmla="*/ 103 w 216" name="T38"/>
                <a:gd fmla="*/ 6 h 205" name="T3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b="b" l="0" r="r" t="0"/>
              <a:pathLst>
                <a:path h="205" w="216">
                  <a:moveTo>
                    <a:pt x="103" y="205"/>
                  </a:moveTo>
                  <a:cubicBezTo>
                    <a:pt x="76" y="205"/>
                    <a:pt x="50" y="195"/>
                    <a:pt x="30" y="175"/>
                  </a:cubicBezTo>
                  <a:cubicBezTo>
                    <a:pt x="11" y="156"/>
                    <a:pt x="0" y="130"/>
                    <a:pt x="0" y="102"/>
                  </a:cubicBezTo>
                  <a:cubicBezTo>
                    <a:pt x="0" y="75"/>
                    <a:pt x="11" y="49"/>
                    <a:pt x="30" y="30"/>
                  </a:cubicBezTo>
                  <a:cubicBezTo>
                    <a:pt x="50" y="10"/>
                    <a:pt x="76" y="0"/>
                    <a:pt x="103" y="0"/>
                  </a:cubicBezTo>
                  <a:cubicBezTo>
                    <a:pt x="131" y="0"/>
                    <a:pt x="157" y="10"/>
                    <a:pt x="176" y="30"/>
                  </a:cubicBezTo>
                  <a:cubicBezTo>
                    <a:pt x="209" y="63"/>
                    <a:pt x="216" y="114"/>
                    <a:pt x="192" y="155"/>
                  </a:cubicBezTo>
                  <a:cubicBezTo>
                    <a:pt x="188" y="162"/>
                    <a:pt x="182" y="169"/>
                    <a:pt x="176" y="175"/>
                  </a:cubicBezTo>
                  <a:cubicBezTo>
                    <a:pt x="170" y="181"/>
                    <a:pt x="163" y="187"/>
                    <a:pt x="156" y="191"/>
                  </a:cubicBezTo>
                  <a:cubicBezTo>
                    <a:pt x="140" y="201"/>
                    <a:pt x="122" y="205"/>
                    <a:pt x="103" y="205"/>
                  </a:cubicBezTo>
                  <a:close/>
                  <a:moveTo>
                    <a:pt x="103" y="6"/>
                  </a:moveTo>
                  <a:cubicBezTo>
                    <a:pt x="77" y="6"/>
                    <a:pt x="53" y="16"/>
                    <a:pt x="35" y="34"/>
                  </a:cubicBezTo>
                  <a:cubicBezTo>
                    <a:pt x="17" y="52"/>
                    <a:pt x="7" y="77"/>
                    <a:pt x="7" y="102"/>
                  </a:cubicBezTo>
                  <a:cubicBezTo>
                    <a:pt x="7" y="128"/>
                    <a:pt x="17" y="153"/>
                    <a:pt x="35" y="171"/>
                  </a:cubicBezTo>
                  <a:cubicBezTo>
                    <a:pt x="53" y="189"/>
                    <a:pt x="77" y="199"/>
                    <a:pt x="103" y="199"/>
                  </a:cubicBezTo>
                  <a:cubicBezTo>
                    <a:pt x="121" y="199"/>
                    <a:pt x="138" y="195"/>
                    <a:pt x="152" y="186"/>
                  </a:cubicBezTo>
                  <a:cubicBezTo>
                    <a:pt x="159" y="182"/>
                    <a:pt x="166" y="177"/>
                    <a:pt x="172" y="171"/>
                  </a:cubicBezTo>
                  <a:cubicBezTo>
                    <a:pt x="177" y="165"/>
                    <a:pt x="183" y="159"/>
                    <a:pt x="187" y="152"/>
                  </a:cubicBezTo>
                  <a:cubicBezTo>
                    <a:pt x="209" y="114"/>
                    <a:pt x="203" y="65"/>
                    <a:pt x="172" y="34"/>
                  </a:cubicBezTo>
                  <a:cubicBezTo>
                    <a:pt x="153" y="16"/>
                    <a:pt x="129" y="6"/>
                    <a:pt x="103" y="6"/>
                  </a:cubicBezTo>
                  <a:close/>
                </a:path>
              </a:pathLst>
            </a:custGeom>
            <a:solidFill>
              <a:srgbClr val="000000"/>
            </a:solidFill>
            <a:ln>
              <a:noFill/>
            </a:ln>
            <a:extLst>
              <a:ext uri="{91240B29-F687-4F45-9708-019B960494DF}">
                <a14:hiddenLine w="9525">
                  <a:solidFill>
                    <a:srgbClr val="000000"/>
                  </a:solidFill>
                  <a:round/>
                  <a:headEnd/>
                  <a:tailEnd/>
                </a14:hiddenLine>
              </a:ext>
            </a:extLst>
          </p:spPr>
          <p:txBody>
            <a:bodyPr anchor="ctr"/>
            <a:lstStyle/>
            <a:p>
              <a:pPr algn="ctr"/>
              <a:endParaRPr/>
            </a:p>
          </p:txBody>
        </p:sp>
        <p:sp>
          <p:nvSpPr>
            <p:cNvPr id="69" name="iṡļïdé">
              <a:extLst>
                <a:ext uri="{FF2B5EF4-FFF2-40B4-BE49-F238E27FC236}">
                  <a16:creationId xmlns:a16="http://schemas.microsoft.com/office/drawing/2014/main" id="{4A3F398D-D169-45FC-A620-1ED838E4C578}"/>
                </a:ext>
              </a:extLst>
            </p:cNvPr>
            <p:cNvSpPr/>
            <p:nvPr/>
          </p:nvSpPr>
          <p:spPr bwMode="auto">
            <a:xfrm>
              <a:off x="7935569" y="2891443"/>
              <a:ext cx="1659472" cy="1507617"/>
            </a:xfrm>
            <a:custGeom>
              <a:gdLst>
                <a:gd fmla="*/ 72 w 144" name="T0"/>
                <a:gd fmla="*/ 131 h 131" name="T1"/>
                <a:gd fmla="*/ 26 w 144" name="T2"/>
                <a:gd fmla="*/ 112 h 131" name="T3"/>
                <a:gd fmla="*/ 26 w 144" name="T4"/>
                <a:gd fmla="*/ 19 h 131" name="T5"/>
                <a:gd fmla="*/ 72 w 144" name="T6"/>
                <a:gd fmla="*/ 0 h 131" name="T7"/>
                <a:gd fmla="*/ 119 w 144" name="T8"/>
                <a:gd fmla="*/ 19 h 131" name="T9"/>
                <a:gd fmla="*/ 119 w 144" name="T10"/>
                <a:gd fmla="*/ 112 h 131" name="T11"/>
                <a:gd fmla="*/ 72 w 144" name="T12"/>
                <a:gd fmla="*/ 131 h 131" name="T13"/>
                <a:gd fmla="*/ 72 w 144" name="T14"/>
                <a:gd fmla="*/ 6 h 131" name="T15"/>
                <a:gd fmla="*/ 30 w 144" name="T16"/>
                <a:gd fmla="*/ 24 h 131" name="T17"/>
                <a:gd fmla="*/ 30 w 144" name="T18"/>
                <a:gd fmla="*/ 107 h 131" name="T19"/>
                <a:gd fmla="*/ 72 w 144" name="T20"/>
                <a:gd fmla="*/ 125 h 131" name="T21"/>
                <a:gd fmla="*/ 114 w 144" name="T22"/>
                <a:gd fmla="*/ 107 h 131" name="T23"/>
                <a:gd fmla="*/ 114 w 144" name="T24"/>
                <a:gd fmla="*/ 24 h 131" name="T25"/>
                <a:gd fmla="*/ 72 w 144" name="T26"/>
                <a:gd fmla="*/ 6 h 131" name="T2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b="b" l="0" r="r" t="0"/>
              <a:pathLst>
                <a:path h="131" w="144">
                  <a:moveTo>
                    <a:pt x="72" y="131"/>
                  </a:moveTo>
                  <a:cubicBezTo>
                    <a:pt x="55" y="131"/>
                    <a:pt x="38" y="124"/>
                    <a:pt x="26" y="112"/>
                  </a:cubicBezTo>
                  <a:cubicBezTo>
                    <a:pt x="0" y="86"/>
                    <a:pt x="0" y="45"/>
                    <a:pt x="26" y="19"/>
                  </a:cubicBezTo>
                  <a:cubicBezTo>
                    <a:pt x="38" y="7"/>
                    <a:pt x="55" y="0"/>
                    <a:pt x="72" y="0"/>
                  </a:cubicBezTo>
                  <a:cubicBezTo>
                    <a:pt x="90" y="0"/>
                    <a:pt x="106" y="7"/>
                    <a:pt x="119" y="19"/>
                  </a:cubicBezTo>
                  <a:cubicBezTo>
                    <a:pt x="144" y="45"/>
                    <a:pt x="144" y="86"/>
                    <a:pt x="119" y="112"/>
                  </a:cubicBezTo>
                  <a:cubicBezTo>
                    <a:pt x="106" y="124"/>
                    <a:pt x="90" y="131"/>
                    <a:pt x="72" y="131"/>
                  </a:cubicBezTo>
                  <a:close/>
                  <a:moveTo>
                    <a:pt x="72" y="6"/>
                  </a:moveTo>
                  <a:cubicBezTo>
                    <a:pt x="56" y="6"/>
                    <a:pt x="42" y="12"/>
                    <a:pt x="30" y="24"/>
                  </a:cubicBezTo>
                  <a:cubicBezTo>
                    <a:pt x="7" y="47"/>
                    <a:pt x="7" y="84"/>
                    <a:pt x="30" y="107"/>
                  </a:cubicBezTo>
                  <a:cubicBezTo>
                    <a:pt x="42" y="119"/>
                    <a:pt x="56" y="125"/>
                    <a:pt x="72" y="125"/>
                  </a:cubicBezTo>
                  <a:cubicBezTo>
                    <a:pt x="88" y="125"/>
                    <a:pt x="103" y="119"/>
                    <a:pt x="114" y="107"/>
                  </a:cubicBezTo>
                  <a:cubicBezTo>
                    <a:pt x="137" y="84"/>
                    <a:pt x="137" y="47"/>
                    <a:pt x="114" y="24"/>
                  </a:cubicBezTo>
                  <a:cubicBezTo>
                    <a:pt x="103" y="12"/>
                    <a:pt x="88" y="6"/>
                    <a:pt x="72" y="6"/>
                  </a:cubicBezTo>
                  <a:close/>
                </a:path>
              </a:pathLst>
            </a:custGeom>
            <a:solidFill>
              <a:srgbClr val="000000"/>
            </a:solidFill>
            <a:ln>
              <a:noFill/>
            </a:ln>
            <a:extLst>
              <a:ext uri="{91240B29-F687-4F45-9708-019B960494DF}">
                <a14:hiddenLine w="9525">
                  <a:solidFill>
                    <a:srgbClr val="000000"/>
                  </a:solidFill>
                  <a:round/>
                  <a:headEnd/>
                  <a:tailEnd/>
                </a14:hiddenLine>
              </a:ext>
            </a:extLst>
          </p:spPr>
          <p:txBody>
            <a:bodyPr anchor="ctr"/>
            <a:lstStyle/>
            <a:p>
              <a:pPr algn="ctr"/>
              <a:endParaRPr/>
            </a:p>
          </p:txBody>
        </p:sp>
        <p:sp>
          <p:nvSpPr>
            <p:cNvPr id="70" name="iŝļîḓê">
              <a:extLst>
                <a:ext uri="{FF2B5EF4-FFF2-40B4-BE49-F238E27FC236}">
                  <a16:creationId xmlns:a16="http://schemas.microsoft.com/office/drawing/2014/main" id="{36E3CBF6-96D4-4CFF-84A6-C894B2D7EB1E}"/>
                </a:ext>
              </a:extLst>
            </p:cNvPr>
            <p:cNvSpPr/>
            <p:nvPr/>
          </p:nvSpPr>
          <p:spPr bwMode="auto">
            <a:xfrm>
              <a:off x="8431223" y="3190294"/>
              <a:ext cx="668162" cy="207738"/>
            </a:xfrm>
            <a:custGeom>
              <a:gdLst>
                <a:gd fmla="*/ 55 w 58" name="T0"/>
                <a:gd fmla="*/ 17 h 18" name="T1"/>
                <a:gd fmla="*/ 52 w 58" name="T2"/>
                <a:gd fmla="*/ 16 h 18" name="T3"/>
                <a:gd fmla="*/ 29 w 58" name="T4"/>
                <a:gd fmla="*/ 7 h 18" name="T5"/>
                <a:gd fmla="*/ 6 w 58" name="T6"/>
                <a:gd fmla="*/ 16 h 18" name="T7"/>
                <a:gd fmla="*/ 2 w 58" name="T8"/>
                <a:gd fmla="*/ 16 h 18" name="T9"/>
                <a:gd fmla="*/ 2 w 58" name="T10"/>
                <a:gd fmla="*/ 12 h 18" name="T11"/>
                <a:gd fmla="*/ 29 w 58" name="T12"/>
                <a:gd fmla="*/ 0 h 18" name="T13"/>
                <a:gd fmla="*/ 57 w 58" name="T14"/>
                <a:gd fmla="*/ 12 h 18" name="T15"/>
                <a:gd fmla="*/ 57 w 58" name="T16"/>
                <a:gd fmla="*/ 16 h 18" name="T17"/>
                <a:gd fmla="*/ 55 w 58" name="T18"/>
                <a:gd fmla="*/ 17 h 18" name="T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b="b" l="0" r="r" t="0"/>
              <a:pathLst>
                <a:path h="18" w="57">
                  <a:moveTo>
                    <a:pt x="55" y="17"/>
                  </a:moveTo>
                  <a:cubicBezTo>
                    <a:pt x="54" y="17"/>
                    <a:pt x="53" y="17"/>
                    <a:pt x="52" y="16"/>
                  </a:cubicBezTo>
                  <a:cubicBezTo>
                    <a:pt x="46" y="10"/>
                    <a:pt x="38" y="7"/>
                    <a:pt x="29" y="7"/>
                  </a:cubicBezTo>
                  <a:cubicBezTo>
                    <a:pt x="21" y="7"/>
                    <a:pt x="12" y="10"/>
                    <a:pt x="6" y="16"/>
                  </a:cubicBezTo>
                  <a:cubicBezTo>
                    <a:pt x="5" y="18"/>
                    <a:pt x="3" y="18"/>
                    <a:pt x="2" y="16"/>
                  </a:cubicBezTo>
                  <a:cubicBezTo>
                    <a:pt x="0" y="15"/>
                    <a:pt x="0" y="13"/>
                    <a:pt x="2" y="12"/>
                  </a:cubicBezTo>
                  <a:cubicBezTo>
                    <a:pt x="9" y="4"/>
                    <a:pt x="19" y="0"/>
                    <a:pt x="29" y="0"/>
                  </a:cubicBezTo>
                  <a:cubicBezTo>
                    <a:pt x="40" y="0"/>
                    <a:pt x="50" y="4"/>
                    <a:pt x="57" y="12"/>
                  </a:cubicBezTo>
                  <a:cubicBezTo>
                    <a:pt x="58" y="13"/>
                    <a:pt x="58" y="15"/>
                    <a:pt x="57" y="16"/>
                  </a:cubicBezTo>
                  <a:cubicBezTo>
                    <a:pt x="56" y="17"/>
                    <a:pt x="56" y="17"/>
                    <a:pt x="55" y="17"/>
                  </a:cubicBezTo>
                  <a:close/>
                </a:path>
              </a:pathLst>
            </a:custGeom>
            <a:solidFill>
              <a:srgbClr val="000000"/>
            </a:solidFill>
            <a:ln>
              <a:noFill/>
            </a:ln>
            <a:extLst>
              <a:ext uri="{91240B29-F687-4F45-9708-019B960494DF}">
                <a14:hiddenLine w="9525">
                  <a:solidFill>
                    <a:srgbClr val="000000"/>
                  </a:solidFill>
                  <a:round/>
                  <a:headEnd/>
                  <a:tailEnd/>
                </a14:hiddenLine>
              </a:ext>
            </a:extLst>
          </p:spPr>
          <p:txBody>
            <a:bodyPr anchor="ctr"/>
            <a:lstStyle/>
            <a:p>
              <a:pPr algn="ctr"/>
              <a:endParaRPr/>
            </a:p>
          </p:txBody>
        </p:sp>
      </p:grpSp>
      <p:grpSp>
        <p:nvGrpSpPr>
          <p:cNvPr id="99" name="组合 98">
            <a:extLst>
              <a:ext uri="{FF2B5EF4-FFF2-40B4-BE49-F238E27FC236}">
                <a16:creationId xmlns:a16="http://schemas.microsoft.com/office/drawing/2014/main" id="{FF0F0C8A-B83F-4EBD-9C62-AC8CE090A157}"/>
              </a:ext>
            </a:extLst>
          </p:cNvPr>
          <p:cNvGrpSpPr/>
          <p:nvPr/>
        </p:nvGrpSpPr>
        <p:grpSpPr>
          <a:xfrm>
            <a:off x="7923420" y="5147401"/>
            <a:ext cx="369311" cy="357163"/>
            <a:chOff x="7923420" y="5147401"/>
            <a:chExt cx="369311" cy="357163"/>
          </a:xfrm>
        </p:grpSpPr>
        <p:sp>
          <p:nvSpPr>
            <p:cNvPr id="51" name="íşḷïḋé">
              <a:extLst>
                <a:ext uri="{FF2B5EF4-FFF2-40B4-BE49-F238E27FC236}">
                  <a16:creationId xmlns:a16="http://schemas.microsoft.com/office/drawing/2014/main" id="{E9A06F88-C247-4196-B8AD-C87D088ECEC6}"/>
                </a:ext>
              </a:extLst>
            </p:cNvPr>
            <p:cNvSpPr/>
            <p:nvPr/>
          </p:nvSpPr>
          <p:spPr bwMode="auto">
            <a:xfrm>
              <a:off x="7969584" y="5181417"/>
              <a:ext cx="276984" cy="287918"/>
            </a:xfrm>
            <a:prstGeom prst="ellipse">
              <a:avLst/>
            </a:prstGeom>
            <a:solidFill>
              <a:srgbClr val="A0CBD0"/>
            </a:solidFill>
            <a:ln>
              <a:noFill/>
            </a:ln>
            <a:extLst>
              <a:ext uri="{91240B29-F687-4F45-9708-019B960494DF}">
                <a14:hiddenLine w="9525">
                  <a:solidFill>
                    <a:srgbClr val="000000"/>
                  </a:solidFill>
                  <a:round/>
                  <a:headEnd/>
                  <a:tailEnd/>
                </a14:hiddenLine>
              </a:ext>
            </a:extLst>
          </p:spPr>
          <p:txBody>
            <a:bodyPr anchor="ctr"/>
            <a:lstStyle/>
            <a:p>
              <a:pPr algn="ctr"/>
              <a:endParaRPr/>
            </a:p>
          </p:txBody>
        </p:sp>
        <p:sp>
          <p:nvSpPr>
            <p:cNvPr id="71" name="ïśḻíďè">
              <a:extLst>
                <a:ext uri="{FF2B5EF4-FFF2-40B4-BE49-F238E27FC236}">
                  <a16:creationId xmlns:a16="http://schemas.microsoft.com/office/drawing/2014/main" id="{2E060FA7-4F68-4E8E-9F64-E0DA147542C6}"/>
                </a:ext>
              </a:extLst>
            </p:cNvPr>
            <p:cNvSpPr/>
            <p:nvPr/>
          </p:nvSpPr>
          <p:spPr bwMode="auto">
            <a:xfrm>
              <a:off x="7923420" y="5147401"/>
              <a:ext cx="369311" cy="357163"/>
            </a:xfrm>
            <a:custGeom>
              <a:gdLst>
                <a:gd fmla="*/ 16 w 32" name="T0"/>
                <a:gd fmla="*/ 31 h 31" name="T1"/>
                <a:gd fmla="*/ 0 w 32" name="T2"/>
                <a:gd fmla="*/ 15 h 31" name="T3"/>
                <a:gd fmla="*/ 16 w 32" name="T4"/>
                <a:gd fmla="*/ 0 h 31" name="T5"/>
                <a:gd fmla="*/ 32 w 32" name="T6"/>
                <a:gd fmla="*/ 15 h 31" name="T7"/>
                <a:gd fmla="*/ 16 w 32" name="T8"/>
                <a:gd fmla="*/ 31 h 31" name="T9"/>
                <a:gd fmla="*/ 16 w 32" name="T10"/>
                <a:gd fmla="*/ 6 h 31" name="T11"/>
                <a:gd fmla="*/ 7 w 32" name="T12"/>
                <a:gd fmla="*/ 15 h 31" name="T13"/>
                <a:gd fmla="*/ 16 w 32" name="T14"/>
                <a:gd fmla="*/ 25 h 31" name="T15"/>
                <a:gd fmla="*/ 25 w 32" name="T16"/>
                <a:gd fmla="*/ 15 h 31" name="T17"/>
                <a:gd fmla="*/ 16 w 32" name="T18"/>
                <a:gd fmla="*/ 6 h 31" name="T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b="b" l="0" r="r" t="0"/>
              <a:pathLst>
                <a:path h="31" w="32">
                  <a:moveTo>
                    <a:pt x="16" y="31"/>
                  </a:moveTo>
                  <a:cubicBezTo>
                    <a:pt x="7" y="31"/>
                    <a:pt x="0" y="24"/>
                    <a:pt x="0" y="15"/>
                  </a:cubicBezTo>
                  <a:cubicBezTo>
                    <a:pt x="0" y="7"/>
                    <a:pt x="7" y="0"/>
                    <a:pt x="16" y="0"/>
                  </a:cubicBezTo>
                  <a:cubicBezTo>
                    <a:pt x="25" y="0"/>
                    <a:pt x="32" y="7"/>
                    <a:pt x="32" y="15"/>
                  </a:cubicBezTo>
                  <a:cubicBezTo>
                    <a:pt x="32" y="24"/>
                    <a:pt x="25" y="31"/>
                    <a:pt x="16" y="31"/>
                  </a:cubicBezTo>
                  <a:close/>
                  <a:moveTo>
                    <a:pt x="16" y="6"/>
                  </a:moveTo>
                  <a:cubicBezTo>
                    <a:pt x="11" y="6"/>
                    <a:pt x="7" y="10"/>
                    <a:pt x="7" y="15"/>
                  </a:cubicBezTo>
                  <a:cubicBezTo>
                    <a:pt x="7" y="21"/>
                    <a:pt x="11" y="25"/>
                    <a:pt x="16" y="25"/>
                  </a:cubicBezTo>
                  <a:cubicBezTo>
                    <a:pt x="21" y="25"/>
                    <a:pt x="25" y="21"/>
                    <a:pt x="25" y="15"/>
                  </a:cubicBezTo>
                  <a:cubicBezTo>
                    <a:pt x="25" y="10"/>
                    <a:pt x="21" y="6"/>
                    <a:pt x="16" y="6"/>
                  </a:cubicBezTo>
                  <a:close/>
                </a:path>
              </a:pathLst>
            </a:custGeom>
            <a:solidFill>
              <a:srgbClr val="000000"/>
            </a:solidFill>
            <a:ln>
              <a:noFill/>
            </a:ln>
            <a:extLst>
              <a:ext uri="{91240B29-F687-4F45-9708-019B960494DF}">
                <a14:hiddenLine w="9525">
                  <a:solidFill>
                    <a:srgbClr val="000000"/>
                  </a:solidFill>
                  <a:round/>
                  <a:headEnd/>
                  <a:tailEnd/>
                </a14:hiddenLine>
              </a:ext>
            </a:extLst>
          </p:spPr>
          <p:txBody>
            <a:bodyPr anchor="ctr"/>
            <a:lstStyle/>
            <a:p>
              <a:pPr algn="ctr"/>
              <a:endParaRPr/>
            </a:p>
          </p:txBody>
        </p:sp>
      </p:grpSp>
      <p:grpSp>
        <p:nvGrpSpPr>
          <p:cNvPr id="97" name="组合 96">
            <a:extLst>
              <a:ext uri="{FF2B5EF4-FFF2-40B4-BE49-F238E27FC236}">
                <a16:creationId xmlns:a16="http://schemas.microsoft.com/office/drawing/2014/main" id="{12E7D710-05FF-4EF5-9966-B7206AAF2417}"/>
              </a:ext>
            </a:extLst>
          </p:cNvPr>
          <p:cNvGrpSpPr/>
          <p:nvPr/>
        </p:nvGrpSpPr>
        <p:grpSpPr>
          <a:xfrm>
            <a:off x="9941270" y="2488116"/>
            <a:ext cx="357163" cy="357163"/>
            <a:chOff x="9941270" y="2488116"/>
            <a:chExt cx="357163" cy="357163"/>
          </a:xfrm>
        </p:grpSpPr>
        <p:sp>
          <p:nvSpPr>
            <p:cNvPr id="52" name="išḻîďé">
              <a:extLst>
                <a:ext uri="{FF2B5EF4-FFF2-40B4-BE49-F238E27FC236}">
                  <a16:creationId xmlns:a16="http://schemas.microsoft.com/office/drawing/2014/main" id="{C62AF7F0-D777-447D-A6E3-3A11EE04D930}"/>
                </a:ext>
              </a:extLst>
            </p:cNvPr>
            <p:cNvSpPr/>
            <p:nvPr/>
          </p:nvSpPr>
          <p:spPr bwMode="auto">
            <a:xfrm>
              <a:off x="9975286" y="2523346"/>
              <a:ext cx="287918" cy="286702"/>
            </a:xfrm>
            <a:prstGeom prst="ellipse">
              <a:avLst/>
            </a:prstGeom>
            <a:solidFill>
              <a:srgbClr val="FFB9BE"/>
            </a:solidFill>
            <a:ln>
              <a:noFill/>
            </a:ln>
            <a:extLst>
              <a:ext uri="{91240B29-F687-4F45-9708-019B960494DF}">
                <a14:hiddenLine w="9525">
                  <a:solidFill>
                    <a:srgbClr val="000000"/>
                  </a:solidFill>
                  <a:round/>
                  <a:headEnd/>
                  <a:tailEnd/>
                </a14:hiddenLine>
              </a:ext>
            </a:extLst>
          </p:spPr>
          <p:txBody>
            <a:bodyPr anchor="ctr"/>
            <a:lstStyle/>
            <a:p>
              <a:pPr algn="ctr"/>
              <a:endParaRPr/>
            </a:p>
          </p:txBody>
        </p:sp>
        <p:sp>
          <p:nvSpPr>
            <p:cNvPr id="72" name="iśļîḋè">
              <a:extLst>
                <a:ext uri="{FF2B5EF4-FFF2-40B4-BE49-F238E27FC236}">
                  <a16:creationId xmlns:a16="http://schemas.microsoft.com/office/drawing/2014/main" id="{EA582493-7D02-4EA3-8C9A-02463983A4F0}"/>
                </a:ext>
              </a:extLst>
            </p:cNvPr>
            <p:cNvSpPr/>
            <p:nvPr/>
          </p:nvSpPr>
          <p:spPr bwMode="auto">
            <a:xfrm>
              <a:off x="9941270" y="2488116"/>
              <a:ext cx="357163" cy="357163"/>
            </a:xfrm>
            <a:custGeom>
              <a:gdLst>
                <a:gd fmla="*/ 16 w 31" name="T0"/>
                <a:gd fmla="*/ 31 h 31" name="T1"/>
                <a:gd fmla="*/ 0 w 31" name="T2"/>
                <a:gd fmla="*/ 16 h 31" name="T3"/>
                <a:gd fmla="*/ 16 w 31" name="T4"/>
                <a:gd fmla="*/ 0 h 31" name="T5"/>
                <a:gd fmla="*/ 31 w 31" name="T6"/>
                <a:gd fmla="*/ 16 h 31" name="T7"/>
                <a:gd fmla="*/ 16 w 31" name="T8"/>
                <a:gd fmla="*/ 31 h 31" name="T9"/>
                <a:gd fmla="*/ 16 w 31" name="T10"/>
                <a:gd fmla="*/ 6 h 31" name="T11"/>
                <a:gd fmla="*/ 6 w 31" name="T12"/>
                <a:gd fmla="*/ 16 h 31" name="T13"/>
                <a:gd fmla="*/ 16 w 31" name="T14"/>
                <a:gd fmla="*/ 25 h 31" name="T15"/>
                <a:gd fmla="*/ 25 w 31" name="T16"/>
                <a:gd fmla="*/ 16 h 31" name="T17"/>
                <a:gd fmla="*/ 16 w 31" name="T18"/>
                <a:gd fmla="*/ 6 h 31" name="T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b="b" l="0" r="r" t="0"/>
              <a:pathLst>
                <a:path h="31" w="31">
                  <a:moveTo>
                    <a:pt x="16" y="31"/>
                  </a:moveTo>
                  <a:cubicBezTo>
                    <a:pt x="7" y="31"/>
                    <a:pt x="0" y="24"/>
                    <a:pt x="0" y="16"/>
                  </a:cubicBezTo>
                  <a:cubicBezTo>
                    <a:pt x="0" y="7"/>
                    <a:pt x="7" y="0"/>
                    <a:pt x="16" y="0"/>
                  </a:cubicBezTo>
                  <a:cubicBezTo>
                    <a:pt x="24" y="0"/>
                    <a:pt x="31" y="7"/>
                    <a:pt x="31" y="16"/>
                  </a:cubicBezTo>
                  <a:cubicBezTo>
                    <a:pt x="31" y="24"/>
                    <a:pt x="24" y="31"/>
                    <a:pt x="16" y="31"/>
                  </a:cubicBezTo>
                  <a:close/>
                  <a:moveTo>
                    <a:pt x="16" y="6"/>
                  </a:moveTo>
                  <a:cubicBezTo>
                    <a:pt x="11" y="6"/>
                    <a:pt x="6" y="10"/>
                    <a:pt x="6" y="16"/>
                  </a:cubicBezTo>
                  <a:cubicBezTo>
                    <a:pt x="6" y="21"/>
                    <a:pt x="11" y="25"/>
                    <a:pt x="16" y="25"/>
                  </a:cubicBezTo>
                  <a:cubicBezTo>
                    <a:pt x="21" y="25"/>
                    <a:pt x="25" y="21"/>
                    <a:pt x="25" y="16"/>
                  </a:cubicBezTo>
                  <a:cubicBezTo>
                    <a:pt x="25" y="10"/>
                    <a:pt x="21" y="6"/>
                    <a:pt x="16" y="6"/>
                  </a:cubicBezTo>
                  <a:close/>
                </a:path>
              </a:pathLst>
            </a:custGeom>
            <a:solidFill>
              <a:srgbClr val="000000"/>
            </a:solidFill>
            <a:ln>
              <a:noFill/>
            </a:ln>
            <a:extLst>
              <a:ext uri="{91240B29-F687-4F45-9708-019B960494DF}">
                <a14:hiddenLine w="9525">
                  <a:solidFill>
                    <a:srgbClr val="000000"/>
                  </a:solidFill>
                  <a:round/>
                  <a:headEnd/>
                  <a:tailEnd/>
                </a14:hiddenLine>
              </a:ext>
            </a:extLst>
          </p:spPr>
          <p:txBody>
            <a:bodyPr anchor="ctr"/>
            <a:lstStyle/>
            <a:p>
              <a:pPr algn="ctr"/>
              <a:endParaRPr/>
            </a:p>
          </p:txBody>
        </p:sp>
      </p:grpSp>
      <p:grpSp>
        <p:nvGrpSpPr>
          <p:cNvPr id="98" name="组合 97">
            <a:extLst>
              <a:ext uri="{FF2B5EF4-FFF2-40B4-BE49-F238E27FC236}">
                <a16:creationId xmlns:a16="http://schemas.microsoft.com/office/drawing/2014/main" id="{2CC19D7F-D167-428C-9D3C-9EAE8859EAE4}"/>
              </a:ext>
            </a:extLst>
          </p:cNvPr>
          <p:cNvGrpSpPr/>
          <p:nvPr/>
        </p:nvGrpSpPr>
        <p:grpSpPr>
          <a:xfrm>
            <a:off x="10298433" y="3282621"/>
            <a:ext cx="506589" cy="494440"/>
            <a:chOff x="10298433" y="3282621"/>
            <a:chExt cx="506589" cy="494440"/>
          </a:xfrm>
        </p:grpSpPr>
        <p:sp>
          <p:nvSpPr>
            <p:cNvPr id="53" name="ïṧļïďê">
              <a:extLst>
                <a:ext uri="{FF2B5EF4-FFF2-40B4-BE49-F238E27FC236}">
                  <a16:creationId xmlns:a16="http://schemas.microsoft.com/office/drawing/2014/main" id="{F0A6CB48-9E92-4A8C-A546-3F4062C47B51}"/>
                </a:ext>
              </a:extLst>
            </p:cNvPr>
            <p:cNvSpPr/>
            <p:nvPr/>
          </p:nvSpPr>
          <p:spPr bwMode="auto">
            <a:xfrm>
              <a:off x="10332449" y="3316637"/>
              <a:ext cx="438558" cy="426409"/>
            </a:xfrm>
            <a:prstGeom prst="ellipse">
              <a:avLst/>
            </a:prstGeom>
            <a:solidFill>
              <a:srgbClr val="FFE9B3"/>
            </a:solidFill>
            <a:ln>
              <a:noFill/>
            </a:ln>
            <a:extLst>
              <a:ext uri="{91240B29-F687-4F45-9708-019B960494DF}">
                <a14:hiddenLine w="9525">
                  <a:solidFill>
                    <a:srgbClr val="000000"/>
                  </a:solidFill>
                  <a:round/>
                  <a:headEnd/>
                  <a:tailEnd/>
                </a14:hiddenLine>
              </a:ext>
            </a:extLst>
          </p:spPr>
          <p:txBody>
            <a:bodyPr anchor="ctr"/>
            <a:lstStyle/>
            <a:p>
              <a:pPr algn="ctr"/>
              <a:endParaRPr/>
            </a:p>
          </p:txBody>
        </p:sp>
        <p:sp>
          <p:nvSpPr>
            <p:cNvPr id="73" name="îşḻiḓè">
              <a:extLst>
                <a:ext uri="{FF2B5EF4-FFF2-40B4-BE49-F238E27FC236}">
                  <a16:creationId xmlns:a16="http://schemas.microsoft.com/office/drawing/2014/main" id="{0961AA23-FCAB-405A-AF13-70130FEB71E9}"/>
                </a:ext>
              </a:extLst>
            </p:cNvPr>
            <p:cNvSpPr/>
            <p:nvPr/>
          </p:nvSpPr>
          <p:spPr bwMode="auto">
            <a:xfrm>
              <a:off x="10298433" y="3282621"/>
              <a:ext cx="506589" cy="494440"/>
            </a:xfrm>
            <a:custGeom>
              <a:gdLst>
                <a:gd fmla="*/ 22 w 44" name="T0"/>
                <a:gd fmla="*/ 43 h 43" name="T1"/>
                <a:gd fmla="*/ 0 w 44" name="T2"/>
                <a:gd fmla="*/ 21 h 43" name="T3"/>
                <a:gd fmla="*/ 22 w 44" name="T4"/>
                <a:gd fmla="*/ 0 h 43" name="T5"/>
                <a:gd fmla="*/ 44 w 44" name="T6"/>
                <a:gd fmla="*/ 21 h 43" name="T7"/>
                <a:gd fmla="*/ 22 w 44" name="T8"/>
                <a:gd fmla="*/ 43 h 43" name="T9"/>
                <a:gd fmla="*/ 22 w 44" name="T10"/>
                <a:gd fmla="*/ 6 h 43" name="T11"/>
                <a:gd fmla="*/ 7 w 44" name="T12"/>
                <a:gd fmla="*/ 21 h 43" name="T13"/>
                <a:gd fmla="*/ 22 w 44" name="T14"/>
                <a:gd fmla="*/ 37 h 43" name="T15"/>
                <a:gd fmla="*/ 38 w 44" name="T16"/>
                <a:gd fmla="*/ 21 h 43" name="T17"/>
                <a:gd fmla="*/ 22 w 44" name="T18"/>
                <a:gd fmla="*/ 6 h 43" name="T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b="b" l="0" r="r" t="0"/>
              <a:pathLst>
                <a:path h="43" w="44">
                  <a:moveTo>
                    <a:pt x="22" y="43"/>
                  </a:moveTo>
                  <a:cubicBezTo>
                    <a:pt x="10" y="43"/>
                    <a:pt x="0" y="33"/>
                    <a:pt x="0" y="21"/>
                  </a:cubicBezTo>
                  <a:cubicBezTo>
                    <a:pt x="0" y="9"/>
                    <a:pt x="10" y="0"/>
                    <a:pt x="22" y="0"/>
                  </a:cubicBezTo>
                  <a:cubicBezTo>
                    <a:pt x="34" y="0"/>
                    <a:pt x="44" y="9"/>
                    <a:pt x="44" y="21"/>
                  </a:cubicBezTo>
                  <a:cubicBezTo>
                    <a:pt x="44" y="33"/>
                    <a:pt x="34" y="43"/>
                    <a:pt x="22" y="43"/>
                  </a:cubicBezTo>
                  <a:close/>
                  <a:moveTo>
                    <a:pt x="22" y="6"/>
                  </a:moveTo>
                  <a:cubicBezTo>
                    <a:pt x="14" y="6"/>
                    <a:pt x="7" y="13"/>
                    <a:pt x="7" y="21"/>
                  </a:cubicBezTo>
                  <a:cubicBezTo>
                    <a:pt x="7" y="30"/>
                    <a:pt x="14" y="37"/>
                    <a:pt x="22" y="37"/>
                  </a:cubicBezTo>
                  <a:cubicBezTo>
                    <a:pt x="31" y="37"/>
                    <a:pt x="38" y="30"/>
                    <a:pt x="38" y="21"/>
                  </a:cubicBezTo>
                  <a:cubicBezTo>
                    <a:pt x="38" y="13"/>
                    <a:pt x="31" y="6"/>
                    <a:pt x="22" y="6"/>
                  </a:cubicBezTo>
                  <a:close/>
                </a:path>
              </a:pathLst>
            </a:custGeom>
            <a:solidFill>
              <a:srgbClr val="000000"/>
            </a:solidFill>
            <a:ln>
              <a:noFill/>
            </a:ln>
            <a:extLst>
              <a:ext uri="{91240B29-F687-4F45-9708-019B960494DF}">
                <a14:hiddenLine w="9525">
                  <a:solidFill>
                    <a:srgbClr val="000000"/>
                  </a:solidFill>
                  <a:round/>
                  <a:headEnd/>
                  <a:tailEnd/>
                </a14:hiddenLine>
              </a:ext>
            </a:extLst>
          </p:spPr>
          <p:txBody>
            <a:bodyPr anchor="ctr"/>
            <a:lstStyle/>
            <a:p>
              <a:pPr algn="ctr"/>
              <a:endParaRPr/>
            </a:p>
          </p:txBody>
        </p:sp>
      </p:grpSp>
      <p:sp>
        <p:nvSpPr>
          <p:cNvPr id="6" name="弧形 5">
            <a:extLst>
              <a:ext uri="{FF2B5EF4-FFF2-40B4-BE49-F238E27FC236}">
                <a16:creationId xmlns:a16="http://schemas.microsoft.com/office/drawing/2014/main" id="{E0D3F372-2D3C-4134-995C-131FE2D2DBD4}"/>
              </a:ext>
            </a:extLst>
          </p:cNvPr>
          <p:cNvSpPr/>
          <p:nvPr/>
        </p:nvSpPr>
        <p:spPr>
          <a:xfrm>
            <a:off x="6408655" y="1664434"/>
            <a:ext cx="4000844" cy="4000844"/>
          </a:xfrm>
          <a:prstGeom prst="arc">
            <a:avLst>
              <a:gd fmla="val 7000796" name="adj1"/>
              <a:gd fmla="val 14872241" name="adj2"/>
            </a:avLst>
          </a:prstGeom>
          <a:ln cap="rnd" w="38100">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txBody>
          <a:bodyPr anchor="ctr" rtlCol="0"/>
          <a:lstStyle/>
          <a:p>
            <a:pPr algn="ctr"/>
            <a:endParaRPr altLang="en-US" lang="zh-CN"/>
          </a:p>
        </p:txBody>
      </p:sp>
      <p:sp>
        <p:nvSpPr>
          <p:cNvPr id="74" name="Rectangle 133">
            <a:extLst>
              <a:ext uri="{FF2B5EF4-FFF2-40B4-BE49-F238E27FC236}">
                <a16:creationId xmlns:a16="http://schemas.microsoft.com/office/drawing/2014/main" id="{971944FE-037C-4C0D-BD52-BD95E74B4E0D}"/>
              </a:ext>
            </a:extLst>
          </p:cNvPr>
          <p:cNvSpPr/>
          <p:nvPr/>
        </p:nvSpPr>
        <p:spPr>
          <a:xfrm>
            <a:off x="4432305" y="1994906"/>
            <a:ext cx="1205741" cy="497891"/>
          </a:xfrm>
          <a:prstGeom prst="rect">
            <a:avLst/>
          </a:prstGeom>
        </p:spPr>
        <p:txBody>
          <a:bodyPr wrap="square">
            <a:spAutoFit/>
          </a:bodyPr>
          <a:lstStyle/>
          <a:p>
            <a:pPr algn="r">
              <a:buClr>
                <a:srgbClr val="E24848"/>
              </a:buClr>
              <a:defRPr/>
            </a:pPr>
            <a:r>
              <a:rPr lang="en-US" noProof="1" sz="2667">
                <a:solidFill>
                  <a:srgbClr val="00456B"/>
                </a:solidFill>
                <a:latin charset="-122" panose="020b0400000000000000" pitchFamily="34" typeface="思源黑体 CN Normal"/>
                <a:ea charset="-122" panose="020b0400000000000000" pitchFamily="34" typeface="思源黑体 CN Normal"/>
                <a:cs charset="0" panose="020b0306030504020204" pitchFamily="34" typeface="Open Sans Light"/>
              </a:rPr>
              <a:t>55%</a:t>
            </a:r>
          </a:p>
        </p:txBody>
      </p:sp>
      <p:grpSp>
        <p:nvGrpSpPr>
          <p:cNvPr id="75" name="组合 74">
            <a:extLst>
              <a:ext uri="{FF2B5EF4-FFF2-40B4-BE49-F238E27FC236}">
                <a16:creationId xmlns:a16="http://schemas.microsoft.com/office/drawing/2014/main" id="{3F891CC3-FA30-420A-A79F-405480532B59}"/>
              </a:ext>
            </a:extLst>
          </p:cNvPr>
          <p:cNvGrpSpPr/>
          <p:nvPr/>
        </p:nvGrpSpPr>
        <p:grpSpPr>
          <a:xfrm>
            <a:off x="1675132" y="1989932"/>
            <a:ext cx="2811143" cy="957821"/>
            <a:chOff x="519708" y="1368603"/>
            <a:chExt cx="2108357" cy="718366"/>
          </a:xfrm>
        </p:grpSpPr>
        <p:sp>
          <p:nvSpPr>
            <p:cNvPr id="76" name="Rectangle 85">
              <a:extLst>
                <a:ext uri="{FF2B5EF4-FFF2-40B4-BE49-F238E27FC236}">
                  <a16:creationId xmlns:a16="http://schemas.microsoft.com/office/drawing/2014/main" id="{D9F6963E-870F-4510-B0F2-BF51D2206DB8}"/>
                </a:ext>
              </a:extLst>
            </p:cNvPr>
            <p:cNvSpPr/>
            <p:nvPr/>
          </p:nvSpPr>
          <p:spPr>
            <a:xfrm>
              <a:off x="519708" y="1615120"/>
              <a:ext cx="2108356" cy="480060"/>
            </a:xfrm>
            <a:prstGeom prst="rect">
              <a:avLst/>
            </a:prstGeom>
          </p:spPr>
          <p:txBody>
            <a:bodyPr anchor="ctr" wrap="square">
              <a:spAutoFit/>
            </a:bodyPr>
            <a:lstStyle/>
            <a:p>
              <a:pPr algn="r">
                <a:lnSpc>
                  <a:spcPct val="150000"/>
                </a:lnSpc>
              </a:pPr>
              <a:r>
                <a:rPr altLang="en-US" lang="zh-CN" sz="1200">
                  <a:solidFill>
                    <a:schemeClr val="tx1">
                      <a:lumMod val="75000"/>
                      <a:lumOff val="25000"/>
                    </a:schemeClr>
                  </a:solidFill>
                  <a:latin typeface="+mn-ea"/>
                </a:rPr>
                <a:t>这里可以添加主要内容这里可以添加主要内容这里可以添加主要内容</a:t>
              </a:r>
            </a:p>
          </p:txBody>
        </p:sp>
        <p:sp>
          <p:nvSpPr>
            <p:cNvPr id="77" name="TextBox 54">
              <a:extLst>
                <a:ext uri="{FF2B5EF4-FFF2-40B4-BE49-F238E27FC236}">
                  <a16:creationId xmlns:a16="http://schemas.microsoft.com/office/drawing/2014/main" id="{F4370968-6FE2-487A-B07D-FEF280982B21}"/>
                </a:ext>
              </a:extLst>
            </p:cNvPr>
            <p:cNvSpPr txBox="1"/>
            <p:nvPr/>
          </p:nvSpPr>
          <p:spPr>
            <a:xfrm>
              <a:off x="1781292" y="1368603"/>
              <a:ext cx="846772" cy="281978"/>
            </a:xfrm>
            <a:prstGeom prst="rect">
              <a:avLst/>
            </a:prstGeom>
            <a:noFill/>
          </p:spPr>
          <p:txBody>
            <a:bodyPr rtlCol="0" wrap="none">
              <a:spAutoFit/>
            </a:bodyPr>
            <a:lstStyle/>
            <a:p>
              <a:pPr algn="r" defTabSz="1219110"/>
              <a:r>
                <a:rPr altLang="en-US" b="1" lang="zh-CN" sz="1867">
                  <a:solidFill>
                    <a:schemeClr val="tx1">
                      <a:lumMod val="85000"/>
                      <a:lumOff val="15000"/>
                    </a:schemeClr>
                  </a:solidFill>
                  <a:latin panose="020f0502020204030204" typeface="等线"/>
                </a:rPr>
                <a:t>标题文本</a:t>
              </a:r>
            </a:p>
          </p:txBody>
        </p:sp>
      </p:grpSp>
      <p:sp>
        <p:nvSpPr>
          <p:cNvPr id="78" name="Rectangle 133">
            <a:extLst>
              <a:ext uri="{FF2B5EF4-FFF2-40B4-BE49-F238E27FC236}">
                <a16:creationId xmlns:a16="http://schemas.microsoft.com/office/drawing/2014/main" id="{A3FBF84A-1758-4141-A6E5-174E9C5AC214}"/>
              </a:ext>
            </a:extLst>
          </p:cNvPr>
          <p:cNvSpPr/>
          <p:nvPr/>
        </p:nvSpPr>
        <p:spPr>
          <a:xfrm>
            <a:off x="3949941" y="3455226"/>
            <a:ext cx="1205741" cy="497891"/>
          </a:xfrm>
          <a:prstGeom prst="rect">
            <a:avLst/>
          </a:prstGeom>
        </p:spPr>
        <p:txBody>
          <a:bodyPr wrap="square">
            <a:spAutoFit/>
          </a:bodyPr>
          <a:lstStyle/>
          <a:p>
            <a:pPr algn="r">
              <a:buClr>
                <a:srgbClr val="E24848"/>
              </a:buClr>
              <a:defRPr/>
            </a:pPr>
            <a:r>
              <a:rPr lang="en-US" noProof="1" sz="2667">
                <a:solidFill>
                  <a:srgbClr val="FF626C"/>
                </a:solidFill>
                <a:latin charset="-122" panose="020b0400000000000000" pitchFamily="34" typeface="思源黑体 CN Normal"/>
                <a:ea charset="-122" panose="020b0400000000000000" pitchFamily="34" typeface="思源黑体 CN Normal"/>
                <a:cs charset="0" panose="020b0306030504020204" pitchFamily="34" typeface="Open Sans Light"/>
              </a:rPr>
              <a:t>65%</a:t>
            </a:r>
          </a:p>
        </p:txBody>
      </p:sp>
      <p:grpSp>
        <p:nvGrpSpPr>
          <p:cNvPr id="79" name="组合 78">
            <a:extLst>
              <a:ext uri="{FF2B5EF4-FFF2-40B4-BE49-F238E27FC236}">
                <a16:creationId xmlns:a16="http://schemas.microsoft.com/office/drawing/2014/main" id="{86E9428F-DD0D-471A-AE4D-6DA3690BC94D}"/>
              </a:ext>
            </a:extLst>
          </p:cNvPr>
          <p:cNvGrpSpPr/>
          <p:nvPr/>
        </p:nvGrpSpPr>
        <p:grpSpPr>
          <a:xfrm>
            <a:off x="1136729" y="3250037"/>
            <a:ext cx="2811143" cy="957821"/>
            <a:chOff x="519708" y="1368603"/>
            <a:chExt cx="2108357" cy="718366"/>
          </a:xfrm>
        </p:grpSpPr>
        <p:sp>
          <p:nvSpPr>
            <p:cNvPr id="80" name="Rectangle 85">
              <a:extLst>
                <a:ext uri="{FF2B5EF4-FFF2-40B4-BE49-F238E27FC236}">
                  <a16:creationId xmlns:a16="http://schemas.microsoft.com/office/drawing/2014/main" id="{7E92E8B8-DE80-43C5-89DF-EF4FB00BAB49}"/>
                </a:ext>
              </a:extLst>
            </p:cNvPr>
            <p:cNvSpPr/>
            <p:nvPr/>
          </p:nvSpPr>
          <p:spPr>
            <a:xfrm>
              <a:off x="519708" y="1615120"/>
              <a:ext cx="2108356" cy="480060"/>
            </a:xfrm>
            <a:prstGeom prst="rect">
              <a:avLst/>
            </a:prstGeom>
          </p:spPr>
          <p:txBody>
            <a:bodyPr anchor="ctr" wrap="square">
              <a:spAutoFit/>
            </a:bodyPr>
            <a:lstStyle/>
            <a:p>
              <a:pPr algn="r">
                <a:lnSpc>
                  <a:spcPct val="150000"/>
                </a:lnSpc>
              </a:pPr>
              <a:r>
                <a:rPr altLang="en-US" lang="zh-CN" sz="1200">
                  <a:solidFill>
                    <a:schemeClr val="tx1">
                      <a:lumMod val="75000"/>
                      <a:lumOff val="25000"/>
                    </a:schemeClr>
                  </a:solidFill>
                  <a:latin typeface="+mn-ea"/>
                </a:rPr>
                <a:t>这里可以添加主要内容这里可以添加主要内容这里可以添加主要内容</a:t>
              </a:r>
            </a:p>
          </p:txBody>
        </p:sp>
        <p:sp>
          <p:nvSpPr>
            <p:cNvPr id="81" name="TextBox 54">
              <a:extLst>
                <a:ext uri="{FF2B5EF4-FFF2-40B4-BE49-F238E27FC236}">
                  <a16:creationId xmlns:a16="http://schemas.microsoft.com/office/drawing/2014/main" id="{B7738C4D-8B3B-4297-B7AF-9556E1D4411B}"/>
                </a:ext>
              </a:extLst>
            </p:cNvPr>
            <p:cNvSpPr txBox="1"/>
            <p:nvPr/>
          </p:nvSpPr>
          <p:spPr>
            <a:xfrm>
              <a:off x="1781293" y="1368603"/>
              <a:ext cx="846772" cy="281978"/>
            </a:xfrm>
            <a:prstGeom prst="rect">
              <a:avLst/>
            </a:prstGeom>
            <a:noFill/>
          </p:spPr>
          <p:txBody>
            <a:bodyPr rtlCol="0" wrap="none">
              <a:spAutoFit/>
            </a:bodyPr>
            <a:lstStyle/>
            <a:p>
              <a:pPr algn="r" defTabSz="1219110"/>
              <a:r>
                <a:rPr altLang="en-US" b="1" lang="zh-CN" sz="1867">
                  <a:solidFill>
                    <a:schemeClr val="tx1">
                      <a:lumMod val="85000"/>
                      <a:lumOff val="15000"/>
                    </a:schemeClr>
                  </a:solidFill>
                  <a:latin panose="020f0502020204030204" typeface="等线"/>
                </a:rPr>
                <a:t>标题文本</a:t>
              </a:r>
            </a:p>
          </p:txBody>
        </p:sp>
      </p:grpSp>
      <p:sp>
        <p:nvSpPr>
          <p:cNvPr id="82" name="Rectangle 133">
            <a:extLst>
              <a:ext uri="{FF2B5EF4-FFF2-40B4-BE49-F238E27FC236}">
                <a16:creationId xmlns:a16="http://schemas.microsoft.com/office/drawing/2014/main" id="{A0E09AA8-3A3C-4879-A902-F6F156643992}"/>
              </a:ext>
            </a:extLst>
          </p:cNvPr>
          <p:cNvSpPr/>
          <p:nvPr/>
        </p:nvSpPr>
        <p:spPr>
          <a:xfrm>
            <a:off x="4432305" y="4775303"/>
            <a:ext cx="1205741" cy="497891"/>
          </a:xfrm>
          <a:prstGeom prst="rect">
            <a:avLst/>
          </a:prstGeom>
        </p:spPr>
        <p:txBody>
          <a:bodyPr wrap="square">
            <a:spAutoFit/>
          </a:bodyPr>
          <a:lstStyle/>
          <a:p>
            <a:pPr algn="r">
              <a:buClr>
                <a:srgbClr val="E24848"/>
              </a:buClr>
              <a:defRPr/>
            </a:pPr>
            <a:r>
              <a:rPr lang="en-US" noProof="1" sz="2667">
                <a:solidFill>
                  <a:srgbClr val="60A8AF"/>
                </a:solidFill>
                <a:latin charset="-122" panose="020b0400000000000000" pitchFamily="34" typeface="思源黑体 CN Normal"/>
                <a:ea charset="-122" panose="020b0400000000000000" pitchFamily="34" typeface="思源黑体 CN Normal"/>
                <a:cs charset="0" panose="020b0306030504020204" pitchFamily="34" typeface="Open Sans Light"/>
              </a:rPr>
              <a:t>75%</a:t>
            </a:r>
          </a:p>
        </p:txBody>
      </p:sp>
      <p:grpSp>
        <p:nvGrpSpPr>
          <p:cNvPr id="83" name="组合 82">
            <a:extLst>
              <a:ext uri="{FF2B5EF4-FFF2-40B4-BE49-F238E27FC236}">
                <a16:creationId xmlns:a16="http://schemas.microsoft.com/office/drawing/2014/main" id="{FE705C78-B92B-4B9E-9196-8E0BB7B810E0}"/>
              </a:ext>
            </a:extLst>
          </p:cNvPr>
          <p:cNvGrpSpPr/>
          <p:nvPr/>
        </p:nvGrpSpPr>
        <p:grpSpPr>
          <a:xfrm>
            <a:off x="1675132" y="4761689"/>
            <a:ext cx="2811143" cy="957821"/>
            <a:chOff x="519708" y="1368603"/>
            <a:chExt cx="2108357" cy="718366"/>
          </a:xfrm>
        </p:grpSpPr>
        <p:sp>
          <p:nvSpPr>
            <p:cNvPr id="84" name="Rectangle 85">
              <a:extLst>
                <a:ext uri="{FF2B5EF4-FFF2-40B4-BE49-F238E27FC236}">
                  <a16:creationId xmlns:a16="http://schemas.microsoft.com/office/drawing/2014/main" id="{BC6A0996-3C54-4632-AB4A-9F02DB31B3F4}"/>
                </a:ext>
              </a:extLst>
            </p:cNvPr>
            <p:cNvSpPr/>
            <p:nvPr/>
          </p:nvSpPr>
          <p:spPr>
            <a:xfrm>
              <a:off x="519708" y="1615121"/>
              <a:ext cx="2108356" cy="480060"/>
            </a:xfrm>
            <a:prstGeom prst="rect">
              <a:avLst/>
            </a:prstGeom>
          </p:spPr>
          <p:txBody>
            <a:bodyPr anchor="ctr" wrap="square">
              <a:spAutoFit/>
            </a:bodyPr>
            <a:lstStyle/>
            <a:p>
              <a:pPr algn="r">
                <a:lnSpc>
                  <a:spcPct val="150000"/>
                </a:lnSpc>
              </a:pPr>
              <a:r>
                <a:rPr altLang="en-US" lang="zh-CN" sz="1200">
                  <a:solidFill>
                    <a:schemeClr val="tx1">
                      <a:lumMod val="75000"/>
                      <a:lumOff val="25000"/>
                    </a:schemeClr>
                  </a:solidFill>
                  <a:latin typeface="+mn-ea"/>
                </a:rPr>
                <a:t>这里可以添加主要内容这里可以添加主要内容这里可以添加主要内容</a:t>
              </a:r>
            </a:p>
          </p:txBody>
        </p:sp>
        <p:sp>
          <p:nvSpPr>
            <p:cNvPr id="85" name="TextBox 54">
              <a:extLst>
                <a:ext uri="{FF2B5EF4-FFF2-40B4-BE49-F238E27FC236}">
                  <a16:creationId xmlns:a16="http://schemas.microsoft.com/office/drawing/2014/main" id="{34193268-07C0-4994-8859-863665FF5713}"/>
                </a:ext>
              </a:extLst>
            </p:cNvPr>
            <p:cNvSpPr txBox="1"/>
            <p:nvPr/>
          </p:nvSpPr>
          <p:spPr>
            <a:xfrm>
              <a:off x="1781292" y="1368603"/>
              <a:ext cx="846772" cy="281978"/>
            </a:xfrm>
            <a:prstGeom prst="rect">
              <a:avLst/>
            </a:prstGeom>
            <a:noFill/>
          </p:spPr>
          <p:txBody>
            <a:bodyPr rtlCol="0" wrap="none">
              <a:spAutoFit/>
            </a:bodyPr>
            <a:lstStyle/>
            <a:p>
              <a:pPr algn="r" defTabSz="1219110"/>
              <a:r>
                <a:rPr altLang="en-US" b="1" lang="zh-CN" sz="1867">
                  <a:solidFill>
                    <a:schemeClr val="tx1">
                      <a:lumMod val="85000"/>
                      <a:lumOff val="15000"/>
                    </a:schemeClr>
                  </a:solidFill>
                  <a:latin panose="020f0502020204030204" typeface="等线"/>
                </a:rPr>
                <a:t>标题文本</a:t>
              </a:r>
            </a:p>
          </p:txBody>
        </p:sp>
      </p:grpSp>
      <p:sp>
        <p:nvSpPr>
          <p:cNvPr id="86" name="TextBox 54">
            <a:extLst>
              <a:ext uri="{FF2B5EF4-FFF2-40B4-BE49-F238E27FC236}">
                <a16:creationId xmlns:a16="http://schemas.microsoft.com/office/drawing/2014/main" id="{07C9E2CC-AF50-4924-9B3B-6DAA0FD7470F}"/>
              </a:ext>
            </a:extLst>
          </p:cNvPr>
          <p:cNvSpPr txBox="1"/>
          <p:nvPr/>
        </p:nvSpPr>
        <p:spPr>
          <a:xfrm>
            <a:off x="8088184" y="3486997"/>
            <a:ext cx="1300480" cy="701040"/>
          </a:xfrm>
          <a:prstGeom prst="rect">
            <a:avLst/>
          </a:prstGeom>
          <a:noFill/>
        </p:spPr>
        <p:txBody>
          <a:bodyPr rtlCol="0" wrap="none">
            <a:spAutoFit/>
          </a:bodyPr>
          <a:lstStyle/>
          <a:p>
            <a:pPr algn="ctr" defTabSz="1219110"/>
            <a:r>
              <a:rPr altLang="zh-CN" lang="en-US" sz="2000">
                <a:solidFill>
                  <a:schemeClr val="tx1">
                    <a:lumMod val="85000"/>
                    <a:lumOff val="15000"/>
                  </a:schemeClr>
                </a:solidFill>
              </a:rPr>
              <a:t>ADD TEXT</a:t>
            </a:r>
          </a:p>
          <a:p>
            <a:pPr algn="ctr" defTabSz="1219110"/>
            <a:r>
              <a:rPr altLang="zh-CN" lang="en-US" sz="2000">
                <a:solidFill>
                  <a:schemeClr val="tx1">
                    <a:lumMod val="85000"/>
                    <a:lumOff val="15000"/>
                  </a:schemeClr>
                </a:solidFill>
              </a:rPr>
              <a:t>……</a:t>
            </a:r>
          </a:p>
        </p:txBody>
      </p:sp>
      <p:grpSp>
        <p:nvGrpSpPr>
          <p:cNvPr id="89" name="组合 88">
            <a:extLst>
              <a:ext uri="{FF2B5EF4-FFF2-40B4-BE49-F238E27FC236}">
                <a16:creationId xmlns:a16="http://schemas.microsoft.com/office/drawing/2014/main" id="{591B4463-71B3-46D3-9E6D-4B4F312B414B}"/>
              </a:ext>
            </a:extLst>
          </p:cNvPr>
          <p:cNvGrpSpPr/>
          <p:nvPr/>
        </p:nvGrpSpPr>
        <p:grpSpPr>
          <a:xfrm>
            <a:off x="5855145" y="2062208"/>
            <a:ext cx="1093700" cy="408860"/>
            <a:chOff x="5492873" y="2000189"/>
            <a:chExt cx="1260352" cy="408860"/>
          </a:xfrm>
        </p:grpSpPr>
        <p:pic>
          <p:nvPicPr>
            <p:cNvPr id="8" name="图形 7">
              <a:extLst>
                <a:ext uri="{FF2B5EF4-FFF2-40B4-BE49-F238E27FC236}">
                  <a16:creationId xmlns:a16="http://schemas.microsoft.com/office/drawing/2014/main" id="{A9844E2C-D321-45BB-B8A3-A25D3B1A4BF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6200000">
              <a:off x="5478271" y="2014791"/>
              <a:ext cx="408860" cy="379656"/>
            </a:xfrm>
            <a:prstGeom prst="rect">
              <a:avLst/>
            </a:prstGeom>
          </p:spPr>
        </p:pic>
        <p:cxnSp>
          <p:nvCxnSpPr>
            <p:cNvPr id="87" name="直接连接符 86">
              <a:extLst>
                <a:ext uri="{FF2B5EF4-FFF2-40B4-BE49-F238E27FC236}">
                  <a16:creationId xmlns:a16="http://schemas.microsoft.com/office/drawing/2014/main" id="{883C78DB-7CAA-469B-940B-298C8C1075B0}"/>
                </a:ext>
              </a:extLst>
            </p:cNvPr>
            <p:cNvCxnSpPr/>
            <p:nvPr/>
          </p:nvCxnSpPr>
          <p:spPr>
            <a:xfrm>
              <a:off x="5682701" y="2204619"/>
              <a:ext cx="1070524" cy="0"/>
            </a:xfrm>
            <a:prstGeom prst="line">
              <a:avLst/>
            </a:prstGeom>
            <a:ln w="38100">
              <a:solidFill>
                <a:schemeClr val="bg1">
                  <a:lumMod val="75000"/>
                </a:schemeClr>
              </a:solidFill>
              <a:tailEnd type="oval"/>
            </a:ln>
          </p:spPr>
          <p:style>
            <a:lnRef idx="1">
              <a:schemeClr val="accent1"/>
            </a:lnRef>
            <a:fillRef idx="0">
              <a:schemeClr val="accent1"/>
            </a:fillRef>
            <a:effectRef idx="0">
              <a:schemeClr val="accent1"/>
            </a:effectRef>
            <a:fontRef idx="minor">
              <a:schemeClr val="tx1"/>
            </a:fontRef>
          </p:style>
        </p:cxnSp>
      </p:grpSp>
      <p:grpSp>
        <p:nvGrpSpPr>
          <p:cNvPr id="90" name="组合 89">
            <a:extLst>
              <a:ext uri="{FF2B5EF4-FFF2-40B4-BE49-F238E27FC236}">
                <a16:creationId xmlns:a16="http://schemas.microsoft.com/office/drawing/2014/main" id="{0674ADC8-F2CB-4B9D-A68B-6B7F8E07231A}"/>
              </a:ext>
            </a:extLst>
          </p:cNvPr>
          <p:cNvGrpSpPr/>
          <p:nvPr/>
        </p:nvGrpSpPr>
        <p:grpSpPr>
          <a:xfrm>
            <a:off x="5855145" y="4834249"/>
            <a:ext cx="1093700" cy="408860"/>
            <a:chOff x="5492873" y="2000189"/>
            <a:chExt cx="1260352" cy="408860"/>
          </a:xfrm>
        </p:grpSpPr>
        <p:pic>
          <p:nvPicPr>
            <p:cNvPr id="91" name="图形 90">
              <a:extLst>
                <a:ext uri="{FF2B5EF4-FFF2-40B4-BE49-F238E27FC236}">
                  <a16:creationId xmlns:a16="http://schemas.microsoft.com/office/drawing/2014/main" id="{651E3778-0EF1-4399-9241-4C5DB045CD73}"/>
                </a:ext>
              </a:extLst>
            </p:cNvPr>
            <p:cNvPicPr>
              <a:picLocks noChangeAspect="1"/>
            </p:cNvPicPr>
            <p:nvPr/>
          </p:nvPicPr>
          <p:blipFill>
            <a:blip r:embed="rId9">
              <a:extLst>
                <a:ext uri="{96DAC541-7B7A-43D3-8B79-37D633B846F1}">
                  <asvg:svgBlip xmlns:asvg="http://schemas.microsoft.com/office/drawing/2016/SVG/main" r:embed="rId11"/>
                </a:ext>
              </a:extLst>
            </a:blip>
            <a:stretch>
              <a:fillRect/>
            </a:stretch>
          </p:blipFill>
          <p:spPr>
            <a:xfrm rot="16200000">
              <a:off x="5478271" y="2014791"/>
              <a:ext cx="408860" cy="379656"/>
            </a:xfrm>
            <a:prstGeom prst="rect">
              <a:avLst/>
            </a:prstGeom>
          </p:spPr>
        </p:pic>
        <p:cxnSp>
          <p:nvCxnSpPr>
            <p:cNvPr id="92" name="直接连接符 91">
              <a:extLst>
                <a:ext uri="{FF2B5EF4-FFF2-40B4-BE49-F238E27FC236}">
                  <a16:creationId xmlns:a16="http://schemas.microsoft.com/office/drawing/2014/main" id="{B70EC452-4DF9-4177-BDAF-5CFE21BF234B}"/>
                </a:ext>
              </a:extLst>
            </p:cNvPr>
            <p:cNvCxnSpPr/>
            <p:nvPr/>
          </p:nvCxnSpPr>
          <p:spPr>
            <a:xfrm>
              <a:off x="5682701" y="2204619"/>
              <a:ext cx="1070524" cy="0"/>
            </a:xfrm>
            <a:prstGeom prst="line">
              <a:avLst/>
            </a:prstGeom>
            <a:ln w="38100">
              <a:solidFill>
                <a:schemeClr val="bg1">
                  <a:lumMod val="75000"/>
                </a:schemeClr>
              </a:solidFill>
              <a:tailEnd type="oval"/>
            </a:ln>
          </p:spPr>
          <p:style>
            <a:lnRef idx="1">
              <a:schemeClr val="accent1"/>
            </a:lnRef>
            <a:fillRef idx="0">
              <a:schemeClr val="accent1"/>
            </a:fillRef>
            <a:effectRef idx="0">
              <a:schemeClr val="accent1"/>
            </a:effectRef>
            <a:fontRef idx="minor">
              <a:schemeClr val="tx1"/>
            </a:fontRef>
          </p:style>
        </p:cxnSp>
      </p:grpSp>
      <p:grpSp>
        <p:nvGrpSpPr>
          <p:cNvPr id="93" name="组合 92">
            <a:extLst>
              <a:ext uri="{FF2B5EF4-FFF2-40B4-BE49-F238E27FC236}">
                <a16:creationId xmlns:a16="http://schemas.microsoft.com/office/drawing/2014/main" id="{C1DD6A3B-62F2-41AC-AE33-336D45885073}"/>
              </a:ext>
            </a:extLst>
          </p:cNvPr>
          <p:cNvGrpSpPr/>
          <p:nvPr/>
        </p:nvGrpSpPr>
        <p:grpSpPr>
          <a:xfrm>
            <a:off x="5288025" y="3465709"/>
            <a:ext cx="1093700" cy="408860"/>
            <a:chOff x="5492873" y="2000189"/>
            <a:chExt cx="1260352" cy="408860"/>
          </a:xfrm>
        </p:grpSpPr>
        <p:pic>
          <p:nvPicPr>
            <p:cNvPr id="94" name="图形 93">
              <a:extLst>
                <a:ext uri="{FF2B5EF4-FFF2-40B4-BE49-F238E27FC236}">
                  <a16:creationId xmlns:a16="http://schemas.microsoft.com/office/drawing/2014/main" id="{11D4FBFD-1654-4E92-8442-0C11203439B2}"/>
                </a:ext>
              </a:extLst>
            </p:cNvPr>
            <p:cNvPicPr>
              <a:picLocks noChangeAspect="1"/>
            </p:cNvPicPr>
            <p:nvPr/>
          </p:nvPicPr>
          <p:blipFill>
            <a:blip r:embed="rId9">
              <a:extLst>
                <a:ext uri="{96DAC541-7B7A-43D3-8B79-37D633B846F1}">
                  <asvg:svgBlip xmlns:asvg="http://schemas.microsoft.com/office/drawing/2016/SVG/main" r:embed="rId12"/>
                </a:ext>
              </a:extLst>
            </a:blip>
            <a:stretch>
              <a:fillRect/>
            </a:stretch>
          </p:blipFill>
          <p:spPr>
            <a:xfrm rot="16200000">
              <a:off x="5478271" y="2014791"/>
              <a:ext cx="408860" cy="379656"/>
            </a:xfrm>
            <a:prstGeom prst="rect">
              <a:avLst/>
            </a:prstGeom>
          </p:spPr>
        </p:pic>
        <p:cxnSp>
          <p:nvCxnSpPr>
            <p:cNvPr id="95" name="直接连接符 94">
              <a:extLst>
                <a:ext uri="{FF2B5EF4-FFF2-40B4-BE49-F238E27FC236}">
                  <a16:creationId xmlns:a16="http://schemas.microsoft.com/office/drawing/2014/main" id="{12B33302-D92F-49B9-9C18-77A0680A15FA}"/>
                </a:ext>
              </a:extLst>
            </p:cNvPr>
            <p:cNvCxnSpPr/>
            <p:nvPr/>
          </p:nvCxnSpPr>
          <p:spPr>
            <a:xfrm>
              <a:off x="5682701" y="2204619"/>
              <a:ext cx="1070524" cy="0"/>
            </a:xfrm>
            <a:prstGeom prst="line">
              <a:avLst/>
            </a:prstGeom>
            <a:ln w="38100">
              <a:solidFill>
                <a:schemeClr val="bg1">
                  <a:lumMod val="75000"/>
                </a:schemeClr>
              </a:solidFill>
              <a:tailEnd type="ova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val="2039434099"/>
      </p:ext>
    </p:extLst>
  </p:cSld>
  <p:clrMapOvr>
    <a:masterClrMapping/>
  </p:clrMapOvr>
  <mc:AlternateContent>
    <mc:Choice Requires="p14">
      <p:transition p14:dur="1500" spd="slow">
        <p:random/>
      </p:transition>
    </mc:Choice>
    <mc:Fallback>
      <p:transition spd="slow">
        <p:random/>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decel="100000" fill="hold" grpId="0" id="5" nodeType="withEffect" presetClass="entr" presetID="50" presetSubtype="0">
                                  <p:stCondLst>
                                    <p:cond delay="0"/>
                                  </p:stCondLst>
                                  <p:childTnLst>
                                    <p:set>
                                      <p:cBhvr>
                                        <p:cTn dur="1" fill="hold" id="6">
                                          <p:stCondLst>
                                            <p:cond delay="0"/>
                                          </p:stCondLst>
                                        </p:cTn>
                                        <p:tgtEl>
                                          <p:spTgt spid="10"/>
                                        </p:tgtEl>
                                        <p:attrNameLst>
                                          <p:attrName>style.visibility</p:attrName>
                                        </p:attrNameLst>
                                      </p:cBhvr>
                                      <p:to>
                                        <p:strVal val="visible"/>
                                      </p:to>
                                    </p:set>
                                    <p:anim calcmode="lin" valueType="num">
                                      <p:cBhvr>
                                        <p:cTn dur="1000" fill="hold" id="7"/>
                                        <p:tgtEl>
                                          <p:spTgt spid="10"/>
                                        </p:tgtEl>
                                        <p:attrNameLst>
                                          <p:attrName>ppt_w</p:attrName>
                                        </p:attrNameLst>
                                      </p:cBhvr>
                                      <p:tavLst>
                                        <p:tav tm="0">
                                          <p:val>
                                            <p:strVal val="#ppt_w+.3"/>
                                          </p:val>
                                        </p:tav>
                                        <p:tav tm="100000">
                                          <p:val>
                                            <p:strVal val="#ppt_w"/>
                                          </p:val>
                                        </p:tav>
                                      </p:tavLst>
                                    </p:anim>
                                    <p:anim calcmode="lin" valueType="num">
                                      <p:cBhvr>
                                        <p:cTn dur="1000" fill="hold" id="8"/>
                                        <p:tgtEl>
                                          <p:spTgt spid="10"/>
                                        </p:tgtEl>
                                        <p:attrNameLst>
                                          <p:attrName>ppt_h</p:attrName>
                                        </p:attrNameLst>
                                      </p:cBhvr>
                                      <p:tavLst>
                                        <p:tav tm="0">
                                          <p:val>
                                            <p:strVal val="#ppt_h"/>
                                          </p:val>
                                        </p:tav>
                                        <p:tav tm="100000">
                                          <p:val>
                                            <p:strVal val="#ppt_h"/>
                                          </p:val>
                                        </p:tav>
                                      </p:tavLst>
                                    </p:anim>
                                    <p:animEffect filter="fade" transition="in">
                                      <p:cBhvr>
                                        <p:cTn dur="1000" id="9"/>
                                        <p:tgtEl>
                                          <p:spTgt spid="10"/>
                                        </p:tgtEl>
                                      </p:cBhvr>
                                    </p:animEffect>
                                  </p:childTnLst>
                                </p:cTn>
                              </p:par>
                              <p:par>
                                <p:cTn fill="hold" id="10" nodeType="withEffect" presetClass="entr" presetID="53" presetSubtype="0">
                                  <p:stCondLst>
                                    <p:cond delay="250"/>
                                  </p:stCondLst>
                                  <p:childTnLst>
                                    <p:set>
                                      <p:cBhvr>
                                        <p:cTn dur="1" fill="hold" id="11">
                                          <p:stCondLst>
                                            <p:cond delay="0"/>
                                          </p:stCondLst>
                                        </p:cTn>
                                        <p:tgtEl>
                                          <p:spTgt spid="15"/>
                                        </p:tgtEl>
                                        <p:attrNameLst>
                                          <p:attrName>style.visibility</p:attrName>
                                        </p:attrNameLst>
                                      </p:cBhvr>
                                      <p:to>
                                        <p:strVal val="visible"/>
                                      </p:to>
                                    </p:set>
                                    <p:anim calcmode="lin" valueType="num">
                                      <p:cBhvr>
                                        <p:cTn dur="500" fill="hold" id="12"/>
                                        <p:tgtEl>
                                          <p:spTgt spid="15"/>
                                        </p:tgtEl>
                                        <p:attrNameLst>
                                          <p:attrName>ppt_w</p:attrName>
                                        </p:attrNameLst>
                                      </p:cBhvr>
                                      <p:tavLst>
                                        <p:tav tm="0">
                                          <p:val>
                                            <p:fltVal val="0"/>
                                          </p:val>
                                        </p:tav>
                                        <p:tav tm="100000">
                                          <p:val>
                                            <p:strVal val="#ppt_w"/>
                                          </p:val>
                                        </p:tav>
                                      </p:tavLst>
                                    </p:anim>
                                    <p:anim calcmode="lin" valueType="num">
                                      <p:cBhvr>
                                        <p:cTn dur="500" fill="hold" id="13"/>
                                        <p:tgtEl>
                                          <p:spTgt spid="15"/>
                                        </p:tgtEl>
                                        <p:attrNameLst>
                                          <p:attrName>ppt_h</p:attrName>
                                        </p:attrNameLst>
                                      </p:cBhvr>
                                      <p:tavLst>
                                        <p:tav tm="0">
                                          <p:val>
                                            <p:fltVal val="0"/>
                                          </p:val>
                                        </p:tav>
                                        <p:tav tm="100000">
                                          <p:val>
                                            <p:strVal val="#ppt_h"/>
                                          </p:val>
                                        </p:tav>
                                      </p:tavLst>
                                    </p:anim>
                                    <p:animEffect filter="fade" transition="in">
                                      <p:cBhvr>
                                        <p:cTn dur="500" id="14"/>
                                        <p:tgtEl>
                                          <p:spTgt spid="15"/>
                                        </p:tgtEl>
                                      </p:cBhvr>
                                    </p:animEffect>
                                  </p:childTnLst>
                                </p:cTn>
                              </p:par>
                              <p:par>
                                <p:cTn fill="hold" id="15" nodeType="withEffect" presetClass="entr" presetID="53" presetSubtype="0">
                                  <p:stCondLst>
                                    <p:cond delay="250"/>
                                  </p:stCondLst>
                                  <p:childTnLst>
                                    <p:set>
                                      <p:cBhvr>
                                        <p:cTn dur="1" fill="hold" id="16">
                                          <p:stCondLst>
                                            <p:cond delay="0"/>
                                          </p:stCondLst>
                                        </p:cTn>
                                        <p:tgtEl>
                                          <p:spTgt spid="16"/>
                                        </p:tgtEl>
                                        <p:attrNameLst>
                                          <p:attrName>style.visibility</p:attrName>
                                        </p:attrNameLst>
                                      </p:cBhvr>
                                      <p:to>
                                        <p:strVal val="visible"/>
                                      </p:to>
                                    </p:set>
                                    <p:anim calcmode="lin" valueType="num">
                                      <p:cBhvr>
                                        <p:cTn dur="500" fill="hold" id="17"/>
                                        <p:tgtEl>
                                          <p:spTgt spid="16"/>
                                        </p:tgtEl>
                                        <p:attrNameLst>
                                          <p:attrName>ppt_w</p:attrName>
                                        </p:attrNameLst>
                                      </p:cBhvr>
                                      <p:tavLst>
                                        <p:tav tm="0">
                                          <p:val>
                                            <p:fltVal val="0"/>
                                          </p:val>
                                        </p:tav>
                                        <p:tav tm="100000">
                                          <p:val>
                                            <p:strVal val="#ppt_w"/>
                                          </p:val>
                                        </p:tav>
                                      </p:tavLst>
                                    </p:anim>
                                    <p:anim calcmode="lin" valueType="num">
                                      <p:cBhvr>
                                        <p:cTn dur="500" fill="hold" id="18"/>
                                        <p:tgtEl>
                                          <p:spTgt spid="16"/>
                                        </p:tgtEl>
                                        <p:attrNameLst>
                                          <p:attrName>ppt_h</p:attrName>
                                        </p:attrNameLst>
                                      </p:cBhvr>
                                      <p:tavLst>
                                        <p:tav tm="0">
                                          <p:val>
                                            <p:fltVal val="0"/>
                                          </p:val>
                                        </p:tav>
                                        <p:tav tm="100000">
                                          <p:val>
                                            <p:strVal val="#ppt_h"/>
                                          </p:val>
                                        </p:tav>
                                      </p:tavLst>
                                    </p:anim>
                                    <p:animEffect filter="fade" transition="in">
                                      <p:cBhvr>
                                        <p:cTn dur="500" id="19"/>
                                        <p:tgtEl>
                                          <p:spTgt spid="16"/>
                                        </p:tgtEl>
                                      </p:cBhvr>
                                    </p:animEffect>
                                  </p:childTnLst>
                                </p:cTn>
                              </p:par>
                              <p:par>
                                <p:cTn fill="hold" id="20" nodeType="withEffect" presetClass="entr" presetID="22" presetSubtype="8">
                                  <p:stCondLst>
                                    <p:cond delay="750"/>
                                  </p:stCondLst>
                                  <p:childTnLst>
                                    <p:set>
                                      <p:cBhvr>
                                        <p:cTn dur="1" fill="hold" id="21">
                                          <p:stCondLst>
                                            <p:cond delay="0"/>
                                          </p:stCondLst>
                                        </p:cTn>
                                        <p:tgtEl>
                                          <p:spTgt spid="13"/>
                                        </p:tgtEl>
                                        <p:attrNameLst>
                                          <p:attrName>style.visibility</p:attrName>
                                        </p:attrNameLst>
                                      </p:cBhvr>
                                      <p:to>
                                        <p:strVal val="visible"/>
                                      </p:to>
                                    </p:set>
                                    <p:animEffect filter="wipe(left)" transition="in">
                                      <p:cBhvr>
                                        <p:cTn dur="250" id="22"/>
                                        <p:tgtEl>
                                          <p:spTgt spid="13"/>
                                        </p:tgtEl>
                                      </p:cBhvr>
                                    </p:animEffect>
                                  </p:childTnLst>
                                </p:cTn>
                              </p:par>
                              <p:par>
                                <p:cTn fill="hold" id="23" nodeType="withEffect" presetClass="entr" presetID="22" presetSubtype="2">
                                  <p:stCondLst>
                                    <p:cond delay="750"/>
                                  </p:stCondLst>
                                  <p:childTnLst>
                                    <p:set>
                                      <p:cBhvr>
                                        <p:cTn dur="1" fill="hold" id="24">
                                          <p:stCondLst>
                                            <p:cond delay="0"/>
                                          </p:stCondLst>
                                        </p:cTn>
                                        <p:tgtEl>
                                          <p:spTgt spid="18"/>
                                        </p:tgtEl>
                                        <p:attrNameLst>
                                          <p:attrName>style.visibility</p:attrName>
                                        </p:attrNameLst>
                                      </p:cBhvr>
                                      <p:to>
                                        <p:strVal val="visible"/>
                                      </p:to>
                                    </p:set>
                                    <p:animEffect filter="wipe(right)" transition="in">
                                      <p:cBhvr>
                                        <p:cTn dur="250" id="25"/>
                                        <p:tgtEl>
                                          <p:spTgt spid="18"/>
                                        </p:tgtEl>
                                      </p:cBhvr>
                                    </p:animEffect>
                                  </p:childTnLst>
                                </p:cTn>
                              </p:par>
                            </p:childTnLst>
                          </p:cTn>
                        </p:par>
                        <p:par>
                          <p:cTn fill="hold" id="26" nodeType="afterGroup">
                            <p:stCondLst>
                              <p:cond delay="1000"/>
                            </p:stCondLst>
                            <p:childTnLst>
                              <p:par>
                                <p:cTn fill="hold" id="27" nodeType="afterEffect" presetClass="entr" presetID="2" presetSubtype="2">
                                  <p:stCondLst>
                                    <p:cond delay="0"/>
                                  </p:stCondLst>
                                  <p:childTnLst>
                                    <p:set>
                                      <p:cBhvr>
                                        <p:cTn dur="1" fill="hold" id="28">
                                          <p:stCondLst>
                                            <p:cond delay="0"/>
                                          </p:stCondLst>
                                        </p:cTn>
                                        <p:tgtEl>
                                          <p:spTgt spid="96"/>
                                        </p:tgtEl>
                                        <p:attrNameLst>
                                          <p:attrName>style.visibility</p:attrName>
                                        </p:attrNameLst>
                                      </p:cBhvr>
                                      <p:to>
                                        <p:strVal val="visible"/>
                                      </p:to>
                                    </p:set>
                                    <p:anim calcmode="lin" valueType="num">
                                      <p:cBhvr additive="base">
                                        <p:cTn dur="1000" fill="hold" id="29"/>
                                        <p:tgtEl>
                                          <p:spTgt spid="96"/>
                                        </p:tgtEl>
                                        <p:attrNameLst>
                                          <p:attrName>ppt_x</p:attrName>
                                        </p:attrNameLst>
                                      </p:cBhvr>
                                      <p:tavLst>
                                        <p:tav tm="0">
                                          <p:val>
                                            <p:strVal val="1+#ppt_w/2"/>
                                          </p:val>
                                        </p:tav>
                                        <p:tav tm="100000">
                                          <p:val>
                                            <p:strVal val="#ppt_x"/>
                                          </p:val>
                                        </p:tav>
                                      </p:tavLst>
                                    </p:anim>
                                    <p:anim calcmode="lin" valueType="num">
                                      <p:cBhvr additive="base">
                                        <p:cTn dur="1000" fill="hold" id="30"/>
                                        <p:tgtEl>
                                          <p:spTgt spid="96"/>
                                        </p:tgtEl>
                                        <p:attrNameLst>
                                          <p:attrName>ppt_y</p:attrName>
                                        </p:attrNameLst>
                                      </p:cBhvr>
                                      <p:tavLst>
                                        <p:tav tm="0">
                                          <p:val>
                                            <p:strVal val="#ppt_y"/>
                                          </p:val>
                                        </p:tav>
                                        <p:tav tm="100000">
                                          <p:val>
                                            <p:strVal val="#ppt_y"/>
                                          </p:val>
                                        </p:tav>
                                      </p:tavLst>
                                    </p:anim>
                                  </p:childTnLst>
                                </p:cTn>
                              </p:par>
                            </p:childTnLst>
                          </p:cTn>
                        </p:par>
                        <p:par>
                          <p:cTn fill="hold" id="31" nodeType="afterGroup">
                            <p:stCondLst>
                              <p:cond delay="2000"/>
                            </p:stCondLst>
                            <p:childTnLst>
                              <p:par>
                                <p:cTn fill="hold" grpId="0" id="32" nodeType="afterEffect" presetClass="entr" presetID="53" presetSubtype="0">
                                  <p:stCondLst>
                                    <p:cond delay="0"/>
                                  </p:stCondLst>
                                  <p:childTnLst>
                                    <p:set>
                                      <p:cBhvr>
                                        <p:cTn dur="1" fill="hold" id="33">
                                          <p:stCondLst>
                                            <p:cond delay="0"/>
                                          </p:stCondLst>
                                        </p:cTn>
                                        <p:tgtEl>
                                          <p:spTgt spid="59"/>
                                        </p:tgtEl>
                                        <p:attrNameLst>
                                          <p:attrName>style.visibility</p:attrName>
                                        </p:attrNameLst>
                                      </p:cBhvr>
                                      <p:to>
                                        <p:strVal val="visible"/>
                                      </p:to>
                                    </p:set>
                                    <p:anim calcmode="lin" valueType="num">
                                      <p:cBhvr>
                                        <p:cTn dur="500" fill="hold" id="34"/>
                                        <p:tgtEl>
                                          <p:spTgt spid="59"/>
                                        </p:tgtEl>
                                        <p:attrNameLst>
                                          <p:attrName>ppt_w</p:attrName>
                                        </p:attrNameLst>
                                      </p:cBhvr>
                                      <p:tavLst>
                                        <p:tav tm="0">
                                          <p:val>
                                            <p:fltVal val="0"/>
                                          </p:val>
                                        </p:tav>
                                        <p:tav tm="100000">
                                          <p:val>
                                            <p:strVal val="#ppt_w"/>
                                          </p:val>
                                        </p:tav>
                                      </p:tavLst>
                                    </p:anim>
                                    <p:anim calcmode="lin" valueType="num">
                                      <p:cBhvr>
                                        <p:cTn dur="500" fill="hold" id="35"/>
                                        <p:tgtEl>
                                          <p:spTgt spid="59"/>
                                        </p:tgtEl>
                                        <p:attrNameLst>
                                          <p:attrName>ppt_h</p:attrName>
                                        </p:attrNameLst>
                                      </p:cBhvr>
                                      <p:tavLst>
                                        <p:tav tm="0">
                                          <p:val>
                                            <p:fltVal val="0"/>
                                          </p:val>
                                        </p:tav>
                                        <p:tav tm="100000">
                                          <p:val>
                                            <p:strVal val="#ppt_h"/>
                                          </p:val>
                                        </p:tav>
                                      </p:tavLst>
                                    </p:anim>
                                    <p:animEffect filter="fade" transition="in">
                                      <p:cBhvr>
                                        <p:cTn dur="500" id="36"/>
                                        <p:tgtEl>
                                          <p:spTgt spid="59"/>
                                        </p:tgtEl>
                                      </p:cBhvr>
                                    </p:animEffect>
                                  </p:childTnLst>
                                </p:cTn>
                              </p:par>
                              <p:par>
                                <p:cTn fill="hold" grpId="0" id="37" nodeType="withEffect" presetClass="entr" presetID="53" presetSubtype="0">
                                  <p:stCondLst>
                                    <p:cond delay="0"/>
                                  </p:stCondLst>
                                  <p:childTnLst>
                                    <p:set>
                                      <p:cBhvr>
                                        <p:cTn dur="1" fill="hold" id="38">
                                          <p:stCondLst>
                                            <p:cond delay="0"/>
                                          </p:stCondLst>
                                        </p:cTn>
                                        <p:tgtEl>
                                          <p:spTgt spid="60"/>
                                        </p:tgtEl>
                                        <p:attrNameLst>
                                          <p:attrName>style.visibility</p:attrName>
                                        </p:attrNameLst>
                                      </p:cBhvr>
                                      <p:to>
                                        <p:strVal val="visible"/>
                                      </p:to>
                                    </p:set>
                                    <p:anim calcmode="lin" valueType="num">
                                      <p:cBhvr>
                                        <p:cTn dur="500" fill="hold" id="39"/>
                                        <p:tgtEl>
                                          <p:spTgt spid="60"/>
                                        </p:tgtEl>
                                        <p:attrNameLst>
                                          <p:attrName>ppt_w</p:attrName>
                                        </p:attrNameLst>
                                      </p:cBhvr>
                                      <p:tavLst>
                                        <p:tav tm="0">
                                          <p:val>
                                            <p:fltVal val="0"/>
                                          </p:val>
                                        </p:tav>
                                        <p:tav tm="100000">
                                          <p:val>
                                            <p:strVal val="#ppt_w"/>
                                          </p:val>
                                        </p:tav>
                                      </p:tavLst>
                                    </p:anim>
                                    <p:anim calcmode="lin" valueType="num">
                                      <p:cBhvr>
                                        <p:cTn dur="500" fill="hold" id="40"/>
                                        <p:tgtEl>
                                          <p:spTgt spid="60"/>
                                        </p:tgtEl>
                                        <p:attrNameLst>
                                          <p:attrName>ppt_h</p:attrName>
                                        </p:attrNameLst>
                                      </p:cBhvr>
                                      <p:tavLst>
                                        <p:tav tm="0">
                                          <p:val>
                                            <p:fltVal val="0"/>
                                          </p:val>
                                        </p:tav>
                                        <p:tav tm="100000">
                                          <p:val>
                                            <p:strVal val="#ppt_h"/>
                                          </p:val>
                                        </p:tav>
                                      </p:tavLst>
                                    </p:anim>
                                    <p:animEffect filter="fade" transition="in">
                                      <p:cBhvr>
                                        <p:cTn dur="500" id="41"/>
                                        <p:tgtEl>
                                          <p:spTgt spid="60"/>
                                        </p:tgtEl>
                                      </p:cBhvr>
                                    </p:animEffect>
                                  </p:childTnLst>
                                </p:cTn>
                              </p:par>
                              <p:par>
                                <p:cTn fill="hold" grpId="0" id="42" nodeType="withEffect" presetClass="entr" presetID="53" presetSubtype="0">
                                  <p:stCondLst>
                                    <p:cond delay="0"/>
                                  </p:stCondLst>
                                  <p:childTnLst>
                                    <p:set>
                                      <p:cBhvr>
                                        <p:cTn dur="1" fill="hold" id="43">
                                          <p:stCondLst>
                                            <p:cond delay="0"/>
                                          </p:stCondLst>
                                        </p:cTn>
                                        <p:tgtEl>
                                          <p:spTgt spid="61"/>
                                        </p:tgtEl>
                                        <p:attrNameLst>
                                          <p:attrName>style.visibility</p:attrName>
                                        </p:attrNameLst>
                                      </p:cBhvr>
                                      <p:to>
                                        <p:strVal val="visible"/>
                                      </p:to>
                                    </p:set>
                                    <p:anim calcmode="lin" valueType="num">
                                      <p:cBhvr>
                                        <p:cTn dur="500" fill="hold" id="44"/>
                                        <p:tgtEl>
                                          <p:spTgt spid="61"/>
                                        </p:tgtEl>
                                        <p:attrNameLst>
                                          <p:attrName>ppt_w</p:attrName>
                                        </p:attrNameLst>
                                      </p:cBhvr>
                                      <p:tavLst>
                                        <p:tav tm="0">
                                          <p:val>
                                            <p:fltVal val="0"/>
                                          </p:val>
                                        </p:tav>
                                        <p:tav tm="100000">
                                          <p:val>
                                            <p:strVal val="#ppt_w"/>
                                          </p:val>
                                        </p:tav>
                                      </p:tavLst>
                                    </p:anim>
                                    <p:anim calcmode="lin" valueType="num">
                                      <p:cBhvr>
                                        <p:cTn dur="500" fill="hold" id="45"/>
                                        <p:tgtEl>
                                          <p:spTgt spid="61"/>
                                        </p:tgtEl>
                                        <p:attrNameLst>
                                          <p:attrName>ppt_h</p:attrName>
                                        </p:attrNameLst>
                                      </p:cBhvr>
                                      <p:tavLst>
                                        <p:tav tm="0">
                                          <p:val>
                                            <p:fltVal val="0"/>
                                          </p:val>
                                        </p:tav>
                                        <p:tav tm="100000">
                                          <p:val>
                                            <p:strVal val="#ppt_h"/>
                                          </p:val>
                                        </p:tav>
                                      </p:tavLst>
                                    </p:anim>
                                    <p:animEffect filter="fade" transition="in">
                                      <p:cBhvr>
                                        <p:cTn dur="500" id="46"/>
                                        <p:tgtEl>
                                          <p:spTgt spid="61"/>
                                        </p:tgtEl>
                                      </p:cBhvr>
                                    </p:animEffect>
                                  </p:childTnLst>
                                </p:cTn>
                              </p:par>
                              <p:par>
                                <p:cTn fill="hold" grpId="0" id="47" nodeType="withEffect" presetClass="entr" presetID="53" presetSubtype="0">
                                  <p:stCondLst>
                                    <p:cond delay="0"/>
                                  </p:stCondLst>
                                  <p:childTnLst>
                                    <p:set>
                                      <p:cBhvr>
                                        <p:cTn dur="1" fill="hold" id="48">
                                          <p:stCondLst>
                                            <p:cond delay="0"/>
                                          </p:stCondLst>
                                        </p:cTn>
                                        <p:tgtEl>
                                          <p:spTgt spid="62"/>
                                        </p:tgtEl>
                                        <p:attrNameLst>
                                          <p:attrName>style.visibility</p:attrName>
                                        </p:attrNameLst>
                                      </p:cBhvr>
                                      <p:to>
                                        <p:strVal val="visible"/>
                                      </p:to>
                                    </p:set>
                                    <p:anim calcmode="lin" valueType="num">
                                      <p:cBhvr>
                                        <p:cTn dur="500" fill="hold" id="49"/>
                                        <p:tgtEl>
                                          <p:spTgt spid="62"/>
                                        </p:tgtEl>
                                        <p:attrNameLst>
                                          <p:attrName>ppt_w</p:attrName>
                                        </p:attrNameLst>
                                      </p:cBhvr>
                                      <p:tavLst>
                                        <p:tav tm="0">
                                          <p:val>
                                            <p:fltVal val="0"/>
                                          </p:val>
                                        </p:tav>
                                        <p:tav tm="100000">
                                          <p:val>
                                            <p:strVal val="#ppt_w"/>
                                          </p:val>
                                        </p:tav>
                                      </p:tavLst>
                                    </p:anim>
                                    <p:anim calcmode="lin" valueType="num">
                                      <p:cBhvr>
                                        <p:cTn dur="500" fill="hold" id="50"/>
                                        <p:tgtEl>
                                          <p:spTgt spid="62"/>
                                        </p:tgtEl>
                                        <p:attrNameLst>
                                          <p:attrName>ppt_h</p:attrName>
                                        </p:attrNameLst>
                                      </p:cBhvr>
                                      <p:tavLst>
                                        <p:tav tm="0">
                                          <p:val>
                                            <p:fltVal val="0"/>
                                          </p:val>
                                        </p:tav>
                                        <p:tav tm="100000">
                                          <p:val>
                                            <p:strVal val="#ppt_h"/>
                                          </p:val>
                                        </p:tav>
                                      </p:tavLst>
                                    </p:anim>
                                    <p:animEffect filter="fade" transition="in">
                                      <p:cBhvr>
                                        <p:cTn dur="500" id="51"/>
                                        <p:tgtEl>
                                          <p:spTgt spid="62"/>
                                        </p:tgtEl>
                                      </p:cBhvr>
                                    </p:animEffect>
                                  </p:childTnLst>
                                </p:cTn>
                              </p:par>
                              <p:par>
                                <p:cTn fill="hold" grpId="0" id="52" nodeType="withEffect" presetClass="entr" presetID="53" presetSubtype="0">
                                  <p:stCondLst>
                                    <p:cond delay="0"/>
                                  </p:stCondLst>
                                  <p:childTnLst>
                                    <p:set>
                                      <p:cBhvr>
                                        <p:cTn dur="1" fill="hold" id="53">
                                          <p:stCondLst>
                                            <p:cond delay="0"/>
                                          </p:stCondLst>
                                        </p:cTn>
                                        <p:tgtEl>
                                          <p:spTgt spid="63"/>
                                        </p:tgtEl>
                                        <p:attrNameLst>
                                          <p:attrName>style.visibility</p:attrName>
                                        </p:attrNameLst>
                                      </p:cBhvr>
                                      <p:to>
                                        <p:strVal val="visible"/>
                                      </p:to>
                                    </p:set>
                                    <p:anim calcmode="lin" valueType="num">
                                      <p:cBhvr>
                                        <p:cTn dur="500" fill="hold" id="54"/>
                                        <p:tgtEl>
                                          <p:spTgt spid="63"/>
                                        </p:tgtEl>
                                        <p:attrNameLst>
                                          <p:attrName>ppt_w</p:attrName>
                                        </p:attrNameLst>
                                      </p:cBhvr>
                                      <p:tavLst>
                                        <p:tav tm="0">
                                          <p:val>
                                            <p:fltVal val="0"/>
                                          </p:val>
                                        </p:tav>
                                        <p:tav tm="100000">
                                          <p:val>
                                            <p:strVal val="#ppt_w"/>
                                          </p:val>
                                        </p:tav>
                                      </p:tavLst>
                                    </p:anim>
                                    <p:anim calcmode="lin" valueType="num">
                                      <p:cBhvr>
                                        <p:cTn dur="500" fill="hold" id="55"/>
                                        <p:tgtEl>
                                          <p:spTgt spid="63"/>
                                        </p:tgtEl>
                                        <p:attrNameLst>
                                          <p:attrName>ppt_h</p:attrName>
                                        </p:attrNameLst>
                                      </p:cBhvr>
                                      <p:tavLst>
                                        <p:tav tm="0">
                                          <p:val>
                                            <p:fltVal val="0"/>
                                          </p:val>
                                        </p:tav>
                                        <p:tav tm="100000">
                                          <p:val>
                                            <p:strVal val="#ppt_h"/>
                                          </p:val>
                                        </p:tav>
                                      </p:tavLst>
                                    </p:anim>
                                    <p:animEffect filter="fade" transition="in">
                                      <p:cBhvr>
                                        <p:cTn dur="500" id="56"/>
                                        <p:tgtEl>
                                          <p:spTgt spid="63"/>
                                        </p:tgtEl>
                                      </p:cBhvr>
                                    </p:animEffect>
                                  </p:childTnLst>
                                </p:cTn>
                              </p:par>
                              <p:par>
                                <p:cTn fill="hold" id="57" nodeType="withEffect" presetClass="entr" presetID="53" presetSubtype="0">
                                  <p:stCondLst>
                                    <p:cond delay="0"/>
                                  </p:stCondLst>
                                  <p:childTnLst>
                                    <p:set>
                                      <p:cBhvr>
                                        <p:cTn dur="1" fill="hold" id="58">
                                          <p:stCondLst>
                                            <p:cond delay="0"/>
                                          </p:stCondLst>
                                        </p:cTn>
                                        <p:tgtEl>
                                          <p:spTgt spid="99"/>
                                        </p:tgtEl>
                                        <p:attrNameLst>
                                          <p:attrName>style.visibility</p:attrName>
                                        </p:attrNameLst>
                                      </p:cBhvr>
                                      <p:to>
                                        <p:strVal val="visible"/>
                                      </p:to>
                                    </p:set>
                                    <p:anim calcmode="lin" valueType="num">
                                      <p:cBhvr>
                                        <p:cTn dur="500" fill="hold" id="59"/>
                                        <p:tgtEl>
                                          <p:spTgt spid="99"/>
                                        </p:tgtEl>
                                        <p:attrNameLst>
                                          <p:attrName>ppt_w</p:attrName>
                                        </p:attrNameLst>
                                      </p:cBhvr>
                                      <p:tavLst>
                                        <p:tav tm="0">
                                          <p:val>
                                            <p:fltVal val="0"/>
                                          </p:val>
                                        </p:tav>
                                        <p:tav tm="100000">
                                          <p:val>
                                            <p:strVal val="#ppt_w"/>
                                          </p:val>
                                        </p:tav>
                                      </p:tavLst>
                                    </p:anim>
                                    <p:anim calcmode="lin" valueType="num">
                                      <p:cBhvr>
                                        <p:cTn dur="500" fill="hold" id="60"/>
                                        <p:tgtEl>
                                          <p:spTgt spid="99"/>
                                        </p:tgtEl>
                                        <p:attrNameLst>
                                          <p:attrName>ppt_h</p:attrName>
                                        </p:attrNameLst>
                                      </p:cBhvr>
                                      <p:tavLst>
                                        <p:tav tm="0">
                                          <p:val>
                                            <p:fltVal val="0"/>
                                          </p:val>
                                        </p:tav>
                                        <p:tav tm="100000">
                                          <p:val>
                                            <p:strVal val="#ppt_h"/>
                                          </p:val>
                                        </p:tav>
                                      </p:tavLst>
                                    </p:anim>
                                    <p:animEffect filter="fade" transition="in">
                                      <p:cBhvr>
                                        <p:cTn dur="500" id="61"/>
                                        <p:tgtEl>
                                          <p:spTgt spid="99"/>
                                        </p:tgtEl>
                                      </p:cBhvr>
                                    </p:animEffect>
                                  </p:childTnLst>
                                </p:cTn>
                              </p:par>
                              <p:par>
                                <p:cTn fill="hold" id="62" nodeType="withEffect" presetClass="entr" presetID="53" presetSubtype="0">
                                  <p:stCondLst>
                                    <p:cond delay="0"/>
                                  </p:stCondLst>
                                  <p:childTnLst>
                                    <p:set>
                                      <p:cBhvr>
                                        <p:cTn dur="1" fill="hold" id="63">
                                          <p:stCondLst>
                                            <p:cond delay="0"/>
                                          </p:stCondLst>
                                        </p:cTn>
                                        <p:tgtEl>
                                          <p:spTgt spid="97"/>
                                        </p:tgtEl>
                                        <p:attrNameLst>
                                          <p:attrName>style.visibility</p:attrName>
                                        </p:attrNameLst>
                                      </p:cBhvr>
                                      <p:to>
                                        <p:strVal val="visible"/>
                                      </p:to>
                                    </p:set>
                                    <p:anim calcmode="lin" valueType="num">
                                      <p:cBhvr>
                                        <p:cTn dur="500" fill="hold" id="64"/>
                                        <p:tgtEl>
                                          <p:spTgt spid="97"/>
                                        </p:tgtEl>
                                        <p:attrNameLst>
                                          <p:attrName>ppt_w</p:attrName>
                                        </p:attrNameLst>
                                      </p:cBhvr>
                                      <p:tavLst>
                                        <p:tav tm="0">
                                          <p:val>
                                            <p:fltVal val="0"/>
                                          </p:val>
                                        </p:tav>
                                        <p:tav tm="100000">
                                          <p:val>
                                            <p:strVal val="#ppt_w"/>
                                          </p:val>
                                        </p:tav>
                                      </p:tavLst>
                                    </p:anim>
                                    <p:anim calcmode="lin" valueType="num">
                                      <p:cBhvr>
                                        <p:cTn dur="500" fill="hold" id="65"/>
                                        <p:tgtEl>
                                          <p:spTgt spid="97"/>
                                        </p:tgtEl>
                                        <p:attrNameLst>
                                          <p:attrName>ppt_h</p:attrName>
                                        </p:attrNameLst>
                                      </p:cBhvr>
                                      <p:tavLst>
                                        <p:tav tm="0">
                                          <p:val>
                                            <p:fltVal val="0"/>
                                          </p:val>
                                        </p:tav>
                                        <p:tav tm="100000">
                                          <p:val>
                                            <p:strVal val="#ppt_h"/>
                                          </p:val>
                                        </p:tav>
                                      </p:tavLst>
                                    </p:anim>
                                    <p:animEffect filter="fade" transition="in">
                                      <p:cBhvr>
                                        <p:cTn dur="500" id="66"/>
                                        <p:tgtEl>
                                          <p:spTgt spid="97"/>
                                        </p:tgtEl>
                                      </p:cBhvr>
                                    </p:animEffect>
                                  </p:childTnLst>
                                </p:cTn>
                              </p:par>
                              <p:par>
                                <p:cTn fill="hold" id="67" nodeType="withEffect" presetClass="entr" presetID="53" presetSubtype="0">
                                  <p:stCondLst>
                                    <p:cond delay="0"/>
                                  </p:stCondLst>
                                  <p:childTnLst>
                                    <p:set>
                                      <p:cBhvr>
                                        <p:cTn dur="1" fill="hold" id="68">
                                          <p:stCondLst>
                                            <p:cond delay="0"/>
                                          </p:stCondLst>
                                        </p:cTn>
                                        <p:tgtEl>
                                          <p:spTgt spid="98"/>
                                        </p:tgtEl>
                                        <p:attrNameLst>
                                          <p:attrName>style.visibility</p:attrName>
                                        </p:attrNameLst>
                                      </p:cBhvr>
                                      <p:to>
                                        <p:strVal val="visible"/>
                                      </p:to>
                                    </p:set>
                                    <p:anim calcmode="lin" valueType="num">
                                      <p:cBhvr>
                                        <p:cTn dur="500" fill="hold" id="69"/>
                                        <p:tgtEl>
                                          <p:spTgt spid="98"/>
                                        </p:tgtEl>
                                        <p:attrNameLst>
                                          <p:attrName>ppt_w</p:attrName>
                                        </p:attrNameLst>
                                      </p:cBhvr>
                                      <p:tavLst>
                                        <p:tav tm="0">
                                          <p:val>
                                            <p:fltVal val="0"/>
                                          </p:val>
                                        </p:tav>
                                        <p:tav tm="100000">
                                          <p:val>
                                            <p:strVal val="#ppt_w"/>
                                          </p:val>
                                        </p:tav>
                                      </p:tavLst>
                                    </p:anim>
                                    <p:anim calcmode="lin" valueType="num">
                                      <p:cBhvr>
                                        <p:cTn dur="500" fill="hold" id="70"/>
                                        <p:tgtEl>
                                          <p:spTgt spid="98"/>
                                        </p:tgtEl>
                                        <p:attrNameLst>
                                          <p:attrName>ppt_h</p:attrName>
                                        </p:attrNameLst>
                                      </p:cBhvr>
                                      <p:tavLst>
                                        <p:tav tm="0">
                                          <p:val>
                                            <p:fltVal val="0"/>
                                          </p:val>
                                        </p:tav>
                                        <p:tav tm="100000">
                                          <p:val>
                                            <p:strVal val="#ppt_h"/>
                                          </p:val>
                                        </p:tav>
                                      </p:tavLst>
                                    </p:anim>
                                    <p:animEffect filter="fade" transition="in">
                                      <p:cBhvr>
                                        <p:cTn dur="500" id="71"/>
                                        <p:tgtEl>
                                          <p:spTgt spid="98"/>
                                        </p:tgtEl>
                                      </p:cBhvr>
                                    </p:animEffect>
                                  </p:childTnLst>
                                </p:cTn>
                              </p:par>
                            </p:childTnLst>
                          </p:cTn>
                        </p:par>
                        <p:par>
                          <p:cTn fill="hold" id="72" nodeType="afterGroup">
                            <p:stCondLst>
                              <p:cond delay="2500"/>
                            </p:stCondLst>
                            <p:childTnLst>
                              <p:par>
                                <p:cTn fill="hold" grpId="0" id="73" nodeType="afterEffect" presetClass="entr" presetID="14" presetSubtype="10">
                                  <p:stCondLst>
                                    <p:cond delay="0"/>
                                  </p:stCondLst>
                                  <p:childTnLst>
                                    <p:set>
                                      <p:cBhvr>
                                        <p:cTn dur="1" fill="hold" id="74">
                                          <p:stCondLst>
                                            <p:cond delay="0"/>
                                          </p:stCondLst>
                                        </p:cTn>
                                        <p:tgtEl>
                                          <p:spTgt spid="86"/>
                                        </p:tgtEl>
                                        <p:attrNameLst>
                                          <p:attrName>style.visibility</p:attrName>
                                        </p:attrNameLst>
                                      </p:cBhvr>
                                      <p:to>
                                        <p:strVal val="visible"/>
                                      </p:to>
                                    </p:set>
                                    <p:animEffect filter="randombar(horizontal)" transition="in">
                                      <p:cBhvr>
                                        <p:cTn dur="500" id="75"/>
                                        <p:tgtEl>
                                          <p:spTgt spid="86"/>
                                        </p:tgtEl>
                                      </p:cBhvr>
                                    </p:animEffect>
                                  </p:childTnLst>
                                </p:cTn>
                              </p:par>
                            </p:childTnLst>
                          </p:cTn>
                        </p:par>
                        <p:par>
                          <p:cTn fill="hold" id="76" nodeType="afterGroup">
                            <p:stCondLst>
                              <p:cond delay="3000"/>
                            </p:stCondLst>
                            <p:childTnLst>
                              <p:par>
                                <p:cTn fill="hold" grpId="0" id="77" nodeType="afterEffect" presetClass="entr" presetID="53" presetSubtype="0">
                                  <p:stCondLst>
                                    <p:cond delay="0"/>
                                  </p:stCondLst>
                                  <p:childTnLst>
                                    <p:set>
                                      <p:cBhvr>
                                        <p:cTn dur="1" fill="hold" id="78">
                                          <p:stCondLst>
                                            <p:cond delay="0"/>
                                          </p:stCondLst>
                                        </p:cTn>
                                        <p:tgtEl>
                                          <p:spTgt spid="6"/>
                                        </p:tgtEl>
                                        <p:attrNameLst>
                                          <p:attrName>style.visibility</p:attrName>
                                        </p:attrNameLst>
                                      </p:cBhvr>
                                      <p:to>
                                        <p:strVal val="visible"/>
                                      </p:to>
                                    </p:set>
                                    <p:anim calcmode="lin" valueType="num">
                                      <p:cBhvr>
                                        <p:cTn dur="500" fill="hold" id="79"/>
                                        <p:tgtEl>
                                          <p:spTgt spid="6"/>
                                        </p:tgtEl>
                                        <p:attrNameLst>
                                          <p:attrName>ppt_w</p:attrName>
                                        </p:attrNameLst>
                                      </p:cBhvr>
                                      <p:tavLst>
                                        <p:tav tm="0">
                                          <p:val>
                                            <p:fltVal val="0"/>
                                          </p:val>
                                        </p:tav>
                                        <p:tav tm="100000">
                                          <p:val>
                                            <p:strVal val="#ppt_w"/>
                                          </p:val>
                                        </p:tav>
                                      </p:tavLst>
                                    </p:anim>
                                    <p:anim calcmode="lin" valueType="num">
                                      <p:cBhvr>
                                        <p:cTn dur="500" fill="hold" id="80"/>
                                        <p:tgtEl>
                                          <p:spTgt spid="6"/>
                                        </p:tgtEl>
                                        <p:attrNameLst>
                                          <p:attrName>ppt_h</p:attrName>
                                        </p:attrNameLst>
                                      </p:cBhvr>
                                      <p:tavLst>
                                        <p:tav tm="0">
                                          <p:val>
                                            <p:fltVal val="0"/>
                                          </p:val>
                                        </p:tav>
                                        <p:tav tm="100000">
                                          <p:val>
                                            <p:strVal val="#ppt_h"/>
                                          </p:val>
                                        </p:tav>
                                      </p:tavLst>
                                    </p:anim>
                                    <p:animEffect filter="fade" transition="in">
                                      <p:cBhvr>
                                        <p:cTn dur="500" id="81"/>
                                        <p:tgtEl>
                                          <p:spTgt spid="6"/>
                                        </p:tgtEl>
                                      </p:cBhvr>
                                    </p:animEffect>
                                  </p:childTnLst>
                                </p:cTn>
                              </p:par>
                            </p:childTnLst>
                          </p:cTn>
                        </p:par>
                        <p:par>
                          <p:cTn fill="hold" id="82" nodeType="afterGroup">
                            <p:stCondLst>
                              <p:cond delay="3500"/>
                            </p:stCondLst>
                            <p:childTnLst>
                              <p:par>
                                <p:cTn fill="hold" id="83" nodeType="afterEffect" presetClass="entr" presetID="22" presetSubtype="2">
                                  <p:stCondLst>
                                    <p:cond delay="0"/>
                                  </p:stCondLst>
                                  <p:childTnLst>
                                    <p:set>
                                      <p:cBhvr>
                                        <p:cTn dur="1" fill="hold" id="84">
                                          <p:stCondLst>
                                            <p:cond delay="0"/>
                                          </p:stCondLst>
                                        </p:cTn>
                                        <p:tgtEl>
                                          <p:spTgt spid="89"/>
                                        </p:tgtEl>
                                        <p:attrNameLst>
                                          <p:attrName>style.visibility</p:attrName>
                                        </p:attrNameLst>
                                      </p:cBhvr>
                                      <p:to>
                                        <p:strVal val="visible"/>
                                      </p:to>
                                    </p:set>
                                    <p:animEffect filter="wipe(right)" transition="in">
                                      <p:cBhvr>
                                        <p:cTn dur="500" id="85"/>
                                        <p:tgtEl>
                                          <p:spTgt spid="89"/>
                                        </p:tgtEl>
                                      </p:cBhvr>
                                    </p:animEffect>
                                  </p:childTnLst>
                                </p:cTn>
                              </p:par>
                            </p:childTnLst>
                          </p:cTn>
                        </p:par>
                        <p:par>
                          <p:cTn fill="hold" id="86" nodeType="afterGroup">
                            <p:stCondLst>
                              <p:cond delay="4000"/>
                            </p:stCondLst>
                            <p:childTnLst>
                              <p:par>
                                <p:cTn fill="hold" grpId="0" id="87" nodeType="afterEffect" presetClass="entr" presetID="53" presetSubtype="0">
                                  <p:stCondLst>
                                    <p:cond delay="0"/>
                                  </p:stCondLst>
                                  <p:childTnLst>
                                    <p:set>
                                      <p:cBhvr>
                                        <p:cTn dur="1" fill="hold" id="88">
                                          <p:stCondLst>
                                            <p:cond delay="0"/>
                                          </p:stCondLst>
                                        </p:cTn>
                                        <p:tgtEl>
                                          <p:spTgt spid="74"/>
                                        </p:tgtEl>
                                        <p:attrNameLst>
                                          <p:attrName>style.visibility</p:attrName>
                                        </p:attrNameLst>
                                      </p:cBhvr>
                                      <p:to>
                                        <p:strVal val="visible"/>
                                      </p:to>
                                    </p:set>
                                    <p:anim calcmode="lin" valueType="num">
                                      <p:cBhvr>
                                        <p:cTn dur="500" fill="hold" id="89"/>
                                        <p:tgtEl>
                                          <p:spTgt spid="74"/>
                                        </p:tgtEl>
                                        <p:attrNameLst>
                                          <p:attrName>ppt_w</p:attrName>
                                        </p:attrNameLst>
                                      </p:cBhvr>
                                      <p:tavLst>
                                        <p:tav tm="0">
                                          <p:val>
                                            <p:fltVal val="0"/>
                                          </p:val>
                                        </p:tav>
                                        <p:tav tm="100000">
                                          <p:val>
                                            <p:strVal val="#ppt_w"/>
                                          </p:val>
                                        </p:tav>
                                      </p:tavLst>
                                    </p:anim>
                                    <p:anim calcmode="lin" valueType="num">
                                      <p:cBhvr>
                                        <p:cTn dur="500" fill="hold" id="90"/>
                                        <p:tgtEl>
                                          <p:spTgt spid="74"/>
                                        </p:tgtEl>
                                        <p:attrNameLst>
                                          <p:attrName>ppt_h</p:attrName>
                                        </p:attrNameLst>
                                      </p:cBhvr>
                                      <p:tavLst>
                                        <p:tav tm="0">
                                          <p:val>
                                            <p:fltVal val="0"/>
                                          </p:val>
                                        </p:tav>
                                        <p:tav tm="100000">
                                          <p:val>
                                            <p:strVal val="#ppt_h"/>
                                          </p:val>
                                        </p:tav>
                                      </p:tavLst>
                                    </p:anim>
                                    <p:animEffect filter="fade" transition="in">
                                      <p:cBhvr>
                                        <p:cTn dur="500" id="91"/>
                                        <p:tgtEl>
                                          <p:spTgt spid="74"/>
                                        </p:tgtEl>
                                      </p:cBhvr>
                                    </p:animEffect>
                                  </p:childTnLst>
                                </p:cTn>
                              </p:par>
                              <p:par>
                                <p:cTn fill="hold" id="92" nodeType="withEffect" presetClass="entr" presetID="10" presetSubtype="0">
                                  <p:stCondLst>
                                    <p:cond delay="250"/>
                                  </p:stCondLst>
                                  <p:childTnLst>
                                    <p:set>
                                      <p:cBhvr>
                                        <p:cTn dur="1" fill="hold" id="93">
                                          <p:stCondLst>
                                            <p:cond delay="0"/>
                                          </p:stCondLst>
                                        </p:cTn>
                                        <p:tgtEl>
                                          <p:spTgt spid="75"/>
                                        </p:tgtEl>
                                        <p:attrNameLst>
                                          <p:attrName>style.visibility</p:attrName>
                                        </p:attrNameLst>
                                      </p:cBhvr>
                                      <p:to>
                                        <p:strVal val="visible"/>
                                      </p:to>
                                    </p:set>
                                    <p:animEffect filter="fade" transition="in">
                                      <p:cBhvr>
                                        <p:cTn dur="500" id="94"/>
                                        <p:tgtEl>
                                          <p:spTgt spid="75"/>
                                        </p:tgtEl>
                                      </p:cBhvr>
                                    </p:animEffect>
                                  </p:childTnLst>
                                </p:cTn>
                              </p:par>
                            </p:childTnLst>
                          </p:cTn>
                        </p:par>
                        <p:par>
                          <p:cTn fill="hold" id="95" nodeType="afterGroup">
                            <p:stCondLst>
                              <p:cond delay="4750"/>
                            </p:stCondLst>
                            <p:childTnLst>
                              <p:par>
                                <p:cTn fill="hold" id="96" nodeType="afterEffect" presetClass="entr" presetID="22" presetSubtype="2">
                                  <p:stCondLst>
                                    <p:cond delay="0"/>
                                  </p:stCondLst>
                                  <p:childTnLst>
                                    <p:set>
                                      <p:cBhvr>
                                        <p:cTn dur="1" fill="hold" id="97">
                                          <p:stCondLst>
                                            <p:cond delay="0"/>
                                          </p:stCondLst>
                                        </p:cTn>
                                        <p:tgtEl>
                                          <p:spTgt spid="93"/>
                                        </p:tgtEl>
                                        <p:attrNameLst>
                                          <p:attrName>style.visibility</p:attrName>
                                        </p:attrNameLst>
                                      </p:cBhvr>
                                      <p:to>
                                        <p:strVal val="visible"/>
                                      </p:to>
                                    </p:set>
                                    <p:animEffect filter="wipe(right)" transition="in">
                                      <p:cBhvr>
                                        <p:cTn dur="500" id="98"/>
                                        <p:tgtEl>
                                          <p:spTgt spid="93"/>
                                        </p:tgtEl>
                                      </p:cBhvr>
                                    </p:animEffect>
                                  </p:childTnLst>
                                </p:cTn>
                              </p:par>
                            </p:childTnLst>
                          </p:cTn>
                        </p:par>
                        <p:par>
                          <p:cTn fill="hold" id="99" nodeType="afterGroup">
                            <p:stCondLst>
                              <p:cond delay="5250"/>
                            </p:stCondLst>
                            <p:childTnLst>
                              <p:par>
                                <p:cTn fill="hold" grpId="0" id="100" nodeType="afterEffect" presetClass="entr" presetID="53" presetSubtype="0">
                                  <p:stCondLst>
                                    <p:cond delay="0"/>
                                  </p:stCondLst>
                                  <p:childTnLst>
                                    <p:set>
                                      <p:cBhvr>
                                        <p:cTn dur="1" fill="hold" id="101">
                                          <p:stCondLst>
                                            <p:cond delay="0"/>
                                          </p:stCondLst>
                                        </p:cTn>
                                        <p:tgtEl>
                                          <p:spTgt spid="78"/>
                                        </p:tgtEl>
                                        <p:attrNameLst>
                                          <p:attrName>style.visibility</p:attrName>
                                        </p:attrNameLst>
                                      </p:cBhvr>
                                      <p:to>
                                        <p:strVal val="visible"/>
                                      </p:to>
                                    </p:set>
                                    <p:anim calcmode="lin" valueType="num">
                                      <p:cBhvr>
                                        <p:cTn dur="500" fill="hold" id="102"/>
                                        <p:tgtEl>
                                          <p:spTgt spid="78"/>
                                        </p:tgtEl>
                                        <p:attrNameLst>
                                          <p:attrName>ppt_w</p:attrName>
                                        </p:attrNameLst>
                                      </p:cBhvr>
                                      <p:tavLst>
                                        <p:tav tm="0">
                                          <p:val>
                                            <p:fltVal val="0"/>
                                          </p:val>
                                        </p:tav>
                                        <p:tav tm="100000">
                                          <p:val>
                                            <p:strVal val="#ppt_w"/>
                                          </p:val>
                                        </p:tav>
                                      </p:tavLst>
                                    </p:anim>
                                    <p:anim calcmode="lin" valueType="num">
                                      <p:cBhvr>
                                        <p:cTn dur="500" fill="hold" id="103"/>
                                        <p:tgtEl>
                                          <p:spTgt spid="78"/>
                                        </p:tgtEl>
                                        <p:attrNameLst>
                                          <p:attrName>ppt_h</p:attrName>
                                        </p:attrNameLst>
                                      </p:cBhvr>
                                      <p:tavLst>
                                        <p:tav tm="0">
                                          <p:val>
                                            <p:fltVal val="0"/>
                                          </p:val>
                                        </p:tav>
                                        <p:tav tm="100000">
                                          <p:val>
                                            <p:strVal val="#ppt_h"/>
                                          </p:val>
                                        </p:tav>
                                      </p:tavLst>
                                    </p:anim>
                                    <p:animEffect filter="fade" transition="in">
                                      <p:cBhvr>
                                        <p:cTn dur="500" id="104"/>
                                        <p:tgtEl>
                                          <p:spTgt spid="78"/>
                                        </p:tgtEl>
                                      </p:cBhvr>
                                    </p:animEffect>
                                  </p:childTnLst>
                                </p:cTn>
                              </p:par>
                              <p:par>
                                <p:cTn fill="hold" id="105" nodeType="withEffect" presetClass="entr" presetID="10" presetSubtype="0">
                                  <p:stCondLst>
                                    <p:cond delay="250"/>
                                  </p:stCondLst>
                                  <p:childTnLst>
                                    <p:set>
                                      <p:cBhvr>
                                        <p:cTn dur="1" fill="hold" id="106">
                                          <p:stCondLst>
                                            <p:cond delay="0"/>
                                          </p:stCondLst>
                                        </p:cTn>
                                        <p:tgtEl>
                                          <p:spTgt spid="79"/>
                                        </p:tgtEl>
                                        <p:attrNameLst>
                                          <p:attrName>style.visibility</p:attrName>
                                        </p:attrNameLst>
                                      </p:cBhvr>
                                      <p:to>
                                        <p:strVal val="visible"/>
                                      </p:to>
                                    </p:set>
                                    <p:animEffect filter="fade" transition="in">
                                      <p:cBhvr>
                                        <p:cTn dur="500" id="107"/>
                                        <p:tgtEl>
                                          <p:spTgt spid="79"/>
                                        </p:tgtEl>
                                      </p:cBhvr>
                                    </p:animEffect>
                                  </p:childTnLst>
                                </p:cTn>
                              </p:par>
                            </p:childTnLst>
                          </p:cTn>
                        </p:par>
                        <p:par>
                          <p:cTn fill="hold" id="108" nodeType="afterGroup">
                            <p:stCondLst>
                              <p:cond delay="6000"/>
                            </p:stCondLst>
                            <p:childTnLst>
                              <p:par>
                                <p:cTn fill="hold" id="109" nodeType="afterEffect" presetClass="entr" presetID="22" presetSubtype="2">
                                  <p:stCondLst>
                                    <p:cond delay="0"/>
                                  </p:stCondLst>
                                  <p:childTnLst>
                                    <p:set>
                                      <p:cBhvr>
                                        <p:cTn dur="1" fill="hold" id="110">
                                          <p:stCondLst>
                                            <p:cond delay="0"/>
                                          </p:stCondLst>
                                        </p:cTn>
                                        <p:tgtEl>
                                          <p:spTgt spid="90"/>
                                        </p:tgtEl>
                                        <p:attrNameLst>
                                          <p:attrName>style.visibility</p:attrName>
                                        </p:attrNameLst>
                                      </p:cBhvr>
                                      <p:to>
                                        <p:strVal val="visible"/>
                                      </p:to>
                                    </p:set>
                                    <p:animEffect filter="wipe(right)" transition="in">
                                      <p:cBhvr>
                                        <p:cTn dur="500" id="111"/>
                                        <p:tgtEl>
                                          <p:spTgt spid="90"/>
                                        </p:tgtEl>
                                      </p:cBhvr>
                                    </p:animEffect>
                                  </p:childTnLst>
                                </p:cTn>
                              </p:par>
                            </p:childTnLst>
                          </p:cTn>
                        </p:par>
                        <p:par>
                          <p:cTn fill="hold" id="112" nodeType="afterGroup">
                            <p:stCondLst>
                              <p:cond delay="6500"/>
                            </p:stCondLst>
                            <p:childTnLst>
                              <p:par>
                                <p:cTn fill="hold" grpId="0" id="113" nodeType="afterEffect" presetClass="entr" presetID="53" presetSubtype="0">
                                  <p:stCondLst>
                                    <p:cond delay="0"/>
                                  </p:stCondLst>
                                  <p:childTnLst>
                                    <p:set>
                                      <p:cBhvr>
                                        <p:cTn dur="1" fill="hold" id="114">
                                          <p:stCondLst>
                                            <p:cond delay="0"/>
                                          </p:stCondLst>
                                        </p:cTn>
                                        <p:tgtEl>
                                          <p:spTgt spid="82"/>
                                        </p:tgtEl>
                                        <p:attrNameLst>
                                          <p:attrName>style.visibility</p:attrName>
                                        </p:attrNameLst>
                                      </p:cBhvr>
                                      <p:to>
                                        <p:strVal val="visible"/>
                                      </p:to>
                                    </p:set>
                                    <p:anim calcmode="lin" valueType="num">
                                      <p:cBhvr>
                                        <p:cTn dur="500" fill="hold" id="115"/>
                                        <p:tgtEl>
                                          <p:spTgt spid="82"/>
                                        </p:tgtEl>
                                        <p:attrNameLst>
                                          <p:attrName>ppt_w</p:attrName>
                                        </p:attrNameLst>
                                      </p:cBhvr>
                                      <p:tavLst>
                                        <p:tav tm="0">
                                          <p:val>
                                            <p:fltVal val="0"/>
                                          </p:val>
                                        </p:tav>
                                        <p:tav tm="100000">
                                          <p:val>
                                            <p:strVal val="#ppt_w"/>
                                          </p:val>
                                        </p:tav>
                                      </p:tavLst>
                                    </p:anim>
                                    <p:anim calcmode="lin" valueType="num">
                                      <p:cBhvr>
                                        <p:cTn dur="500" fill="hold" id="116"/>
                                        <p:tgtEl>
                                          <p:spTgt spid="82"/>
                                        </p:tgtEl>
                                        <p:attrNameLst>
                                          <p:attrName>ppt_h</p:attrName>
                                        </p:attrNameLst>
                                      </p:cBhvr>
                                      <p:tavLst>
                                        <p:tav tm="0">
                                          <p:val>
                                            <p:fltVal val="0"/>
                                          </p:val>
                                        </p:tav>
                                        <p:tav tm="100000">
                                          <p:val>
                                            <p:strVal val="#ppt_h"/>
                                          </p:val>
                                        </p:tav>
                                      </p:tavLst>
                                    </p:anim>
                                    <p:animEffect filter="fade" transition="in">
                                      <p:cBhvr>
                                        <p:cTn dur="500" id="117"/>
                                        <p:tgtEl>
                                          <p:spTgt spid="82"/>
                                        </p:tgtEl>
                                      </p:cBhvr>
                                    </p:animEffect>
                                  </p:childTnLst>
                                </p:cTn>
                              </p:par>
                              <p:par>
                                <p:cTn fill="hold" id="118" nodeType="withEffect" presetClass="entr" presetID="10" presetSubtype="0">
                                  <p:stCondLst>
                                    <p:cond delay="250"/>
                                  </p:stCondLst>
                                  <p:childTnLst>
                                    <p:set>
                                      <p:cBhvr>
                                        <p:cTn dur="1" fill="hold" id="119">
                                          <p:stCondLst>
                                            <p:cond delay="0"/>
                                          </p:stCondLst>
                                        </p:cTn>
                                        <p:tgtEl>
                                          <p:spTgt spid="83"/>
                                        </p:tgtEl>
                                        <p:attrNameLst>
                                          <p:attrName>style.visibility</p:attrName>
                                        </p:attrNameLst>
                                      </p:cBhvr>
                                      <p:to>
                                        <p:strVal val="visible"/>
                                      </p:to>
                                    </p:set>
                                    <p:animEffect filter="fade" transition="in">
                                      <p:cBhvr>
                                        <p:cTn dur="500" id="120"/>
                                        <p:tgtEl>
                                          <p:spTgt spid="83"/>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10"/>
      <p:bldP grpId="0" spid="59"/>
      <p:bldP grpId="0" spid="60"/>
      <p:bldP grpId="0" spid="61"/>
      <p:bldP grpId="0" spid="62"/>
      <p:bldP grpId="0" spid="63"/>
      <p:bldP grpId="0" spid="6"/>
      <p:bldP grpId="0" spid="74"/>
      <p:bldP grpId="0" spid="78"/>
      <p:bldP grpId="0" spid="82"/>
      <p:bldP grpId="0" spid="86"/>
    </p:bldLst>
  </p:timing>
</p:sld>
</file>

<file path=ppt/slides/slide5.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7" name="椭圆 6">
            <a:extLst>
              <a:ext uri="{FF2B5EF4-FFF2-40B4-BE49-F238E27FC236}">
                <a16:creationId xmlns:a16="http://schemas.microsoft.com/office/drawing/2014/main" id="{97F35CCF-B1AD-40AD-9D77-E1886CA3C847}"/>
              </a:ext>
            </a:extLst>
          </p:cNvPr>
          <p:cNvSpPr/>
          <p:nvPr/>
        </p:nvSpPr>
        <p:spPr>
          <a:xfrm>
            <a:off x="11325281" y="5957455"/>
            <a:ext cx="1193212" cy="1193212"/>
          </a:xfrm>
          <a:prstGeom prst="ellipse">
            <a:avLst/>
          </a:prstGeom>
          <a:solidFill>
            <a:srgbClr val="A0CBD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pic>
        <p:nvPicPr>
          <p:cNvPr id="9" name="图形 8">
            <a:extLst>
              <a:ext uri="{FF2B5EF4-FFF2-40B4-BE49-F238E27FC236}">
                <a16:creationId xmlns:a16="http://schemas.microsoft.com/office/drawing/2014/main" id="{3A827DE4-2CFA-4B3F-BDA9-A7AAAB41F317}"/>
              </a:ext>
            </a:extLst>
          </p:cNvPr>
          <p:cNvPicPr>
            <a:picLocks noChangeAspect="1"/>
          </p:cNvPicPr>
          <p:nvPr/>
        </p:nvPicPr>
        <p:blipFill>
          <a:blip r:embed="rId3">
            <a:extLst>
              <a:ext uri="{96DAC541-7B7A-43D3-8B79-37D633B846F1}">
                <asvg:svgBlip xmlns:asvg="http://schemas.microsoft.com/office/drawing/2016/SVG/main" r:embed="rId4"/>
              </a:ext>
            </a:extLst>
          </a:blip>
          <a:srcRect b="5167" l="7384" r="26979" t="2999"/>
          <a:stretch>
            <a:fillRect/>
          </a:stretch>
        </p:blipFill>
        <p:spPr>
          <a:xfrm>
            <a:off x="11325281" y="5618178"/>
            <a:ext cx="527258" cy="935883"/>
          </a:xfrm>
          <a:custGeom>
            <a:rect b="b" l="l" r="r" t="t"/>
            <a:pathLst>
              <a:path h="1837631" w="1035286">
                <a:moveTo>
                  <a:pt x="619939" y="0"/>
                </a:moveTo>
                <a:lnTo>
                  <a:pt x="1035286" y="0"/>
                </a:lnTo>
                <a:lnTo>
                  <a:pt x="1035286" y="1837632"/>
                </a:lnTo>
                <a:lnTo>
                  <a:pt x="527503" y="1837632"/>
                </a:lnTo>
                <a:lnTo>
                  <a:pt x="527503" y="633496"/>
                </a:lnTo>
                <a:cubicBezTo>
                  <a:pt x="445337" y="695942"/>
                  <a:pt x="365842" y="746474"/>
                  <a:pt x="289017" y="785092"/>
                </a:cubicBezTo>
                <a:cubicBezTo>
                  <a:pt x="212192" y="823710"/>
                  <a:pt x="115853" y="860684"/>
                  <a:pt x="0" y="896015"/>
                </a:cubicBezTo>
                <a:lnTo>
                  <a:pt x="0" y="484366"/>
                </a:lnTo>
                <a:cubicBezTo>
                  <a:pt x="170904" y="429315"/>
                  <a:pt x="303602" y="363172"/>
                  <a:pt x="398092" y="285936"/>
                </a:cubicBezTo>
                <a:cubicBezTo>
                  <a:pt x="492582" y="208701"/>
                  <a:pt x="566531" y="113389"/>
                  <a:pt x="619939" y="0"/>
                </a:cubicBezTo>
                <a:close/>
              </a:path>
            </a:pathLst>
          </a:custGeom>
          <a:effectLst>
            <a:outerShdw algn="tl" blurRad="50800" dir="2700000" dist="38100" rotWithShape="0">
              <a:prstClr val="black">
                <a:alpha val="40000"/>
              </a:prstClr>
            </a:outerShdw>
          </a:effectLst>
        </p:spPr>
      </p:pic>
      <p:sp>
        <p:nvSpPr>
          <p:cNvPr id="10" name="文本框 9">
            <a:extLst>
              <a:ext uri="{FF2B5EF4-FFF2-40B4-BE49-F238E27FC236}">
                <a16:creationId xmlns:a16="http://schemas.microsoft.com/office/drawing/2014/main" id="{3EF1E9ED-80AB-4909-8BA5-A43F4FCE2334}"/>
              </a:ext>
            </a:extLst>
          </p:cNvPr>
          <p:cNvSpPr txBox="1"/>
          <p:nvPr/>
        </p:nvSpPr>
        <p:spPr>
          <a:xfrm>
            <a:off x="4133850" y="390618"/>
            <a:ext cx="3924300" cy="640080"/>
          </a:xfrm>
          <a:prstGeom prst="rect">
            <a:avLst/>
          </a:prstGeom>
          <a:noFill/>
        </p:spPr>
        <p:txBody>
          <a:bodyPr rtlCol="0" wrap="square">
            <a:spAutoFit/>
          </a:bodyPr>
          <a:lstStyle/>
          <a:p>
            <a:pPr algn="ctr"/>
            <a:r>
              <a:rPr altLang="en-US" lang="zh-CN" sz="3600">
                <a:solidFill>
                  <a:schemeClr val="tx1">
                    <a:lumMod val="85000"/>
                    <a:lumOff val="15000"/>
                  </a:schemeClr>
                </a:solidFill>
                <a:latin charset="-122" panose="02000500000000000000" pitchFamily="2" typeface="方正雅士黑 简"/>
                <a:ea charset="-122" panose="02000500000000000000" pitchFamily="2" typeface="方正雅士黑 简"/>
              </a:rPr>
              <a:t>目标完成情况</a:t>
            </a:r>
          </a:p>
        </p:txBody>
      </p:sp>
      <p:cxnSp>
        <p:nvCxnSpPr>
          <p:cNvPr id="13" name="直接连接符 12">
            <a:extLst>
              <a:ext uri="{FF2B5EF4-FFF2-40B4-BE49-F238E27FC236}">
                <a16:creationId xmlns:a16="http://schemas.microsoft.com/office/drawing/2014/main" id="{63C006F1-C17E-4B5D-A667-14B1AFD009FE}"/>
              </a:ext>
            </a:extLst>
          </p:cNvPr>
          <p:cNvCxnSpPr/>
          <p:nvPr/>
        </p:nvCxnSpPr>
        <p:spPr>
          <a:xfrm>
            <a:off x="7791452" y="683005"/>
            <a:ext cx="571498" cy="0"/>
          </a:xfrm>
          <a:prstGeom prst="line">
            <a:avLst/>
          </a:prstGeom>
          <a:ln cap="rnd" w="19050">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pic>
        <p:nvPicPr>
          <p:cNvPr id="15" name="图形 14">
            <a:extLst>
              <a:ext uri="{FF2B5EF4-FFF2-40B4-BE49-F238E27FC236}">
                <a16:creationId xmlns:a16="http://schemas.microsoft.com/office/drawing/2014/main" id="{D0B6809A-9193-440B-AB59-9B5857A764E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314825" y="597280"/>
            <a:ext cx="171450" cy="171450"/>
          </a:xfrm>
          <a:prstGeom prst="rect">
            <a:avLst/>
          </a:prstGeom>
        </p:spPr>
      </p:pic>
      <p:pic>
        <p:nvPicPr>
          <p:cNvPr id="16" name="图形 15">
            <a:extLst>
              <a:ext uri="{FF2B5EF4-FFF2-40B4-BE49-F238E27FC236}">
                <a16:creationId xmlns:a16="http://schemas.microsoft.com/office/drawing/2014/main" id="{1508760C-4270-4AAF-AD1C-A51CD87667C3}"/>
              </a:ext>
            </a:extLst>
          </p:cNvPr>
          <p:cNvPicPr>
            <a:picLocks noChangeAspect="1"/>
          </p:cNvPicPr>
          <p:nvPr/>
        </p:nvPicPr>
        <p:blipFill>
          <a:blip r:embed="rId5">
            <a:extLst>
              <a:ext uri="{96DAC541-7B7A-43D3-8B79-37D633B846F1}">
                <asvg:svgBlip xmlns:asvg="http://schemas.microsoft.com/office/drawing/2016/SVG/main" r:embed="rId7"/>
              </a:ext>
            </a:extLst>
          </a:blip>
          <a:stretch>
            <a:fillRect/>
          </a:stretch>
        </p:blipFill>
        <p:spPr>
          <a:xfrm>
            <a:off x="7705727" y="597280"/>
            <a:ext cx="171450" cy="171450"/>
          </a:xfrm>
          <a:prstGeom prst="rect">
            <a:avLst/>
          </a:prstGeom>
        </p:spPr>
      </p:pic>
      <p:cxnSp>
        <p:nvCxnSpPr>
          <p:cNvPr id="18" name="直接连接符 17">
            <a:extLst>
              <a:ext uri="{FF2B5EF4-FFF2-40B4-BE49-F238E27FC236}">
                <a16:creationId xmlns:a16="http://schemas.microsoft.com/office/drawing/2014/main" id="{D59B9B17-AB83-41D0-BA0B-C09A6571714C}"/>
              </a:ext>
            </a:extLst>
          </p:cNvPr>
          <p:cNvCxnSpPr/>
          <p:nvPr/>
        </p:nvCxnSpPr>
        <p:spPr>
          <a:xfrm>
            <a:off x="3829052" y="683005"/>
            <a:ext cx="571498" cy="0"/>
          </a:xfrm>
          <a:prstGeom prst="line">
            <a:avLst/>
          </a:prstGeom>
          <a:ln cap="rnd" w="19050">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grpSp>
        <p:nvGrpSpPr>
          <p:cNvPr id="12" name="组合 11">
            <a:extLst>
              <a:ext uri="{FF2B5EF4-FFF2-40B4-BE49-F238E27FC236}">
                <a16:creationId xmlns:a16="http://schemas.microsoft.com/office/drawing/2014/main" id="{F9247AD7-0C66-4C04-B7CF-8148DF48EE7A}"/>
              </a:ext>
            </a:extLst>
          </p:cNvPr>
          <p:cNvGrpSpPr/>
          <p:nvPr/>
        </p:nvGrpSpPr>
        <p:grpSpPr>
          <a:xfrm>
            <a:off x="1430337" y="1878904"/>
            <a:ext cx="1840334" cy="1840332"/>
            <a:chOff x="1430337" y="1878904"/>
            <a:chExt cx="1840334" cy="1840332"/>
          </a:xfrm>
        </p:grpSpPr>
        <p:sp>
          <p:nvSpPr>
            <p:cNvPr id="11" name="椭圆 10">
              <a:extLst>
                <a:ext uri="{FF2B5EF4-FFF2-40B4-BE49-F238E27FC236}">
                  <a16:creationId xmlns:a16="http://schemas.microsoft.com/office/drawing/2014/main" id="{9510E730-02C9-4C91-82F4-63B195E5427F}"/>
                </a:ext>
              </a:extLst>
            </p:cNvPr>
            <p:cNvSpPr/>
            <p:nvPr/>
          </p:nvSpPr>
          <p:spPr>
            <a:xfrm>
              <a:off x="1430337" y="1878904"/>
              <a:ext cx="1840334" cy="1840332"/>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3" name="椭圆 2">
              <a:extLst>
                <a:ext uri="{FF2B5EF4-FFF2-40B4-BE49-F238E27FC236}">
                  <a16:creationId xmlns:a16="http://schemas.microsoft.com/office/drawing/2014/main" id="{F54535F7-1564-41E2-A053-1EC4CD8BE296}"/>
                </a:ext>
              </a:extLst>
            </p:cNvPr>
            <p:cNvSpPr/>
            <p:nvPr/>
          </p:nvSpPr>
          <p:spPr>
            <a:xfrm>
              <a:off x="1740503" y="2189071"/>
              <a:ext cx="1219999" cy="122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grpSp>
      <p:sp>
        <p:nvSpPr>
          <p:cNvPr id="4" name="空心弧 3">
            <a:extLst>
              <a:ext uri="{FF2B5EF4-FFF2-40B4-BE49-F238E27FC236}">
                <a16:creationId xmlns:a16="http://schemas.microsoft.com/office/drawing/2014/main" id="{48B695FA-0DEF-4FCD-9AF4-C5DD4E50B03F}"/>
              </a:ext>
            </a:extLst>
          </p:cNvPr>
          <p:cNvSpPr/>
          <p:nvPr/>
        </p:nvSpPr>
        <p:spPr>
          <a:xfrm>
            <a:off x="1430337" y="1878907"/>
            <a:ext cx="1840331" cy="1840329"/>
          </a:xfrm>
          <a:prstGeom prst="blockArc">
            <a:avLst>
              <a:gd fmla="val 1270133" name="adj1"/>
              <a:gd fmla="val 14800061" name="adj2"/>
              <a:gd fmla="val 16674" name="adj3"/>
            </a:avLst>
          </a:prstGeom>
          <a:pattFill prst="wdUpDiag">
            <a:fgClr>
              <a:srgbClr val="60A8AF"/>
            </a:fgClr>
            <a:bgClr>
              <a:srgbClr val="A0CBD0"/>
            </a:bgClr>
          </a:pattFill>
          <a:ln>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a:endParaRPr altLang="en-US" lang="zh-CN"/>
          </a:p>
        </p:txBody>
      </p:sp>
      <p:sp>
        <p:nvSpPr>
          <p:cNvPr id="6" name="文本框 5">
            <a:extLst>
              <a:ext uri="{FF2B5EF4-FFF2-40B4-BE49-F238E27FC236}">
                <a16:creationId xmlns:a16="http://schemas.microsoft.com/office/drawing/2014/main" id="{F6924CBE-9166-4A51-A15D-346D3EE44D25}"/>
              </a:ext>
            </a:extLst>
          </p:cNvPr>
          <p:cNvSpPr txBox="1"/>
          <p:nvPr/>
        </p:nvSpPr>
        <p:spPr>
          <a:xfrm>
            <a:off x="1656102" y="2395287"/>
            <a:ext cx="1411371" cy="762000"/>
          </a:xfrm>
          <a:prstGeom prst="rect">
            <a:avLst/>
          </a:prstGeom>
          <a:noFill/>
        </p:spPr>
        <p:txBody>
          <a:bodyPr rtlCol="0" wrap="square">
            <a:spAutoFit/>
          </a:bodyPr>
          <a:lstStyle/>
          <a:p>
            <a:pPr algn="ctr"/>
            <a:r>
              <a:rPr altLang="zh-CN" lang="en-US" sz="4400">
                <a:solidFill>
                  <a:srgbClr val="60A8AF"/>
                </a:solidFill>
              </a:rPr>
              <a:t>78%</a:t>
            </a:r>
          </a:p>
        </p:txBody>
      </p:sp>
      <p:sp>
        <p:nvSpPr>
          <p:cNvPr id="17" name="Title 20">
            <a:extLst>
              <a:ext uri="{FF2B5EF4-FFF2-40B4-BE49-F238E27FC236}">
                <a16:creationId xmlns:a16="http://schemas.microsoft.com/office/drawing/2014/main" id="{B1B57346-89DA-4BBC-9675-5CD1F97F4178}"/>
              </a:ext>
            </a:extLst>
          </p:cNvPr>
          <p:cNvSpPr txBox="1"/>
          <p:nvPr/>
        </p:nvSpPr>
        <p:spPr>
          <a:xfrm>
            <a:off x="1147741" y="4326595"/>
            <a:ext cx="2397733" cy="1259802"/>
          </a:xfrm>
          <a:prstGeom prst="rect">
            <a:avLst/>
          </a:prstGeom>
        </p:spPr>
        <p:txBody>
          <a:bodyPr anchor="t" bIns="81261" lIns="162524" rIns="162524" rtlCol="0" tIns="81261" vert="horz" wrap="square">
            <a:spAutoFit/>
          </a:bodyPr>
          <a:lstStyle>
            <a:lvl1pPr algn="ctr" defTabSz="457200" eaLnBrk="1" hangingPunct="1" latinLnBrk="0" rtl="0">
              <a:spcBef>
                <a:spcPct val="0"/>
              </a:spcBef>
              <a:buNone/>
              <a:defRPr kern="1200" sz="2900">
                <a:solidFill>
                  <a:schemeClr val="accent6"/>
                </a:solidFill>
                <a:latin typeface="Source Sans Pro ExtraLight"/>
                <a:ea typeface="+mj-ea"/>
                <a:cs typeface="Source Sans Pro ExtraLight"/>
              </a:defRPr>
            </a:lvl1pPr>
          </a:lstStyle>
          <a:p>
            <a:pPr>
              <a:lnSpc>
                <a:spcPct val="150000"/>
              </a:lnSpc>
            </a:pPr>
            <a:r>
              <a:rPr altLang="en-US" lang="zh-CN" sz="1200">
                <a:solidFill>
                  <a:schemeClr val="tx1">
                    <a:lumMod val="75000"/>
                    <a:lumOff val="25000"/>
                  </a:schemeClr>
                </a:solidFill>
                <a:latin typeface="+mn-ea"/>
                <a:ea typeface="+mn-ea"/>
              </a:rPr>
              <a:t>这里可以添加主要内容这里可以添加主要内容这里可以添加主要内容</a:t>
            </a:r>
          </a:p>
          <a:p>
            <a:pPr>
              <a:lnSpc>
                <a:spcPct val="150000"/>
              </a:lnSpc>
            </a:pPr>
            <a:r>
              <a:rPr altLang="en-US" lang="zh-CN" sz="1200">
                <a:solidFill>
                  <a:schemeClr val="tx1">
                    <a:lumMod val="75000"/>
                    <a:lumOff val="25000"/>
                  </a:schemeClr>
                </a:solidFill>
                <a:latin typeface="+mn-ea"/>
                <a:ea typeface="+mn-ea"/>
              </a:rPr>
              <a:t>……</a:t>
            </a:r>
          </a:p>
        </p:txBody>
      </p:sp>
      <p:sp>
        <p:nvSpPr>
          <p:cNvPr id="19" name="Title 20">
            <a:extLst>
              <a:ext uri="{FF2B5EF4-FFF2-40B4-BE49-F238E27FC236}">
                <a16:creationId xmlns:a16="http://schemas.microsoft.com/office/drawing/2014/main" id="{16FC531A-1B7E-4D76-942D-4DA61D6955A7}"/>
              </a:ext>
            </a:extLst>
          </p:cNvPr>
          <p:cNvSpPr txBox="1"/>
          <p:nvPr/>
        </p:nvSpPr>
        <p:spPr>
          <a:xfrm>
            <a:off x="1147741" y="3984368"/>
            <a:ext cx="2397733" cy="304800"/>
          </a:xfrm>
          <a:prstGeom prst="rect">
            <a:avLst/>
          </a:prstGeom>
        </p:spPr>
        <p:txBody>
          <a:bodyPr anchor="ctr" bIns="0" lIns="162524" rIns="162524" rtlCol="0" tIns="0" vert="horz" wrap="square">
            <a:spAutoFit/>
          </a:bodyPr>
          <a:lstStyle>
            <a:defPPr>
              <a:defRPr lang="zh-CN"/>
            </a:defPPr>
            <a:lvl1pPr defTabSz="457200">
              <a:spcBef>
                <a:spcPct val="0"/>
              </a:spcBef>
              <a:buNone/>
              <a:defRPr b="1">
                <a:solidFill>
                  <a:srgbClr val="424B58"/>
                </a:solidFill>
                <a:latin typeface="+mn-ea"/>
                <a:cs typeface="Lato Regular"/>
              </a:defRPr>
            </a:lvl1pPr>
          </a:lstStyle>
          <a:p>
            <a:pPr algn="ctr"/>
            <a:r>
              <a:rPr altLang="en-US" lang="zh-CN" sz="2000">
                <a:solidFill>
                  <a:schemeClr val="tx1">
                    <a:lumMod val="85000"/>
                    <a:lumOff val="15000"/>
                  </a:schemeClr>
                </a:solidFill>
              </a:rPr>
              <a:t>第一季度</a:t>
            </a:r>
          </a:p>
        </p:txBody>
      </p:sp>
      <p:grpSp>
        <p:nvGrpSpPr>
          <p:cNvPr id="14" name="组合 13">
            <a:extLst>
              <a:ext uri="{FF2B5EF4-FFF2-40B4-BE49-F238E27FC236}">
                <a16:creationId xmlns:a16="http://schemas.microsoft.com/office/drawing/2014/main" id="{1FC2373B-206C-42FC-8C5E-F9FE1BE72A39}"/>
              </a:ext>
            </a:extLst>
          </p:cNvPr>
          <p:cNvGrpSpPr/>
          <p:nvPr/>
        </p:nvGrpSpPr>
        <p:grpSpPr>
          <a:xfrm>
            <a:off x="3937139" y="1878904"/>
            <a:ext cx="1840334" cy="1840332"/>
            <a:chOff x="3937139" y="1878904"/>
            <a:chExt cx="1840334" cy="1840332"/>
          </a:xfrm>
        </p:grpSpPr>
        <p:sp>
          <p:nvSpPr>
            <p:cNvPr id="28" name="椭圆 27">
              <a:extLst>
                <a:ext uri="{FF2B5EF4-FFF2-40B4-BE49-F238E27FC236}">
                  <a16:creationId xmlns:a16="http://schemas.microsoft.com/office/drawing/2014/main" id="{D871C3C7-D0CB-43A9-8A04-3950497EDDFD}"/>
                </a:ext>
              </a:extLst>
            </p:cNvPr>
            <p:cNvSpPr/>
            <p:nvPr/>
          </p:nvSpPr>
          <p:spPr>
            <a:xfrm>
              <a:off x="3937139" y="1878904"/>
              <a:ext cx="1840334" cy="1840332"/>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solidFill>
                  <a:srgbClr val="FF626C"/>
                </a:solidFill>
              </a:endParaRPr>
            </a:p>
          </p:txBody>
        </p:sp>
        <p:sp>
          <p:nvSpPr>
            <p:cNvPr id="29" name="椭圆 28">
              <a:extLst>
                <a:ext uri="{FF2B5EF4-FFF2-40B4-BE49-F238E27FC236}">
                  <a16:creationId xmlns:a16="http://schemas.microsoft.com/office/drawing/2014/main" id="{5244B1B6-C34A-46E5-8C4D-4D8A48AB39FB}"/>
                </a:ext>
              </a:extLst>
            </p:cNvPr>
            <p:cNvSpPr/>
            <p:nvPr/>
          </p:nvSpPr>
          <p:spPr>
            <a:xfrm>
              <a:off x="4247305" y="2189071"/>
              <a:ext cx="1219999" cy="122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solidFill>
                  <a:srgbClr val="FF626C"/>
                </a:solidFill>
              </a:endParaRPr>
            </a:p>
          </p:txBody>
        </p:sp>
      </p:grpSp>
      <p:sp>
        <p:nvSpPr>
          <p:cNvPr id="30" name="空心弧 29">
            <a:extLst>
              <a:ext uri="{FF2B5EF4-FFF2-40B4-BE49-F238E27FC236}">
                <a16:creationId xmlns:a16="http://schemas.microsoft.com/office/drawing/2014/main" id="{86C89949-B6B6-4BFB-BF74-55BDDB95804B}"/>
              </a:ext>
            </a:extLst>
          </p:cNvPr>
          <p:cNvSpPr/>
          <p:nvPr/>
        </p:nvSpPr>
        <p:spPr>
          <a:xfrm>
            <a:off x="3937139" y="1878907"/>
            <a:ext cx="1840331" cy="1840329"/>
          </a:xfrm>
          <a:prstGeom prst="blockArc">
            <a:avLst>
              <a:gd fmla="val 1270133" name="adj1"/>
              <a:gd fmla="val 14800061" name="adj2"/>
              <a:gd fmla="val 16674" name="adj3"/>
            </a:avLst>
          </a:prstGeom>
          <a:pattFill prst="wdUpDiag">
            <a:fgClr>
              <a:srgbClr val="FFB9BE"/>
            </a:fgClr>
            <a:bgClr>
              <a:srgbClr val="FF626C"/>
            </a:bgClr>
          </a:pattFill>
          <a:ln>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a:endParaRPr altLang="en-US" lang="zh-CN">
              <a:solidFill>
                <a:srgbClr val="FF626C"/>
              </a:solidFill>
            </a:endParaRPr>
          </a:p>
        </p:txBody>
      </p:sp>
      <p:sp>
        <p:nvSpPr>
          <p:cNvPr id="31" name="文本框 30">
            <a:extLst>
              <a:ext uri="{FF2B5EF4-FFF2-40B4-BE49-F238E27FC236}">
                <a16:creationId xmlns:a16="http://schemas.microsoft.com/office/drawing/2014/main" id="{101761DB-4E29-47D3-8E09-6070AF9660E2}"/>
              </a:ext>
            </a:extLst>
          </p:cNvPr>
          <p:cNvSpPr txBox="1"/>
          <p:nvPr/>
        </p:nvSpPr>
        <p:spPr>
          <a:xfrm>
            <a:off x="4162904" y="2395287"/>
            <a:ext cx="1411371" cy="762000"/>
          </a:xfrm>
          <a:prstGeom prst="rect">
            <a:avLst/>
          </a:prstGeom>
          <a:noFill/>
        </p:spPr>
        <p:txBody>
          <a:bodyPr rtlCol="0" wrap="square">
            <a:spAutoFit/>
          </a:bodyPr>
          <a:lstStyle/>
          <a:p>
            <a:pPr algn="ctr"/>
            <a:r>
              <a:rPr altLang="zh-CN" lang="en-US" sz="4400">
                <a:solidFill>
                  <a:srgbClr val="FF626C"/>
                </a:solidFill>
              </a:rPr>
              <a:t>78%</a:t>
            </a:r>
          </a:p>
        </p:txBody>
      </p:sp>
      <p:sp>
        <p:nvSpPr>
          <p:cNvPr id="32" name="Title 20">
            <a:extLst>
              <a:ext uri="{FF2B5EF4-FFF2-40B4-BE49-F238E27FC236}">
                <a16:creationId xmlns:a16="http://schemas.microsoft.com/office/drawing/2014/main" id="{38246ACF-9A7A-421C-B0C3-C4570D3A97C2}"/>
              </a:ext>
            </a:extLst>
          </p:cNvPr>
          <p:cNvSpPr txBox="1"/>
          <p:nvPr/>
        </p:nvSpPr>
        <p:spPr>
          <a:xfrm>
            <a:off x="3654543" y="4326595"/>
            <a:ext cx="2397733" cy="1259802"/>
          </a:xfrm>
          <a:prstGeom prst="rect">
            <a:avLst/>
          </a:prstGeom>
        </p:spPr>
        <p:txBody>
          <a:bodyPr anchor="t" bIns="81261" lIns="162524" rIns="162524" rtlCol="0" tIns="81261" vert="horz" wrap="square">
            <a:spAutoFit/>
          </a:bodyPr>
          <a:lstStyle>
            <a:lvl1pPr algn="ctr" defTabSz="457200" eaLnBrk="1" hangingPunct="1" latinLnBrk="0" rtl="0">
              <a:spcBef>
                <a:spcPct val="0"/>
              </a:spcBef>
              <a:buNone/>
              <a:defRPr kern="1200" sz="2900">
                <a:solidFill>
                  <a:schemeClr val="accent6"/>
                </a:solidFill>
                <a:latin typeface="Source Sans Pro ExtraLight"/>
                <a:ea typeface="+mj-ea"/>
                <a:cs typeface="Source Sans Pro ExtraLight"/>
              </a:defRPr>
            </a:lvl1pPr>
          </a:lstStyle>
          <a:p>
            <a:pPr>
              <a:lnSpc>
                <a:spcPct val="150000"/>
              </a:lnSpc>
            </a:pPr>
            <a:r>
              <a:rPr altLang="en-US" lang="zh-CN" sz="1200">
                <a:solidFill>
                  <a:schemeClr val="tx1">
                    <a:lumMod val="75000"/>
                    <a:lumOff val="25000"/>
                  </a:schemeClr>
                </a:solidFill>
                <a:latin typeface="+mn-ea"/>
                <a:ea typeface="+mn-ea"/>
              </a:rPr>
              <a:t>这里可以添加主要内容这里可以添加主要内容这里可以添加主要内容</a:t>
            </a:r>
          </a:p>
          <a:p>
            <a:pPr>
              <a:lnSpc>
                <a:spcPct val="150000"/>
              </a:lnSpc>
            </a:pPr>
            <a:r>
              <a:rPr altLang="en-US" lang="zh-CN" sz="1200">
                <a:solidFill>
                  <a:schemeClr val="tx1">
                    <a:lumMod val="75000"/>
                    <a:lumOff val="25000"/>
                  </a:schemeClr>
                </a:solidFill>
                <a:latin typeface="+mn-ea"/>
                <a:ea typeface="+mn-ea"/>
              </a:rPr>
              <a:t>……</a:t>
            </a:r>
          </a:p>
        </p:txBody>
      </p:sp>
      <p:sp>
        <p:nvSpPr>
          <p:cNvPr id="33" name="Title 20">
            <a:extLst>
              <a:ext uri="{FF2B5EF4-FFF2-40B4-BE49-F238E27FC236}">
                <a16:creationId xmlns:a16="http://schemas.microsoft.com/office/drawing/2014/main" id="{F9400807-FBD9-40EE-A265-CAF7E23B5506}"/>
              </a:ext>
            </a:extLst>
          </p:cNvPr>
          <p:cNvSpPr txBox="1"/>
          <p:nvPr/>
        </p:nvSpPr>
        <p:spPr>
          <a:xfrm>
            <a:off x="3654543" y="3984368"/>
            <a:ext cx="2397733" cy="304800"/>
          </a:xfrm>
          <a:prstGeom prst="rect">
            <a:avLst/>
          </a:prstGeom>
        </p:spPr>
        <p:txBody>
          <a:bodyPr anchor="ctr" bIns="0" lIns="162524" rIns="162524" rtlCol="0" tIns="0" vert="horz" wrap="square">
            <a:spAutoFit/>
          </a:bodyPr>
          <a:lstStyle>
            <a:defPPr>
              <a:defRPr lang="zh-CN"/>
            </a:defPPr>
            <a:lvl1pPr defTabSz="457200">
              <a:spcBef>
                <a:spcPct val="0"/>
              </a:spcBef>
              <a:buNone/>
              <a:defRPr b="1">
                <a:solidFill>
                  <a:srgbClr val="424B58"/>
                </a:solidFill>
                <a:latin typeface="+mn-ea"/>
                <a:cs typeface="Lato Regular"/>
              </a:defRPr>
            </a:lvl1pPr>
          </a:lstStyle>
          <a:p>
            <a:pPr algn="ctr"/>
            <a:r>
              <a:rPr altLang="en-US" lang="zh-CN" sz="2000">
                <a:solidFill>
                  <a:schemeClr val="tx1">
                    <a:lumMod val="85000"/>
                    <a:lumOff val="15000"/>
                  </a:schemeClr>
                </a:solidFill>
              </a:rPr>
              <a:t>第二季度</a:t>
            </a:r>
          </a:p>
        </p:txBody>
      </p:sp>
      <p:grpSp>
        <p:nvGrpSpPr>
          <p:cNvPr id="48" name="组合 47">
            <a:extLst>
              <a:ext uri="{FF2B5EF4-FFF2-40B4-BE49-F238E27FC236}">
                <a16:creationId xmlns:a16="http://schemas.microsoft.com/office/drawing/2014/main" id="{6B854EEC-7600-4037-ACBB-F37C981D4D77}"/>
              </a:ext>
            </a:extLst>
          </p:cNvPr>
          <p:cNvGrpSpPr/>
          <p:nvPr/>
        </p:nvGrpSpPr>
        <p:grpSpPr>
          <a:xfrm>
            <a:off x="6443941" y="1878904"/>
            <a:ext cx="1840334" cy="1840332"/>
            <a:chOff x="6443941" y="1878904"/>
            <a:chExt cx="1840334" cy="1840332"/>
          </a:xfrm>
        </p:grpSpPr>
        <p:sp>
          <p:nvSpPr>
            <p:cNvPr id="35" name="椭圆 34">
              <a:extLst>
                <a:ext uri="{FF2B5EF4-FFF2-40B4-BE49-F238E27FC236}">
                  <a16:creationId xmlns:a16="http://schemas.microsoft.com/office/drawing/2014/main" id="{437DD10A-B48C-4EE6-8836-D34032868680}"/>
                </a:ext>
              </a:extLst>
            </p:cNvPr>
            <p:cNvSpPr/>
            <p:nvPr/>
          </p:nvSpPr>
          <p:spPr>
            <a:xfrm>
              <a:off x="6443941" y="1878904"/>
              <a:ext cx="1840334" cy="1840332"/>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solidFill>
                  <a:schemeClr val="accent4"/>
                </a:solidFill>
              </a:endParaRPr>
            </a:p>
          </p:txBody>
        </p:sp>
        <p:sp>
          <p:nvSpPr>
            <p:cNvPr id="36" name="椭圆 35">
              <a:extLst>
                <a:ext uri="{FF2B5EF4-FFF2-40B4-BE49-F238E27FC236}">
                  <a16:creationId xmlns:a16="http://schemas.microsoft.com/office/drawing/2014/main" id="{BDE20B34-DCE8-4A26-A816-F2B8FA5F7CEA}"/>
                </a:ext>
              </a:extLst>
            </p:cNvPr>
            <p:cNvSpPr/>
            <p:nvPr/>
          </p:nvSpPr>
          <p:spPr>
            <a:xfrm>
              <a:off x="6754107" y="2189071"/>
              <a:ext cx="1219999" cy="122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solidFill>
                  <a:schemeClr val="accent4"/>
                </a:solidFill>
              </a:endParaRPr>
            </a:p>
          </p:txBody>
        </p:sp>
      </p:grpSp>
      <p:sp>
        <p:nvSpPr>
          <p:cNvPr id="37" name="空心弧 36">
            <a:extLst>
              <a:ext uri="{FF2B5EF4-FFF2-40B4-BE49-F238E27FC236}">
                <a16:creationId xmlns:a16="http://schemas.microsoft.com/office/drawing/2014/main" id="{B72246A7-D876-4A8D-AB91-EB58D3647230}"/>
              </a:ext>
            </a:extLst>
          </p:cNvPr>
          <p:cNvSpPr/>
          <p:nvPr/>
        </p:nvSpPr>
        <p:spPr>
          <a:xfrm>
            <a:off x="6443941" y="1878907"/>
            <a:ext cx="1840331" cy="1840329"/>
          </a:xfrm>
          <a:prstGeom prst="blockArc">
            <a:avLst>
              <a:gd fmla="val 1270133" name="adj1"/>
              <a:gd fmla="val 14800061" name="adj2"/>
              <a:gd fmla="val 16674" name="adj3"/>
            </a:avLst>
          </a:prstGeom>
          <a:pattFill prst="wdUpDiag">
            <a:fgClr>
              <a:srgbClr val="FFE9B3"/>
            </a:fgClr>
            <a:bgClr>
              <a:srgbClr val="FFC73E"/>
            </a:bgClr>
          </a:pattFill>
          <a:ln>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a:endParaRPr altLang="en-US" lang="zh-CN">
              <a:solidFill>
                <a:schemeClr val="accent4"/>
              </a:solidFill>
            </a:endParaRPr>
          </a:p>
        </p:txBody>
      </p:sp>
      <p:sp>
        <p:nvSpPr>
          <p:cNvPr id="38" name="文本框 37">
            <a:extLst>
              <a:ext uri="{FF2B5EF4-FFF2-40B4-BE49-F238E27FC236}">
                <a16:creationId xmlns:a16="http://schemas.microsoft.com/office/drawing/2014/main" id="{5C576DF4-6BD8-4EBF-9F16-BD2CA8C4C568}"/>
              </a:ext>
            </a:extLst>
          </p:cNvPr>
          <p:cNvSpPr txBox="1"/>
          <p:nvPr/>
        </p:nvSpPr>
        <p:spPr>
          <a:xfrm>
            <a:off x="6669707" y="2395287"/>
            <a:ext cx="1411371" cy="762000"/>
          </a:xfrm>
          <a:prstGeom prst="rect">
            <a:avLst/>
          </a:prstGeom>
          <a:noFill/>
        </p:spPr>
        <p:txBody>
          <a:bodyPr rtlCol="0" wrap="square">
            <a:spAutoFit/>
          </a:bodyPr>
          <a:lstStyle/>
          <a:p>
            <a:pPr algn="ctr"/>
            <a:r>
              <a:rPr altLang="zh-CN" lang="en-US" sz="4400">
                <a:solidFill>
                  <a:schemeClr val="accent4"/>
                </a:solidFill>
              </a:rPr>
              <a:t>78%</a:t>
            </a:r>
          </a:p>
        </p:txBody>
      </p:sp>
      <p:sp>
        <p:nvSpPr>
          <p:cNvPr id="39" name="Title 20">
            <a:extLst>
              <a:ext uri="{FF2B5EF4-FFF2-40B4-BE49-F238E27FC236}">
                <a16:creationId xmlns:a16="http://schemas.microsoft.com/office/drawing/2014/main" id="{B118E56E-4377-4563-99AC-24048F561BEE}"/>
              </a:ext>
            </a:extLst>
          </p:cNvPr>
          <p:cNvSpPr txBox="1"/>
          <p:nvPr/>
        </p:nvSpPr>
        <p:spPr>
          <a:xfrm>
            <a:off x="6161344" y="4326595"/>
            <a:ext cx="2397733" cy="1259802"/>
          </a:xfrm>
          <a:prstGeom prst="rect">
            <a:avLst/>
          </a:prstGeom>
        </p:spPr>
        <p:txBody>
          <a:bodyPr anchor="t" bIns="81261" lIns="162524" rIns="162524" rtlCol="0" tIns="81261" vert="horz" wrap="square">
            <a:spAutoFit/>
          </a:bodyPr>
          <a:lstStyle>
            <a:lvl1pPr algn="ctr" defTabSz="457200" eaLnBrk="1" hangingPunct="1" latinLnBrk="0" rtl="0">
              <a:spcBef>
                <a:spcPct val="0"/>
              </a:spcBef>
              <a:buNone/>
              <a:defRPr kern="1200" sz="2900">
                <a:solidFill>
                  <a:schemeClr val="accent6"/>
                </a:solidFill>
                <a:latin typeface="Source Sans Pro ExtraLight"/>
                <a:ea typeface="+mj-ea"/>
                <a:cs typeface="Source Sans Pro ExtraLight"/>
              </a:defRPr>
            </a:lvl1pPr>
          </a:lstStyle>
          <a:p>
            <a:pPr>
              <a:lnSpc>
                <a:spcPct val="150000"/>
              </a:lnSpc>
            </a:pPr>
            <a:r>
              <a:rPr altLang="en-US" lang="zh-CN" sz="1200">
                <a:solidFill>
                  <a:schemeClr val="tx1">
                    <a:lumMod val="75000"/>
                    <a:lumOff val="25000"/>
                  </a:schemeClr>
                </a:solidFill>
                <a:latin typeface="+mn-ea"/>
                <a:ea typeface="+mn-ea"/>
              </a:rPr>
              <a:t>这里可以添加主要内容这里可以添加主要内容这里可以添加主要内容</a:t>
            </a:r>
          </a:p>
          <a:p>
            <a:pPr>
              <a:lnSpc>
                <a:spcPct val="150000"/>
              </a:lnSpc>
            </a:pPr>
            <a:r>
              <a:rPr altLang="en-US" lang="zh-CN" sz="1200">
                <a:solidFill>
                  <a:schemeClr val="tx1">
                    <a:lumMod val="75000"/>
                    <a:lumOff val="25000"/>
                  </a:schemeClr>
                </a:solidFill>
                <a:latin typeface="+mn-ea"/>
                <a:ea typeface="+mn-ea"/>
              </a:rPr>
              <a:t>……</a:t>
            </a:r>
          </a:p>
        </p:txBody>
      </p:sp>
      <p:sp>
        <p:nvSpPr>
          <p:cNvPr id="40" name="Title 20">
            <a:extLst>
              <a:ext uri="{FF2B5EF4-FFF2-40B4-BE49-F238E27FC236}">
                <a16:creationId xmlns:a16="http://schemas.microsoft.com/office/drawing/2014/main" id="{20A66362-0A07-4C77-A073-7C21242B509A}"/>
              </a:ext>
            </a:extLst>
          </p:cNvPr>
          <p:cNvSpPr txBox="1"/>
          <p:nvPr/>
        </p:nvSpPr>
        <p:spPr>
          <a:xfrm>
            <a:off x="6161344" y="3984368"/>
            <a:ext cx="2397733" cy="304800"/>
          </a:xfrm>
          <a:prstGeom prst="rect">
            <a:avLst/>
          </a:prstGeom>
        </p:spPr>
        <p:txBody>
          <a:bodyPr anchor="ctr" bIns="0" lIns="162524" rIns="162524" rtlCol="0" tIns="0" vert="horz" wrap="square">
            <a:spAutoFit/>
          </a:bodyPr>
          <a:lstStyle>
            <a:defPPr>
              <a:defRPr lang="zh-CN"/>
            </a:defPPr>
            <a:lvl1pPr defTabSz="457200">
              <a:spcBef>
                <a:spcPct val="0"/>
              </a:spcBef>
              <a:buNone/>
              <a:defRPr b="1">
                <a:solidFill>
                  <a:srgbClr val="424B58"/>
                </a:solidFill>
                <a:latin typeface="+mn-ea"/>
                <a:cs typeface="Lato Regular"/>
              </a:defRPr>
            </a:lvl1pPr>
          </a:lstStyle>
          <a:p>
            <a:pPr algn="ctr"/>
            <a:r>
              <a:rPr altLang="en-US" lang="zh-CN" sz="2000">
                <a:solidFill>
                  <a:schemeClr val="tx1">
                    <a:lumMod val="85000"/>
                    <a:lumOff val="15000"/>
                  </a:schemeClr>
                </a:solidFill>
              </a:rPr>
              <a:t>第三季度</a:t>
            </a:r>
          </a:p>
        </p:txBody>
      </p:sp>
      <p:grpSp>
        <p:nvGrpSpPr>
          <p:cNvPr id="49" name="组合 48">
            <a:extLst>
              <a:ext uri="{FF2B5EF4-FFF2-40B4-BE49-F238E27FC236}">
                <a16:creationId xmlns:a16="http://schemas.microsoft.com/office/drawing/2014/main" id="{198DCCE7-4D43-4BA7-8E08-A956156B1177}"/>
              </a:ext>
            </a:extLst>
          </p:cNvPr>
          <p:cNvGrpSpPr/>
          <p:nvPr/>
        </p:nvGrpSpPr>
        <p:grpSpPr>
          <a:xfrm>
            <a:off x="8950743" y="1878904"/>
            <a:ext cx="1840334" cy="1840332"/>
            <a:chOff x="8950743" y="1878904"/>
            <a:chExt cx="1840334" cy="1840332"/>
          </a:xfrm>
        </p:grpSpPr>
        <p:sp>
          <p:nvSpPr>
            <p:cNvPr id="42" name="椭圆 41">
              <a:extLst>
                <a:ext uri="{FF2B5EF4-FFF2-40B4-BE49-F238E27FC236}">
                  <a16:creationId xmlns:a16="http://schemas.microsoft.com/office/drawing/2014/main" id="{B568CD55-126E-4EE2-BDC4-49DCFB50B983}"/>
                </a:ext>
              </a:extLst>
            </p:cNvPr>
            <p:cNvSpPr/>
            <p:nvPr/>
          </p:nvSpPr>
          <p:spPr>
            <a:xfrm>
              <a:off x="8950743" y="1878904"/>
              <a:ext cx="1840334" cy="1840332"/>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solidFill>
                  <a:srgbClr val="00456B"/>
                </a:solidFill>
              </a:endParaRPr>
            </a:p>
          </p:txBody>
        </p:sp>
        <p:sp>
          <p:nvSpPr>
            <p:cNvPr id="43" name="椭圆 42">
              <a:extLst>
                <a:ext uri="{FF2B5EF4-FFF2-40B4-BE49-F238E27FC236}">
                  <a16:creationId xmlns:a16="http://schemas.microsoft.com/office/drawing/2014/main" id="{53BDE4DC-CD1E-4AA4-AD66-CB6BC2AB507E}"/>
                </a:ext>
              </a:extLst>
            </p:cNvPr>
            <p:cNvSpPr/>
            <p:nvPr/>
          </p:nvSpPr>
          <p:spPr>
            <a:xfrm>
              <a:off x="9260909" y="2189071"/>
              <a:ext cx="1219999" cy="122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solidFill>
                  <a:srgbClr val="00456B"/>
                </a:solidFill>
              </a:endParaRPr>
            </a:p>
          </p:txBody>
        </p:sp>
      </p:grpSp>
      <p:sp>
        <p:nvSpPr>
          <p:cNvPr id="44" name="空心弧 43">
            <a:extLst>
              <a:ext uri="{FF2B5EF4-FFF2-40B4-BE49-F238E27FC236}">
                <a16:creationId xmlns:a16="http://schemas.microsoft.com/office/drawing/2014/main" id="{4A39C38C-756D-4D13-BBD2-2D49DEFBA88B}"/>
              </a:ext>
            </a:extLst>
          </p:cNvPr>
          <p:cNvSpPr/>
          <p:nvPr/>
        </p:nvSpPr>
        <p:spPr>
          <a:xfrm>
            <a:off x="8950743" y="1878907"/>
            <a:ext cx="1840331" cy="1840329"/>
          </a:xfrm>
          <a:prstGeom prst="blockArc">
            <a:avLst>
              <a:gd fmla="val 1270133" name="adj1"/>
              <a:gd fmla="val 14800061" name="adj2"/>
              <a:gd fmla="val 16674" name="adj3"/>
            </a:avLst>
          </a:prstGeom>
          <a:pattFill prst="wdUpDiag">
            <a:fgClr>
              <a:srgbClr val="B3E4FF"/>
            </a:fgClr>
            <a:bgClr>
              <a:srgbClr val="00456B"/>
            </a:bgClr>
          </a:pattFill>
          <a:ln>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a:endParaRPr altLang="en-US" lang="zh-CN">
              <a:solidFill>
                <a:srgbClr val="00456B"/>
              </a:solidFill>
            </a:endParaRPr>
          </a:p>
        </p:txBody>
      </p:sp>
      <p:sp>
        <p:nvSpPr>
          <p:cNvPr id="45" name="文本框 44">
            <a:extLst>
              <a:ext uri="{FF2B5EF4-FFF2-40B4-BE49-F238E27FC236}">
                <a16:creationId xmlns:a16="http://schemas.microsoft.com/office/drawing/2014/main" id="{DD040FB4-660A-408A-B2DB-64A38CEFDCBA}"/>
              </a:ext>
            </a:extLst>
          </p:cNvPr>
          <p:cNvSpPr txBox="1"/>
          <p:nvPr/>
        </p:nvSpPr>
        <p:spPr>
          <a:xfrm>
            <a:off x="9176509" y="2395287"/>
            <a:ext cx="1411371" cy="762000"/>
          </a:xfrm>
          <a:prstGeom prst="rect">
            <a:avLst/>
          </a:prstGeom>
          <a:noFill/>
        </p:spPr>
        <p:txBody>
          <a:bodyPr rtlCol="0" wrap="square">
            <a:spAutoFit/>
          </a:bodyPr>
          <a:lstStyle/>
          <a:p>
            <a:pPr algn="ctr"/>
            <a:r>
              <a:rPr altLang="zh-CN" lang="en-US" sz="4400">
                <a:solidFill>
                  <a:srgbClr val="00456B"/>
                </a:solidFill>
              </a:rPr>
              <a:t>78%</a:t>
            </a:r>
          </a:p>
        </p:txBody>
      </p:sp>
      <p:sp>
        <p:nvSpPr>
          <p:cNvPr id="46" name="Title 20">
            <a:extLst>
              <a:ext uri="{FF2B5EF4-FFF2-40B4-BE49-F238E27FC236}">
                <a16:creationId xmlns:a16="http://schemas.microsoft.com/office/drawing/2014/main" id="{DD65AD7F-5C9B-4478-94AD-5417FD2B54B1}"/>
              </a:ext>
            </a:extLst>
          </p:cNvPr>
          <p:cNvSpPr txBox="1"/>
          <p:nvPr/>
        </p:nvSpPr>
        <p:spPr>
          <a:xfrm>
            <a:off x="8668146" y="4326595"/>
            <a:ext cx="2397733" cy="1259802"/>
          </a:xfrm>
          <a:prstGeom prst="rect">
            <a:avLst/>
          </a:prstGeom>
        </p:spPr>
        <p:txBody>
          <a:bodyPr anchor="t" bIns="81261" lIns="162524" rIns="162524" rtlCol="0" tIns="81261" vert="horz" wrap="square">
            <a:spAutoFit/>
          </a:bodyPr>
          <a:lstStyle>
            <a:lvl1pPr algn="ctr" defTabSz="457200" eaLnBrk="1" hangingPunct="1" latinLnBrk="0" rtl="0">
              <a:spcBef>
                <a:spcPct val="0"/>
              </a:spcBef>
              <a:buNone/>
              <a:defRPr kern="1200" sz="2900">
                <a:solidFill>
                  <a:schemeClr val="accent6"/>
                </a:solidFill>
                <a:latin typeface="Source Sans Pro ExtraLight"/>
                <a:ea typeface="+mj-ea"/>
                <a:cs typeface="Source Sans Pro ExtraLight"/>
              </a:defRPr>
            </a:lvl1pPr>
          </a:lstStyle>
          <a:p>
            <a:pPr>
              <a:lnSpc>
                <a:spcPct val="150000"/>
              </a:lnSpc>
            </a:pPr>
            <a:r>
              <a:rPr altLang="en-US" lang="zh-CN" sz="1200">
                <a:solidFill>
                  <a:schemeClr val="tx1">
                    <a:lumMod val="75000"/>
                    <a:lumOff val="25000"/>
                  </a:schemeClr>
                </a:solidFill>
                <a:latin typeface="+mn-ea"/>
                <a:ea typeface="+mn-ea"/>
              </a:rPr>
              <a:t>这里可以添加主要内容这里可以添加主要内容这里可以添加主要内容</a:t>
            </a:r>
          </a:p>
          <a:p>
            <a:pPr>
              <a:lnSpc>
                <a:spcPct val="150000"/>
              </a:lnSpc>
            </a:pPr>
            <a:r>
              <a:rPr altLang="en-US" lang="zh-CN" sz="1200">
                <a:solidFill>
                  <a:schemeClr val="tx1">
                    <a:lumMod val="75000"/>
                    <a:lumOff val="25000"/>
                  </a:schemeClr>
                </a:solidFill>
                <a:latin typeface="+mn-ea"/>
                <a:ea typeface="+mn-ea"/>
              </a:rPr>
              <a:t>……</a:t>
            </a:r>
          </a:p>
        </p:txBody>
      </p:sp>
      <p:sp>
        <p:nvSpPr>
          <p:cNvPr id="47" name="Title 20">
            <a:extLst>
              <a:ext uri="{FF2B5EF4-FFF2-40B4-BE49-F238E27FC236}">
                <a16:creationId xmlns:a16="http://schemas.microsoft.com/office/drawing/2014/main" id="{7D71D94C-BA5F-49A8-8D7F-2545A7993BCD}"/>
              </a:ext>
            </a:extLst>
          </p:cNvPr>
          <p:cNvSpPr txBox="1"/>
          <p:nvPr/>
        </p:nvSpPr>
        <p:spPr>
          <a:xfrm>
            <a:off x="8668146" y="3984368"/>
            <a:ext cx="2397733" cy="304800"/>
          </a:xfrm>
          <a:prstGeom prst="rect">
            <a:avLst/>
          </a:prstGeom>
        </p:spPr>
        <p:txBody>
          <a:bodyPr anchor="ctr" bIns="0" lIns="162524" rIns="162524" rtlCol="0" tIns="0" vert="horz" wrap="square">
            <a:spAutoFit/>
          </a:bodyPr>
          <a:lstStyle>
            <a:defPPr>
              <a:defRPr lang="zh-CN"/>
            </a:defPPr>
            <a:lvl1pPr defTabSz="457200">
              <a:spcBef>
                <a:spcPct val="0"/>
              </a:spcBef>
              <a:buNone/>
              <a:defRPr b="1">
                <a:solidFill>
                  <a:srgbClr val="424B58"/>
                </a:solidFill>
                <a:latin typeface="+mn-ea"/>
                <a:cs typeface="Lato Regular"/>
              </a:defRPr>
            </a:lvl1pPr>
          </a:lstStyle>
          <a:p>
            <a:pPr algn="ctr"/>
            <a:r>
              <a:rPr altLang="en-US" lang="zh-CN" sz="2000">
                <a:solidFill>
                  <a:schemeClr val="tx1">
                    <a:lumMod val="85000"/>
                    <a:lumOff val="15000"/>
                  </a:schemeClr>
                </a:solidFill>
              </a:rPr>
              <a:t>第四季度</a:t>
            </a:r>
          </a:p>
        </p:txBody>
      </p:sp>
    </p:spTree>
    <p:extLst>
      <p:ext uri="{BB962C8B-B14F-4D97-AF65-F5344CB8AC3E}">
        <p14:creationId val="144647614"/>
      </p:ext>
    </p:extLst>
  </p:cSld>
  <p:clrMapOvr>
    <a:masterClrMapping/>
  </p:clrMapOvr>
  <mc:AlternateContent>
    <mc:Choice Requires="p14">
      <p:transition p14:dur="1500" spd="slow">
        <p:random/>
      </p:transition>
    </mc:Choice>
    <mc:Fallback>
      <p:transition spd="slow">
        <p:random/>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decel="100000" fill="hold" grpId="0" id="5" nodeType="withEffect" presetClass="entr" presetID="50" presetSubtype="0">
                                  <p:stCondLst>
                                    <p:cond delay="0"/>
                                  </p:stCondLst>
                                  <p:childTnLst>
                                    <p:set>
                                      <p:cBhvr>
                                        <p:cTn dur="1" fill="hold" id="6">
                                          <p:stCondLst>
                                            <p:cond delay="0"/>
                                          </p:stCondLst>
                                        </p:cTn>
                                        <p:tgtEl>
                                          <p:spTgt spid="10"/>
                                        </p:tgtEl>
                                        <p:attrNameLst>
                                          <p:attrName>style.visibility</p:attrName>
                                        </p:attrNameLst>
                                      </p:cBhvr>
                                      <p:to>
                                        <p:strVal val="visible"/>
                                      </p:to>
                                    </p:set>
                                    <p:anim calcmode="lin" valueType="num">
                                      <p:cBhvr>
                                        <p:cTn dur="1000" fill="hold" id="7"/>
                                        <p:tgtEl>
                                          <p:spTgt spid="10"/>
                                        </p:tgtEl>
                                        <p:attrNameLst>
                                          <p:attrName>ppt_w</p:attrName>
                                        </p:attrNameLst>
                                      </p:cBhvr>
                                      <p:tavLst>
                                        <p:tav tm="0">
                                          <p:val>
                                            <p:strVal val="#ppt_w+.3"/>
                                          </p:val>
                                        </p:tav>
                                        <p:tav tm="100000">
                                          <p:val>
                                            <p:strVal val="#ppt_w"/>
                                          </p:val>
                                        </p:tav>
                                      </p:tavLst>
                                    </p:anim>
                                    <p:anim calcmode="lin" valueType="num">
                                      <p:cBhvr>
                                        <p:cTn dur="1000" fill="hold" id="8"/>
                                        <p:tgtEl>
                                          <p:spTgt spid="10"/>
                                        </p:tgtEl>
                                        <p:attrNameLst>
                                          <p:attrName>ppt_h</p:attrName>
                                        </p:attrNameLst>
                                      </p:cBhvr>
                                      <p:tavLst>
                                        <p:tav tm="0">
                                          <p:val>
                                            <p:strVal val="#ppt_h"/>
                                          </p:val>
                                        </p:tav>
                                        <p:tav tm="100000">
                                          <p:val>
                                            <p:strVal val="#ppt_h"/>
                                          </p:val>
                                        </p:tav>
                                      </p:tavLst>
                                    </p:anim>
                                    <p:animEffect filter="fade" transition="in">
                                      <p:cBhvr>
                                        <p:cTn dur="1000" id="9"/>
                                        <p:tgtEl>
                                          <p:spTgt spid="10"/>
                                        </p:tgtEl>
                                      </p:cBhvr>
                                    </p:animEffect>
                                  </p:childTnLst>
                                </p:cTn>
                              </p:par>
                              <p:par>
                                <p:cTn fill="hold" id="10" nodeType="withEffect" presetClass="entr" presetID="53" presetSubtype="0">
                                  <p:stCondLst>
                                    <p:cond delay="250"/>
                                  </p:stCondLst>
                                  <p:childTnLst>
                                    <p:set>
                                      <p:cBhvr>
                                        <p:cTn dur="1" fill="hold" id="11">
                                          <p:stCondLst>
                                            <p:cond delay="0"/>
                                          </p:stCondLst>
                                        </p:cTn>
                                        <p:tgtEl>
                                          <p:spTgt spid="15"/>
                                        </p:tgtEl>
                                        <p:attrNameLst>
                                          <p:attrName>style.visibility</p:attrName>
                                        </p:attrNameLst>
                                      </p:cBhvr>
                                      <p:to>
                                        <p:strVal val="visible"/>
                                      </p:to>
                                    </p:set>
                                    <p:anim calcmode="lin" valueType="num">
                                      <p:cBhvr>
                                        <p:cTn dur="500" fill="hold" id="12"/>
                                        <p:tgtEl>
                                          <p:spTgt spid="15"/>
                                        </p:tgtEl>
                                        <p:attrNameLst>
                                          <p:attrName>ppt_w</p:attrName>
                                        </p:attrNameLst>
                                      </p:cBhvr>
                                      <p:tavLst>
                                        <p:tav tm="0">
                                          <p:val>
                                            <p:fltVal val="0"/>
                                          </p:val>
                                        </p:tav>
                                        <p:tav tm="100000">
                                          <p:val>
                                            <p:strVal val="#ppt_w"/>
                                          </p:val>
                                        </p:tav>
                                      </p:tavLst>
                                    </p:anim>
                                    <p:anim calcmode="lin" valueType="num">
                                      <p:cBhvr>
                                        <p:cTn dur="500" fill="hold" id="13"/>
                                        <p:tgtEl>
                                          <p:spTgt spid="15"/>
                                        </p:tgtEl>
                                        <p:attrNameLst>
                                          <p:attrName>ppt_h</p:attrName>
                                        </p:attrNameLst>
                                      </p:cBhvr>
                                      <p:tavLst>
                                        <p:tav tm="0">
                                          <p:val>
                                            <p:fltVal val="0"/>
                                          </p:val>
                                        </p:tav>
                                        <p:tav tm="100000">
                                          <p:val>
                                            <p:strVal val="#ppt_h"/>
                                          </p:val>
                                        </p:tav>
                                      </p:tavLst>
                                    </p:anim>
                                    <p:animEffect filter="fade" transition="in">
                                      <p:cBhvr>
                                        <p:cTn dur="500" id="14"/>
                                        <p:tgtEl>
                                          <p:spTgt spid="15"/>
                                        </p:tgtEl>
                                      </p:cBhvr>
                                    </p:animEffect>
                                  </p:childTnLst>
                                </p:cTn>
                              </p:par>
                              <p:par>
                                <p:cTn fill="hold" id="15" nodeType="withEffect" presetClass="entr" presetID="53" presetSubtype="0">
                                  <p:stCondLst>
                                    <p:cond delay="250"/>
                                  </p:stCondLst>
                                  <p:childTnLst>
                                    <p:set>
                                      <p:cBhvr>
                                        <p:cTn dur="1" fill="hold" id="16">
                                          <p:stCondLst>
                                            <p:cond delay="0"/>
                                          </p:stCondLst>
                                        </p:cTn>
                                        <p:tgtEl>
                                          <p:spTgt spid="16"/>
                                        </p:tgtEl>
                                        <p:attrNameLst>
                                          <p:attrName>style.visibility</p:attrName>
                                        </p:attrNameLst>
                                      </p:cBhvr>
                                      <p:to>
                                        <p:strVal val="visible"/>
                                      </p:to>
                                    </p:set>
                                    <p:anim calcmode="lin" valueType="num">
                                      <p:cBhvr>
                                        <p:cTn dur="500" fill="hold" id="17"/>
                                        <p:tgtEl>
                                          <p:spTgt spid="16"/>
                                        </p:tgtEl>
                                        <p:attrNameLst>
                                          <p:attrName>ppt_w</p:attrName>
                                        </p:attrNameLst>
                                      </p:cBhvr>
                                      <p:tavLst>
                                        <p:tav tm="0">
                                          <p:val>
                                            <p:fltVal val="0"/>
                                          </p:val>
                                        </p:tav>
                                        <p:tav tm="100000">
                                          <p:val>
                                            <p:strVal val="#ppt_w"/>
                                          </p:val>
                                        </p:tav>
                                      </p:tavLst>
                                    </p:anim>
                                    <p:anim calcmode="lin" valueType="num">
                                      <p:cBhvr>
                                        <p:cTn dur="500" fill="hold" id="18"/>
                                        <p:tgtEl>
                                          <p:spTgt spid="16"/>
                                        </p:tgtEl>
                                        <p:attrNameLst>
                                          <p:attrName>ppt_h</p:attrName>
                                        </p:attrNameLst>
                                      </p:cBhvr>
                                      <p:tavLst>
                                        <p:tav tm="0">
                                          <p:val>
                                            <p:fltVal val="0"/>
                                          </p:val>
                                        </p:tav>
                                        <p:tav tm="100000">
                                          <p:val>
                                            <p:strVal val="#ppt_h"/>
                                          </p:val>
                                        </p:tav>
                                      </p:tavLst>
                                    </p:anim>
                                    <p:animEffect filter="fade" transition="in">
                                      <p:cBhvr>
                                        <p:cTn dur="500" id="19"/>
                                        <p:tgtEl>
                                          <p:spTgt spid="16"/>
                                        </p:tgtEl>
                                      </p:cBhvr>
                                    </p:animEffect>
                                  </p:childTnLst>
                                </p:cTn>
                              </p:par>
                              <p:par>
                                <p:cTn fill="hold" id="20" nodeType="withEffect" presetClass="entr" presetID="22" presetSubtype="8">
                                  <p:stCondLst>
                                    <p:cond delay="750"/>
                                  </p:stCondLst>
                                  <p:childTnLst>
                                    <p:set>
                                      <p:cBhvr>
                                        <p:cTn dur="1" fill="hold" id="21">
                                          <p:stCondLst>
                                            <p:cond delay="0"/>
                                          </p:stCondLst>
                                        </p:cTn>
                                        <p:tgtEl>
                                          <p:spTgt spid="13"/>
                                        </p:tgtEl>
                                        <p:attrNameLst>
                                          <p:attrName>style.visibility</p:attrName>
                                        </p:attrNameLst>
                                      </p:cBhvr>
                                      <p:to>
                                        <p:strVal val="visible"/>
                                      </p:to>
                                    </p:set>
                                    <p:animEffect filter="wipe(left)" transition="in">
                                      <p:cBhvr>
                                        <p:cTn dur="250" id="22"/>
                                        <p:tgtEl>
                                          <p:spTgt spid="13"/>
                                        </p:tgtEl>
                                      </p:cBhvr>
                                    </p:animEffect>
                                  </p:childTnLst>
                                </p:cTn>
                              </p:par>
                              <p:par>
                                <p:cTn fill="hold" id="23" nodeType="withEffect" presetClass="entr" presetID="22" presetSubtype="2">
                                  <p:stCondLst>
                                    <p:cond delay="750"/>
                                  </p:stCondLst>
                                  <p:childTnLst>
                                    <p:set>
                                      <p:cBhvr>
                                        <p:cTn dur="1" fill="hold" id="24">
                                          <p:stCondLst>
                                            <p:cond delay="0"/>
                                          </p:stCondLst>
                                        </p:cTn>
                                        <p:tgtEl>
                                          <p:spTgt spid="18"/>
                                        </p:tgtEl>
                                        <p:attrNameLst>
                                          <p:attrName>style.visibility</p:attrName>
                                        </p:attrNameLst>
                                      </p:cBhvr>
                                      <p:to>
                                        <p:strVal val="visible"/>
                                      </p:to>
                                    </p:set>
                                    <p:animEffect filter="wipe(right)" transition="in">
                                      <p:cBhvr>
                                        <p:cTn dur="250" id="25"/>
                                        <p:tgtEl>
                                          <p:spTgt spid="18"/>
                                        </p:tgtEl>
                                      </p:cBhvr>
                                    </p:animEffect>
                                  </p:childTnLst>
                                </p:cTn>
                              </p:par>
                            </p:childTnLst>
                          </p:cTn>
                        </p:par>
                        <p:par>
                          <p:cTn fill="hold" id="26" nodeType="afterGroup">
                            <p:stCondLst>
                              <p:cond delay="1000"/>
                            </p:stCondLst>
                            <p:childTnLst>
                              <p:par>
                                <p:cTn fill="hold" id="27" nodeType="afterEffect" presetClass="entr" presetID="10" presetSubtype="0">
                                  <p:stCondLst>
                                    <p:cond delay="0"/>
                                  </p:stCondLst>
                                  <p:childTnLst>
                                    <p:set>
                                      <p:cBhvr>
                                        <p:cTn dur="1" fill="hold" id="28">
                                          <p:stCondLst>
                                            <p:cond delay="0"/>
                                          </p:stCondLst>
                                        </p:cTn>
                                        <p:tgtEl>
                                          <p:spTgt spid="12"/>
                                        </p:tgtEl>
                                        <p:attrNameLst>
                                          <p:attrName>style.visibility</p:attrName>
                                        </p:attrNameLst>
                                      </p:cBhvr>
                                      <p:to>
                                        <p:strVal val="visible"/>
                                      </p:to>
                                    </p:set>
                                    <p:animEffect filter="fade" transition="in">
                                      <p:cBhvr>
                                        <p:cTn dur="500" id="29"/>
                                        <p:tgtEl>
                                          <p:spTgt spid="12"/>
                                        </p:tgtEl>
                                      </p:cBhvr>
                                    </p:animEffect>
                                  </p:childTnLst>
                                </p:cTn>
                              </p:par>
                              <p:par>
                                <p:cTn fill="hold" grpId="0" id="30" nodeType="withEffect" presetClass="entr" presetID="21" presetSubtype="1">
                                  <p:stCondLst>
                                    <p:cond delay="0"/>
                                  </p:stCondLst>
                                  <p:childTnLst>
                                    <p:set>
                                      <p:cBhvr>
                                        <p:cTn dur="1" fill="hold" id="31">
                                          <p:stCondLst>
                                            <p:cond delay="0"/>
                                          </p:stCondLst>
                                        </p:cTn>
                                        <p:tgtEl>
                                          <p:spTgt spid="4"/>
                                        </p:tgtEl>
                                        <p:attrNameLst>
                                          <p:attrName>style.visibility</p:attrName>
                                        </p:attrNameLst>
                                      </p:cBhvr>
                                      <p:to>
                                        <p:strVal val="visible"/>
                                      </p:to>
                                    </p:set>
                                    <p:animEffect filter="wheel(1)" transition="in">
                                      <p:cBhvr>
                                        <p:cTn dur="750" id="32"/>
                                        <p:tgtEl>
                                          <p:spTgt spid="4"/>
                                        </p:tgtEl>
                                      </p:cBhvr>
                                    </p:animEffect>
                                  </p:childTnLst>
                                </p:cTn>
                              </p:par>
                            </p:childTnLst>
                          </p:cTn>
                        </p:par>
                        <p:par>
                          <p:cTn fill="hold" id="33" nodeType="afterGroup">
                            <p:stCondLst>
                              <p:cond delay="1750"/>
                            </p:stCondLst>
                            <p:childTnLst>
                              <p:par>
                                <p:cTn fill="hold" grpId="0" id="34" nodeType="afterEffect" presetClass="entr" presetID="23" presetSubtype="288">
                                  <p:stCondLst>
                                    <p:cond delay="0"/>
                                  </p:stCondLst>
                                  <p:childTnLst>
                                    <p:set>
                                      <p:cBhvr>
                                        <p:cTn dur="1" fill="hold" id="35">
                                          <p:stCondLst>
                                            <p:cond delay="0"/>
                                          </p:stCondLst>
                                        </p:cTn>
                                        <p:tgtEl>
                                          <p:spTgt spid="6"/>
                                        </p:tgtEl>
                                        <p:attrNameLst>
                                          <p:attrName>style.visibility</p:attrName>
                                        </p:attrNameLst>
                                      </p:cBhvr>
                                      <p:to>
                                        <p:strVal val="visible"/>
                                      </p:to>
                                    </p:set>
                                    <p:anim calcmode="lin" valueType="num">
                                      <p:cBhvr>
                                        <p:cTn dur="500" fill="hold" id="36"/>
                                        <p:tgtEl>
                                          <p:spTgt spid="6"/>
                                        </p:tgtEl>
                                        <p:attrNameLst>
                                          <p:attrName>ppt_w</p:attrName>
                                        </p:attrNameLst>
                                      </p:cBhvr>
                                      <p:tavLst>
                                        <p:tav tm="0">
                                          <p:val>
                                            <p:strVal val="4/3*#ppt_w"/>
                                          </p:val>
                                        </p:tav>
                                        <p:tav tm="100000">
                                          <p:val>
                                            <p:strVal val="#ppt_w"/>
                                          </p:val>
                                        </p:tav>
                                      </p:tavLst>
                                    </p:anim>
                                    <p:anim calcmode="lin" valueType="num">
                                      <p:cBhvr>
                                        <p:cTn dur="500" fill="hold" id="37"/>
                                        <p:tgtEl>
                                          <p:spTgt spid="6"/>
                                        </p:tgtEl>
                                        <p:attrNameLst>
                                          <p:attrName>ppt_h</p:attrName>
                                        </p:attrNameLst>
                                      </p:cBhvr>
                                      <p:tavLst>
                                        <p:tav tm="0">
                                          <p:val>
                                            <p:strVal val="4/3*#ppt_h"/>
                                          </p:val>
                                        </p:tav>
                                        <p:tav tm="100000">
                                          <p:val>
                                            <p:strVal val="#ppt_h"/>
                                          </p:val>
                                        </p:tav>
                                      </p:tavLst>
                                    </p:anim>
                                  </p:childTnLst>
                                </p:cTn>
                              </p:par>
                            </p:childTnLst>
                          </p:cTn>
                        </p:par>
                        <p:par>
                          <p:cTn fill="hold" id="38" nodeType="afterGroup">
                            <p:stCondLst>
                              <p:cond delay="2250"/>
                            </p:stCondLst>
                            <p:childTnLst>
                              <p:par>
                                <p:cTn fill="hold" grpId="0" id="39" nodeType="afterEffect" presetClass="entr" presetID="53" presetSubtype="0">
                                  <p:stCondLst>
                                    <p:cond delay="0"/>
                                  </p:stCondLst>
                                  <p:childTnLst>
                                    <p:set>
                                      <p:cBhvr>
                                        <p:cTn dur="1" fill="hold" id="40">
                                          <p:stCondLst>
                                            <p:cond delay="0"/>
                                          </p:stCondLst>
                                        </p:cTn>
                                        <p:tgtEl>
                                          <p:spTgt spid="19"/>
                                        </p:tgtEl>
                                        <p:attrNameLst>
                                          <p:attrName>style.visibility</p:attrName>
                                        </p:attrNameLst>
                                      </p:cBhvr>
                                      <p:to>
                                        <p:strVal val="visible"/>
                                      </p:to>
                                    </p:set>
                                    <p:anim calcmode="lin" valueType="num">
                                      <p:cBhvr>
                                        <p:cTn dur="500" fill="hold" id="41"/>
                                        <p:tgtEl>
                                          <p:spTgt spid="19"/>
                                        </p:tgtEl>
                                        <p:attrNameLst>
                                          <p:attrName>ppt_w</p:attrName>
                                        </p:attrNameLst>
                                      </p:cBhvr>
                                      <p:tavLst>
                                        <p:tav tm="0">
                                          <p:val>
                                            <p:fltVal val="0"/>
                                          </p:val>
                                        </p:tav>
                                        <p:tav tm="100000">
                                          <p:val>
                                            <p:strVal val="#ppt_w"/>
                                          </p:val>
                                        </p:tav>
                                      </p:tavLst>
                                    </p:anim>
                                    <p:anim calcmode="lin" valueType="num">
                                      <p:cBhvr>
                                        <p:cTn dur="500" fill="hold" id="42"/>
                                        <p:tgtEl>
                                          <p:spTgt spid="19"/>
                                        </p:tgtEl>
                                        <p:attrNameLst>
                                          <p:attrName>ppt_h</p:attrName>
                                        </p:attrNameLst>
                                      </p:cBhvr>
                                      <p:tavLst>
                                        <p:tav tm="0">
                                          <p:val>
                                            <p:fltVal val="0"/>
                                          </p:val>
                                        </p:tav>
                                        <p:tav tm="100000">
                                          <p:val>
                                            <p:strVal val="#ppt_h"/>
                                          </p:val>
                                        </p:tav>
                                      </p:tavLst>
                                    </p:anim>
                                    <p:animEffect filter="fade" transition="in">
                                      <p:cBhvr>
                                        <p:cTn dur="500" id="43"/>
                                        <p:tgtEl>
                                          <p:spTgt spid="19"/>
                                        </p:tgtEl>
                                      </p:cBhvr>
                                    </p:animEffect>
                                  </p:childTnLst>
                                </p:cTn>
                              </p:par>
                              <p:par>
                                <p:cTn fill="hold" grpId="0" id="44" nodeType="withEffect" presetClass="entr" presetID="47" presetSubtype="0">
                                  <p:stCondLst>
                                    <p:cond delay="0"/>
                                  </p:stCondLst>
                                  <p:childTnLst>
                                    <p:set>
                                      <p:cBhvr>
                                        <p:cTn dur="1" fill="hold" id="45">
                                          <p:stCondLst>
                                            <p:cond delay="0"/>
                                          </p:stCondLst>
                                        </p:cTn>
                                        <p:tgtEl>
                                          <p:spTgt spid="17"/>
                                        </p:tgtEl>
                                        <p:attrNameLst>
                                          <p:attrName>style.visibility</p:attrName>
                                        </p:attrNameLst>
                                      </p:cBhvr>
                                      <p:to>
                                        <p:strVal val="visible"/>
                                      </p:to>
                                    </p:set>
                                    <p:animEffect filter="fade" transition="in">
                                      <p:cBhvr>
                                        <p:cTn dur="1000" id="46"/>
                                        <p:tgtEl>
                                          <p:spTgt spid="17"/>
                                        </p:tgtEl>
                                      </p:cBhvr>
                                    </p:animEffect>
                                    <p:anim calcmode="lin" valueType="num">
                                      <p:cBhvr>
                                        <p:cTn dur="1000" fill="hold" id="47"/>
                                        <p:tgtEl>
                                          <p:spTgt spid="17"/>
                                        </p:tgtEl>
                                        <p:attrNameLst>
                                          <p:attrName>ppt_x</p:attrName>
                                        </p:attrNameLst>
                                      </p:cBhvr>
                                      <p:tavLst>
                                        <p:tav tm="0">
                                          <p:val>
                                            <p:strVal val="#ppt_x"/>
                                          </p:val>
                                        </p:tav>
                                        <p:tav tm="100000">
                                          <p:val>
                                            <p:strVal val="#ppt_x"/>
                                          </p:val>
                                        </p:tav>
                                      </p:tavLst>
                                    </p:anim>
                                    <p:anim calcmode="lin" valueType="num">
                                      <p:cBhvr>
                                        <p:cTn dur="1000" fill="hold" id="48"/>
                                        <p:tgtEl>
                                          <p:spTgt spid="17"/>
                                        </p:tgtEl>
                                        <p:attrNameLst>
                                          <p:attrName>ppt_y</p:attrName>
                                        </p:attrNameLst>
                                      </p:cBhvr>
                                      <p:tavLst>
                                        <p:tav tm="0">
                                          <p:val>
                                            <p:strVal val="#ppt_y-.1"/>
                                          </p:val>
                                        </p:tav>
                                        <p:tav tm="100000">
                                          <p:val>
                                            <p:strVal val="#ppt_y"/>
                                          </p:val>
                                        </p:tav>
                                      </p:tavLst>
                                    </p:anim>
                                  </p:childTnLst>
                                </p:cTn>
                              </p:par>
                            </p:childTnLst>
                          </p:cTn>
                        </p:par>
                        <p:par>
                          <p:cTn fill="hold" id="49" nodeType="afterGroup">
                            <p:stCondLst>
                              <p:cond delay="3250"/>
                            </p:stCondLst>
                            <p:childTnLst>
                              <p:par>
                                <p:cTn fill="hold" id="50" nodeType="afterEffect" presetClass="entr" presetID="10" presetSubtype="0">
                                  <p:stCondLst>
                                    <p:cond delay="0"/>
                                  </p:stCondLst>
                                  <p:childTnLst>
                                    <p:set>
                                      <p:cBhvr>
                                        <p:cTn dur="1" fill="hold" id="51">
                                          <p:stCondLst>
                                            <p:cond delay="0"/>
                                          </p:stCondLst>
                                        </p:cTn>
                                        <p:tgtEl>
                                          <p:spTgt spid="14"/>
                                        </p:tgtEl>
                                        <p:attrNameLst>
                                          <p:attrName>style.visibility</p:attrName>
                                        </p:attrNameLst>
                                      </p:cBhvr>
                                      <p:to>
                                        <p:strVal val="visible"/>
                                      </p:to>
                                    </p:set>
                                    <p:animEffect filter="fade" transition="in">
                                      <p:cBhvr>
                                        <p:cTn dur="500" id="52"/>
                                        <p:tgtEl>
                                          <p:spTgt spid="14"/>
                                        </p:tgtEl>
                                      </p:cBhvr>
                                    </p:animEffect>
                                  </p:childTnLst>
                                </p:cTn>
                              </p:par>
                              <p:par>
                                <p:cTn fill="hold" grpId="0" id="53" nodeType="withEffect" presetClass="entr" presetID="21" presetSubtype="1">
                                  <p:stCondLst>
                                    <p:cond delay="0"/>
                                  </p:stCondLst>
                                  <p:childTnLst>
                                    <p:set>
                                      <p:cBhvr>
                                        <p:cTn dur="1" fill="hold" id="54">
                                          <p:stCondLst>
                                            <p:cond delay="0"/>
                                          </p:stCondLst>
                                        </p:cTn>
                                        <p:tgtEl>
                                          <p:spTgt spid="30"/>
                                        </p:tgtEl>
                                        <p:attrNameLst>
                                          <p:attrName>style.visibility</p:attrName>
                                        </p:attrNameLst>
                                      </p:cBhvr>
                                      <p:to>
                                        <p:strVal val="visible"/>
                                      </p:to>
                                    </p:set>
                                    <p:animEffect filter="wheel(1)" transition="in">
                                      <p:cBhvr>
                                        <p:cTn dur="750" id="55"/>
                                        <p:tgtEl>
                                          <p:spTgt spid="30"/>
                                        </p:tgtEl>
                                      </p:cBhvr>
                                    </p:animEffect>
                                  </p:childTnLst>
                                </p:cTn>
                              </p:par>
                            </p:childTnLst>
                          </p:cTn>
                        </p:par>
                        <p:par>
                          <p:cTn fill="hold" id="56" nodeType="afterGroup">
                            <p:stCondLst>
                              <p:cond delay="4000"/>
                            </p:stCondLst>
                            <p:childTnLst>
                              <p:par>
                                <p:cTn fill="hold" grpId="0" id="57" nodeType="afterEffect" presetClass="entr" presetID="23" presetSubtype="288">
                                  <p:stCondLst>
                                    <p:cond delay="0"/>
                                  </p:stCondLst>
                                  <p:childTnLst>
                                    <p:set>
                                      <p:cBhvr>
                                        <p:cTn dur="1" fill="hold" id="58">
                                          <p:stCondLst>
                                            <p:cond delay="0"/>
                                          </p:stCondLst>
                                        </p:cTn>
                                        <p:tgtEl>
                                          <p:spTgt spid="31"/>
                                        </p:tgtEl>
                                        <p:attrNameLst>
                                          <p:attrName>style.visibility</p:attrName>
                                        </p:attrNameLst>
                                      </p:cBhvr>
                                      <p:to>
                                        <p:strVal val="visible"/>
                                      </p:to>
                                    </p:set>
                                    <p:anim calcmode="lin" valueType="num">
                                      <p:cBhvr>
                                        <p:cTn dur="500" fill="hold" id="59"/>
                                        <p:tgtEl>
                                          <p:spTgt spid="31"/>
                                        </p:tgtEl>
                                        <p:attrNameLst>
                                          <p:attrName>ppt_w</p:attrName>
                                        </p:attrNameLst>
                                      </p:cBhvr>
                                      <p:tavLst>
                                        <p:tav tm="0">
                                          <p:val>
                                            <p:strVal val="4/3*#ppt_w"/>
                                          </p:val>
                                        </p:tav>
                                        <p:tav tm="100000">
                                          <p:val>
                                            <p:strVal val="#ppt_w"/>
                                          </p:val>
                                        </p:tav>
                                      </p:tavLst>
                                    </p:anim>
                                    <p:anim calcmode="lin" valueType="num">
                                      <p:cBhvr>
                                        <p:cTn dur="500" fill="hold" id="60"/>
                                        <p:tgtEl>
                                          <p:spTgt spid="31"/>
                                        </p:tgtEl>
                                        <p:attrNameLst>
                                          <p:attrName>ppt_h</p:attrName>
                                        </p:attrNameLst>
                                      </p:cBhvr>
                                      <p:tavLst>
                                        <p:tav tm="0">
                                          <p:val>
                                            <p:strVal val="4/3*#ppt_h"/>
                                          </p:val>
                                        </p:tav>
                                        <p:tav tm="100000">
                                          <p:val>
                                            <p:strVal val="#ppt_h"/>
                                          </p:val>
                                        </p:tav>
                                      </p:tavLst>
                                    </p:anim>
                                  </p:childTnLst>
                                </p:cTn>
                              </p:par>
                            </p:childTnLst>
                          </p:cTn>
                        </p:par>
                        <p:par>
                          <p:cTn fill="hold" id="61" nodeType="afterGroup">
                            <p:stCondLst>
                              <p:cond delay="4500"/>
                            </p:stCondLst>
                            <p:childTnLst>
                              <p:par>
                                <p:cTn fill="hold" grpId="0" id="62" nodeType="afterEffect" presetClass="entr" presetID="53" presetSubtype="0">
                                  <p:stCondLst>
                                    <p:cond delay="0"/>
                                  </p:stCondLst>
                                  <p:childTnLst>
                                    <p:set>
                                      <p:cBhvr>
                                        <p:cTn dur="1" fill="hold" id="63">
                                          <p:stCondLst>
                                            <p:cond delay="0"/>
                                          </p:stCondLst>
                                        </p:cTn>
                                        <p:tgtEl>
                                          <p:spTgt spid="33"/>
                                        </p:tgtEl>
                                        <p:attrNameLst>
                                          <p:attrName>style.visibility</p:attrName>
                                        </p:attrNameLst>
                                      </p:cBhvr>
                                      <p:to>
                                        <p:strVal val="visible"/>
                                      </p:to>
                                    </p:set>
                                    <p:anim calcmode="lin" valueType="num">
                                      <p:cBhvr>
                                        <p:cTn dur="500" fill="hold" id="64"/>
                                        <p:tgtEl>
                                          <p:spTgt spid="33"/>
                                        </p:tgtEl>
                                        <p:attrNameLst>
                                          <p:attrName>ppt_w</p:attrName>
                                        </p:attrNameLst>
                                      </p:cBhvr>
                                      <p:tavLst>
                                        <p:tav tm="0">
                                          <p:val>
                                            <p:fltVal val="0"/>
                                          </p:val>
                                        </p:tav>
                                        <p:tav tm="100000">
                                          <p:val>
                                            <p:strVal val="#ppt_w"/>
                                          </p:val>
                                        </p:tav>
                                      </p:tavLst>
                                    </p:anim>
                                    <p:anim calcmode="lin" valueType="num">
                                      <p:cBhvr>
                                        <p:cTn dur="500" fill="hold" id="65"/>
                                        <p:tgtEl>
                                          <p:spTgt spid="33"/>
                                        </p:tgtEl>
                                        <p:attrNameLst>
                                          <p:attrName>ppt_h</p:attrName>
                                        </p:attrNameLst>
                                      </p:cBhvr>
                                      <p:tavLst>
                                        <p:tav tm="0">
                                          <p:val>
                                            <p:fltVal val="0"/>
                                          </p:val>
                                        </p:tav>
                                        <p:tav tm="100000">
                                          <p:val>
                                            <p:strVal val="#ppt_h"/>
                                          </p:val>
                                        </p:tav>
                                      </p:tavLst>
                                    </p:anim>
                                    <p:animEffect filter="fade" transition="in">
                                      <p:cBhvr>
                                        <p:cTn dur="500" id="66"/>
                                        <p:tgtEl>
                                          <p:spTgt spid="33"/>
                                        </p:tgtEl>
                                      </p:cBhvr>
                                    </p:animEffect>
                                  </p:childTnLst>
                                </p:cTn>
                              </p:par>
                              <p:par>
                                <p:cTn fill="hold" grpId="0" id="67" nodeType="withEffect" presetClass="entr" presetID="47" presetSubtype="0">
                                  <p:stCondLst>
                                    <p:cond delay="0"/>
                                  </p:stCondLst>
                                  <p:childTnLst>
                                    <p:set>
                                      <p:cBhvr>
                                        <p:cTn dur="1" fill="hold" id="68">
                                          <p:stCondLst>
                                            <p:cond delay="0"/>
                                          </p:stCondLst>
                                        </p:cTn>
                                        <p:tgtEl>
                                          <p:spTgt spid="32"/>
                                        </p:tgtEl>
                                        <p:attrNameLst>
                                          <p:attrName>style.visibility</p:attrName>
                                        </p:attrNameLst>
                                      </p:cBhvr>
                                      <p:to>
                                        <p:strVal val="visible"/>
                                      </p:to>
                                    </p:set>
                                    <p:animEffect filter="fade" transition="in">
                                      <p:cBhvr>
                                        <p:cTn dur="1000" id="69"/>
                                        <p:tgtEl>
                                          <p:spTgt spid="32"/>
                                        </p:tgtEl>
                                      </p:cBhvr>
                                    </p:animEffect>
                                    <p:anim calcmode="lin" valueType="num">
                                      <p:cBhvr>
                                        <p:cTn dur="1000" fill="hold" id="70"/>
                                        <p:tgtEl>
                                          <p:spTgt spid="32"/>
                                        </p:tgtEl>
                                        <p:attrNameLst>
                                          <p:attrName>ppt_x</p:attrName>
                                        </p:attrNameLst>
                                      </p:cBhvr>
                                      <p:tavLst>
                                        <p:tav tm="0">
                                          <p:val>
                                            <p:strVal val="#ppt_x"/>
                                          </p:val>
                                        </p:tav>
                                        <p:tav tm="100000">
                                          <p:val>
                                            <p:strVal val="#ppt_x"/>
                                          </p:val>
                                        </p:tav>
                                      </p:tavLst>
                                    </p:anim>
                                    <p:anim calcmode="lin" valueType="num">
                                      <p:cBhvr>
                                        <p:cTn dur="1000" fill="hold" id="71"/>
                                        <p:tgtEl>
                                          <p:spTgt spid="32"/>
                                        </p:tgtEl>
                                        <p:attrNameLst>
                                          <p:attrName>ppt_y</p:attrName>
                                        </p:attrNameLst>
                                      </p:cBhvr>
                                      <p:tavLst>
                                        <p:tav tm="0">
                                          <p:val>
                                            <p:strVal val="#ppt_y-.1"/>
                                          </p:val>
                                        </p:tav>
                                        <p:tav tm="100000">
                                          <p:val>
                                            <p:strVal val="#ppt_y"/>
                                          </p:val>
                                        </p:tav>
                                      </p:tavLst>
                                    </p:anim>
                                  </p:childTnLst>
                                </p:cTn>
                              </p:par>
                            </p:childTnLst>
                          </p:cTn>
                        </p:par>
                        <p:par>
                          <p:cTn fill="hold" id="72" nodeType="afterGroup">
                            <p:stCondLst>
                              <p:cond delay="5500"/>
                            </p:stCondLst>
                            <p:childTnLst>
                              <p:par>
                                <p:cTn fill="hold" id="73" nodeType="afterEffect" presetClass="entr" presetID="10" presetSubtype="0">
                                  <p:stCondLst>
                                    <p:cond delay="0"/>
                                  </p:stCondLst>
                                  <p:childTnLst>
                                    <p:set>
                                      <p:cBhvr>
                                        <p:cTn dur="1" fill="hold" id="74">
                                          <p:stCondLst>
                                            <p:cond delay="0"/>
                                          </p:stCondLst>
                                        </p:cTn>
                                        <p:tgtEl>
                                          <p:spTgt spid="48"/>
                                        </p:tgtEl>
                                        <p:attrNameLst>
                                          <p:attrName>style.visibility</p:attrName>
                                        </p:attrNameLst>
                                      </p:cBhvr>
                                      <p:to>
                                        <p:strVal val="visible"/>
                                      </p:to>
                                    </p:set>
                                    <p:animEffect filter="fade" transition="in">
                                      <p:cBhvr>
                                        <p:cTn dur="500" id="75"/>
                                        <p:tgtEl>
                                          <p:spTgt spid="48"/>
                                        </p:tgtEl>
                                      </p:cBhvr>
                                    </p:animEffect>
                                  </p:childTnLst>
                                </p:cTn>
                              </p:par>
                              <p:par>
                                <p:cTn fill="hold" grpId="0" id="76" nodeType="withEffect" presetClass="entr" presetID="21" presetSubtype="1">
                                  <p:stCondLst>
                                    <p:cond delay="0"/>
                                  </p:stCondLst>
                                  <p:childTnLst>
                                    <p:set>
                                      <p:cBhvr>
                                        <p:cTn dur="1" fill="hold" id="77">
                                          <p:stCondLst>
                                            <p:cond delay="0"/>
                                          </p:stCondLst>
                                        </p:cTn>
                                        <p:tgtEl>
                                          <p:spTgt spid="37"/>
                                        </p:tgtEl>
                                        <p:attrNameLst>
                                          <p:attrName>style.visibility</p:attrName>
                                        </p:attrNameLst>
                                      </p:cBhvr>
                                      <p:to>
                                        <p:strVal val="visible"/>
                                      </p:to>
                                    </p:set>
                                    <p:animEffect filter="wheel(1)" transition="in">
                                      <p:cBhvr>
                                        <p:cTn dur="750" id="78"/>
                                        <p:tgtEl>
                                          <p:spTgt spid="37"/>
                                        </p:tgtEl>
                                      </p:cBhvr>
                                    </p:animEffect>
                                  </p:childTnLst>
                                </p:cTn>
                              </p:par>
                            </p:childTnLst>
                          </p:cTn>
                        </p:par>
                        <p:par>
                          <p:cTn fill="hold" id="79" nodeType="afterGroup">
                            <p:stCondLst>
                              <p:cond delay="6250"/>
                            </p:stCondLst>
                            <p:childTnLst>
                              <p:par>
                                <p:cTn fill="hold" grpId="0" id="80" nodeType="afterEffect" presetClass="entr" presetID="23" presetSubtype="288">
                                  <p:stCondLst>
                                    <p:cond delay="0"/>
                                  </p:stCondLst>
                                  <p:childTnLst>
                                    <p:set>
                                      <p:cBhvr>
                                        <p:cTn dur="1" fill="hold" id="81">
                                          <p:stCondLst>
                                            <p:cond delay="0"/>
                                          </p:stCondLst>
                                        </p:cTn>
                                        <p:tgtEl>
                                          <p:spTgt spid="38"/>
                                        </p:tgtEl>
                                        <p:attrNameLst>
                                          <p:attrName>style.visibility</p:attrName>
                                        </p:attrNameLst>
                                      </p:cBhvr>
                                      <p:to>
                                        <p:strVal val="visible"/>
                                      </p:to>
                                    </p:set>
                                    <p:anim calcmode="lin" valueType="num">
                                      <p:cBhvr>
                                        <p:cTn dur="500" fill="hold" id="82"/>
                                        <p:tgtEl>
                                          <p:spTgt spid="38"/>
                                        </p:tgtEl>
                                        <p:attrNameLst>
                                          <p:attrName>ppt_w</p:attrName>
                                        </p:attrNameLst>
                                      </p:cBhvr>
                                      <p:tavLst>
                                        <p:tav tm="0">
                                          <p:val>
                                            <p:strVal val="4/3*#ppt_w"/>
                                          </p:val>
                                        </p:tav>
                                        <p:tav tm="100000">
                                          <p:val>
                                            <p:strVal val="#ppt_w"/>
                                          </p:val>
                                        </p:tav>
                                      </p:tavLst>
                                    </p:anim>
                                    <p:anim calcmode="lin" valueType="num">
                                      <p:cBhvr>
                                        <p:cTn dur="500" fill="hold" id="83"/>
                                        <p:tgtEl>
                                          <p:spTgt spid="38"/>
                                        </p:tgtEl>
                                        <p:attrNameLst>
                                          <p:attrName>ppt_h</p:attrName>
                                        </p:attrNameLst>
                                      </p:cBhvr>
                                      <p:tavLst>
                                        <p:tav tm="0">
                                          <p:val>
                                            <p:strVal val="4/3*#ppt_h"/>
                                          </p:val>
                                        </p:tav>
                                        <p:tav tm="100000">
                                          <p:val>
                                            <p:strVal val="#ppt_h"/>
                                          </p:val>
                                        </p:tav>
                                      </p:tavLst>
                                    </p:anim>
                                  </p:childTnLst>
                                </p:cTn>
                              </p:par>
                            </p:childTnLst>
                          </p:cTn>
                        </p:par>
                        <p:par>
                          <p:cTn fill="hold" id="84" nodeType="afterGroup">
                            <p:stCondLst>
                              <p:cond delay="6750"/>
                            </p:stCondLst>
                            <p:childTnLst>
                              <p:par>
                                <p:cTn fill="hold" grpId="0" id="85" nodeType="afterEffect" presetClass="entr" presetID="53" presetSubtype="0">
                                  <p:stCondLst>
                                    <p:cond delay="0"/>
                                  </p:stCondLst>
                                  <p:childTnLst>
                                    <p:set>
                                      <p:cBhvr>
                                        <p:cTn dur="1" fill="hold" id="86">
                                          <p:stCondLst>
                                            <p:cond delay="0"/>
                                          </p:stCondLst>
                                        </p:cTn>
                                        <p:tgtEl>
                                          <p:spTgt spid="40"/>
                                        </p:tgtEl>
                                        <p:attrNameLst>
                                          <p:attrName>style.visibility</p:attrName>
                                        </p:attrNameLst>
                                      </p:cBhvr>
                                      <p:to>
                                        <p:strVal val="visible"/>
                                      </p:to>
                                    </p:set>
                                    <p:anim calcmode="lin" valueType="num">
                                      <p:cBhvr>
                                        <p:cTn dur="500" fill="hold" id="87"/>
                                        <p:tgtEl>
                                          <p:spTgt spid="40"/>
                                        </p:tgtEl>
                                        <p:attrNameLst>
                                          <p:attrName>ppt_w</p:attrName>
                                        </p:attrNameLst>
                                      </p:cBhvr>
                                      <p:tavLst>
                                        <p:tav tm="0">
                                          <p:val>
                                            <p:fltVal val="0"/>
                                          </p:val>
                                        </p:tav>
                                        <p:tav tm="100000">
                                          <p:val>
                                            <p:strVal val="#ppt_w"/>
                                          </p:val>
                                        </p:tav>
                                      </p:tavLst>
                                    </p:anim>
                                    <p:anim calcmode="lin" valueType="num">
                                      <p:cBhvr>
                                        <p:cTn dur="500" fill="hold" id="88"/>
                                        <p:tgtEl>
                                          <p:spTgt spid="40"/>
                                        </p:tgtEl>
                                        <p:attrNameLst>
                                          <p:attrName>ppt_h</p:attrName>
                                        </p:attrNameLst>
                                      </p:cBhvr>
                                      <p:tavLst>
                                        <p:tav tm="0">
                                          <p:val>
                                            <p:fltVal val="0"/>
                                          </p:val>
                                        </p:tav>
                                        <p:tav tm="100000">
                                          <p:val>
                                            <p:strVal val="#ppt_h"/>
                                          </p:val>
                                        </p:tav>
                                      </p:tavLst>
                                    </p:anim>
                                    <p:animEffect filter="fade" transition="in">
                                      <p:cBhvr>
                                        <p:cTn dur="500" id="89"/>
                                        <p:tgtEl>
                                          <p:spTgt spid="40"/>
                                        </p:tgtEl>
                                      </p:cBhvr>
                                    </p:animEffect>
                                  </p:childTnLst>
                                </p:cTn>
                              </p:par>
                              <p:par>
                                <p:cTn fill="hold" grpId="0" id="90" nodeType="withEffect" presetClass="entr" presetID="47" presetSubtype="0">
                                  <p:stCondLst>
                                    <p:cond delay="0"/>
                                  </p:stCondLst>
                                  <p:childTnLst>
                                    <p:set>
                                      <p:cBhvr>
                                        <p:cTn dur="1" fill="hold" id="91">
                                          <p:stCondLst>
                                            <p:cond delay="0"/>
                                          </p:stCondLst>
                                        </p:cTn>
                                        <p:tgtEl>
                                          <p:spTgt spid="39"/>
                                        </p:tgtEl>
                                        <p:attrNameLst>
                                          <p:attrName>style.visibility</p:attrName>
                                        </p:attrNameLst>
                                      </p:cBhvr>
                                      <p:to>
                                        <p:strVal val="visible"/>
                                      </p:to>
                                    </p:set>
                                    <p:animEffect filter="fade" transition="in">
                                      <p:cBhvr>
                                        <p:cTn dur="1000" id="92"/>
                                        <p:tgtEl>
                                          <p:spTgt spid="39"/>
                                        </p:tgtEl>
                                      </p:cBhvr>
                                    </p:animEffect>
                                    <p:anim calcmode="lin" valueType="num">
                                      <p:cBhvr>
                                        <p:cTn dur="1000" fill="hold" id="93"/>
                                        <p:tgtEl>
                                          <p:spTgt spid="39"/>
                                        </p:tgtEl>
                                        <p:attrNameLst>
                                          <p:attrName>ppt_x</p:attrName>
                                        </p:attrNameLst>
                                      </p:cBhvr>
                                      <p:tavLst>
                                        <p:tav tm="0">
                                          <p:val>
                                            <p:strVal val="#ppt_x"/>
                                          </p:val>
                                        </p:tav>
                                        <p:tav tm="100000">
                                          <p:val>
                                            <p:strVal val="#ppt_x"/>
                                          </p:val>
                                        </p:tav>
                                      </p:tavLst>
                                    </p:anim>
                                    <p:anim calcmode="lin" valueType="num">
                                      <p:cBhvr>
                                        <p:cTn dur="1000" fill="hold" id="94"/>
                                        <p:tgtEl>
                                          <p:spTgt spid="39"/>
                                        </p:tgtEl>
                                        <p:attrNameLst>
                                          <p:attrName>ppt_y</p:attrName>
                                        </p:attrNameLst>
                                      </p:cBhvr>
                                      <p:tavLst>
                                        <p:tav tm="0">
                                          <p:val>
                                            <p:strVal val="#ppt_y-.1"/>
                                          </p:val>
                                        </p:tav>
                                        <p:tav tm="100000">
                                          <p:val>
                                            <p:strVal val="#ppt_y"/>
                                          </p:val>
                                        </p:tav>
                                      </p:tavLst>
                                    </p:anim>
                                  </p:childTnLst>
                                </p:cTn>
                              </p:par>
                            </p:childTnLst>
                          </p:cTn>
                        </p:par>
                        <p:par>
                          <p:cTn fill="hold" id="95" nodeType="afterGroup">
                            <p:stCondLst>
                              <p:cond delay="7750"/>
                            </p:stCondLst>
                            <p:childTnLst>
                              <p:par>
                                <p:cTn fill="hold" id="96" nodeType="afterEffect" presetClass="entr" presetID="10" presetSubtype="0">
                                  <p:stCondLst>
                                    <p:cond delay="0"/>
                                  </p:stCondLst>
                                  <p:childTnLst>
                                    <p:set>
                                      <p:cBhvr>
                                        <p:cTn dur="1" fill="hold" id="97">
                                          <p:stCondLst>
                                            <p:cond delay="0"/>
                                          </p:stCondLst>
                                        </p:cTn>
                                        <p:tgtEl>
                                          <p:spTgt spid="49"/>
                                        </p:tgtEl>
                                        <p:attrNameLst>
                                          <p:attrName>style.visibility</p:attrName>
                                        </p:attrNameLst>
                                      </p:cBhvr>
                                      <p:to>
                                        <p:strVal val="visible"/>
                                      </p:to>
                                    </p:set>
                                    <p:animEffect filter="fade" transition="in">
                                      <p:cBhvr>
                                        <p:cTn dur="500" id="98"/>
                                        <p:tgtEl>
                                          <p:spTgt spid="49"/>
                                        </p:tgtEl>
                                      </p:cBhvr>
                                    </p:animEffect>
                                  </p:childTnLst>
                                </p:cTn>
                              </p:par>
                              <p:par>
                                <p:cTn fill="hold" grpId="0" id="99" nodeType="withEffect" presetClass="entr" presetID="21" presetSubtype="1">
                                  <p:stCondLst>
                                    <p:cond delay="0"/>
                                  </p:stCondLst>
                                  <p:childTnLst>
                                    <p:set>
                                      <p:cBhvr>
                                        <p:cTn dur="1" fill="hold" id="100">
                                          <p:stCondLst>
                                            <p:cond delay="0"/>
                                          </p:stCondLst>
                                        </p:cTn>
                                        <p:tgtEl>
                                          <p:spTgt spid="44"/>
                                        </p:tgtEl>
                                        <p:attrNameLst>
                                          <p:attrName>style.visibility</p:attrName>
                                        </p:attrNameLst>
                                      </p:cBhvr>
                                      <p:to>
                                        <p:strVal val="visible"/>
                                      </p:to>
                                    </p:set>
                                    <p:animEffect filter="wheel(1)" transition="in">
                                      <p:cBhvr>
                                        <p:cTn dur="750" id="101"/>
                                        <p:tgtEl>
                                          <p:spTgt spid="44"/>
                                        </p:tgtEl>
                                      </p:cBhvr>
                                    </p:animEffect>
                                  </p:childTnLst>
                                </p:cTn>
                              </p:par>
                            </p:childTnLst>
                          </p:cTn>
                        </p:par>
                        <p:par>
                          <p:cTn fill="hold" id="102" nodeType="afterGroup">
                            <p:stCondLst>
                              <p:cond delay="8500"/>
                            </p:stCondLst>
                            <p:childTnLst>
                              <p:par>
                                <p:cTn fill="hold" grpId="0" id="103" nodeType="afterEffect" presetClass="entr" presetID="23" presetSubtype="288">
                                  <p:stCondLst>
                                    <p:cond delay="0"/>
                                  </p:stCondLst>
                                  <p:childTnLst>
                                    <p:set>
                                      <p:cBhvr>
                                        <p:cTn dur="1" fill="hold" id="104">
                                          <p:stCondLst>
                                            <p:cond delay="0"/>
                                          </p:stCondLst>
                                        </p:cTn>
                                        <p:tgtEl>
                                          <p:spTgt spid="45"/>
                                        </p:tgtEl>
                                        <p:attrNameLst>
                                          <p:attrName>style.visibility</p:attrName>
                                        </p:attrNameLst>
                                      </p:cBhvr>
                                      <p:to>
                                        <p:strVal val="visible"/>
                                      </p:to>
                                    </p:set>
                                    <p:anim calcmode="lin" valueType="num">
                                      <p:cBhvr>
                                        <p:cTn dur="500" fill="hold" id="105"/>
                                        <p:tgtEl>
                                          <p:spTgt spid="45"/>
                                        </p:tgtEl>
                                        <p:attrNameLst>
                                          <p:attrName>ppt_w</p:attrName>
                                        </p:attrNameLst>
                                      </p:cBhvr>
                                      <p:tavLst>
                                        <p:tav tm="0">
                                          <p:val>
                                            <p:strVal val="4/3*#ppt_w"/>
                                          </p:val>
                                        </p:tav>
                                        <p:tav tm="100000">
                                          <p:val>
                                            <p:strVal val="#ppt_w"/>
                                          </p:val>
                                        </p:tav>
                                      </p:tavLst>
                                    </p:anim>
                                    <p:anim calcmode="lin" valueType="num">
                                      <p:cBhvr>
                                        <p:cTn dur="500" fill="hold" id="106"/>
                                        <p:tgtEl>
                                          <p:spTgt spid="45"/>
                                        </p:tgtEl>
                                        <p:attrNameLst>
                                          <p:attrName>ppt_h</p:attrName>
                                        </p:attrNameLst>
                                      </p:cBhvr>
                                      <p:tavLst>
                                        <p:tav tm="0">
                                          <p:val>
                                            <p:strVal val="4/3*#ppt_h"/>
                                          </p:val>
                                        </p:tav>
                                        <p:tav tm="100000">
                                          <p:val>
                                            <p:strVal val="#ppt_h"/>
                                          </p:val>
                                        </p:tav>
                                      </p:tavLst>
                                    </p:anim>
                                  </p:childTnLst>
                                </p:cTn>
                              </p:par>
                            </p:childTnLst>
                          </p:cTn>
                        </p:par>
                        <p:par>
                          <p:cTn fill="hold" id="107" nodeType="afterGroup">
                            <p:stCondLst>
                              <p:cond delay="9000"/>
                            </p:stCondLst>
                            <p:childTnLst>
                              <p:par>
                                <p:cTn fill="hold" grpId="0" id="108" nodeType="afterEffect" presetClass="entr" presetID="53" presetSubtype="0">
                                  <p:stCondLst>
                                    <p:cond delay="0"/>
                                  </p:stCondLst>
                                  <p:childTnLst>
                                    <p:set>
                                      <p:cBhvr>
                                        <p:cTn dur="1" fill="hold" id="109">
                                          <p:stCondLst>
                                            <p:cond delay="0"/>
                                          </p:stCondLst>
                                        </p:cTn>
                                        <p:tgtEl>
                                          <p:spTgt spid="47"/>
                                        </p:tgtEl>
                                        <p:attrNameLst>
                                          <p:attrName>style.visibility</p:attrName>
                                        </p:attrNameLst>
                                      </p:cBhvr>
                                      <p:to>
                                        <p:strVal val="visible"/>
                                      </p:to>
                                    </p:set>
                                    <p:anim calcmode="lin" valueType="num">
                                      <p:cBhvr>
                                        <p:cTn dur="500" fill="hold" id="110"/>
                                        <p:tgtEl>
                                          <p:spTgt spid="47"/>
                                        </p:tgtEl>
                                        <p:attrNameLst>
                                          <p:attrName>ppt_w</p:attrName>
                                        </p:attrNameLst>
                                      </p:cBhvr>
                                      <p:tavLst>
                                        <p:tav tm="0">
                                          <p:val>
                                            <p:fltVal val="0"/>
                                          </p:val>
                                        </p:tav>
                                        <p:tav tm="100000">
                                          <p:val>
                                            <p:strVal val="#ppt_w"/>
                                          </p:val>
                                        </p:tav>
                                      </p:tavLst>
                                    </p:anim>
                                    <p:anim calcmode="lin" valueType="num">
                                      <p:cBhvr>
                                        <p:cTn dur="500" fill="hold" id="111"/>
                                        <p:tgtEl>
                                          <p:spTgt spid="47"/>
                                        </p:tgtEl>
                                        <p:attrNameLst>
                                          <p:attrName>ppt_h</p:attrName>
                                        </p:attrNameLst>
                                      </p:cBhvr>
                                      <p:tavLst>
                                        <p:tav tm="0">
                                          <p:val>
                                            <p:fltVal val="0"/>
                                          </p:val>
                                        </p:tav>
                                        <p:tav tm="100000">
                                          <p:val>
                                            <p:strVal val="#ppt_h"/>
                                          </p:val>
                                        </p:tav>
                                      </p:tavLst>
                                    </p:anim>
                                    <p:animEffect filter="fade" transition="in">
                                      <p:cBhvr>
                                        <p:cTn dur="500" id="112"/>
                                        <p:tgtEl>
                                          <p:spTgt spid="47"/>
                                        </p:tgtEl>
                                      </p:cBhvr>
                                    </p:animEffect>
                                  </p:childTnLst>
                                </p:cTn>
                              </p:par>
                              <p:par>
                                <p:cTn fill="hold" grpId="0" id="113" nodeType="withEffect" presetClass="entr" presetID="47" presetSubtype="0">
                                  <p:stCondLst>
                                    <p:cond delay="0"/>
                                  </p:stCondLst>
                                  <p:childTnLst>
                                    <p:set>
                                      <p:cBhvr>
                                        <p:cTn dur="1" fill="hold" id="114">
                                          <p:stCondLst>
                                            <p:cond delay="0"/>
                                          </p:stCondLst>
                                        </p:cTn>
                                        <p:tgtEl>
                                          <p:spTgt spid="46"/>
                                        </p:tgtEl>
                                        <p:attrNameLst>
                                          <p:attrName>style.visibility</p:attrName>
                                        </p:attrNameLst>
                                      </p:cBhvr>
                                      <p:to>
                                        <p:strVal val="visible"/>
                                      </p:to>
                                    </p:set>
                                    <p:animEffect filter="fade" transition="in">
                                      <p:cBhvr>
                                        <p:cTn dur="1000" id="115"/>
                                        <p:tgtEl>
                                          <p:spTgt spid="46"/>
                                        </p:tgtEl>
                                      </p:cBhvr>
                                    </p:animEffect>
                                    <p:anim calcmode="lin" valueType="num">
                                      <p:cBhvr>
                                        <p:cTn dur="1000" fill="hold" id="116"/>
                                        <p:tgtEl>
                                          <p:spTgt spid="46"/>
                                        </p:tgtEl>
                                        <p:attrNameLst>
                                          <p:attrName>ppt_x</p:attrName>
                                        </p:attrNameLst>
                                      </p:cBhvr>
                                      <p:tavLst>
                                        <p:tav tm="0">
                                          <p:val>
                                            <p:strVal val="#ppt_x"/>
                                          </p:val>
                                        </p:tav>
                                        <p:tav tm="100000">
                                          <p:val>
                                            <p:strVal val="#ppt_x"/>
                                          </p:val>
                                        </p:tav>
                                      </p:tavLst>
                                    </p:anim>
                                    <p:anim calcmode="lin" valueType="num">
                                      <p:cBhvr>
                                        <p:cTn dur="1000" fill="hold" id="117"/>
                                        <p:tgtEl>
                                          <p:spTgt spid="46"/>
                                        </p:tgtEl>
                                        <p:attrNameLst>
                                          <p:attrName>ppt_y</p:attrName>
                                        </p:attrNameLst>
                                      </p:cBhvr>
                                      <p:tavLst>
                                        <p:tav tm="0">
                                          <p:val>
                                            <p:strVal val="#ppt_y-.1"/>
                                          </p:val>
                                        </p:tav>
                                        <p:tav tm="100000">
                                          <p:val>
                                            <p:strVal val="#ppt_y"/>
                                          </p:val>
                                        </p:tav>
                                      </p:tavLst>
                                    </p:anim>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10"/>
      <p:bldP grpId="0" spid="4"/>
      <p:bldP grpId="0" spid="6"/>
      <p:bldP grpId="0" spid="17"/>
      <p:bldP grpId="0" spid="19"/>
      <p:bldP grpId="0" spid="30"/>
      <p:bldP grpId="0" spid="31"/>
      <p:bldP grpId="0" spid="32"/>
      <p:bldP grpId="0" spid="33"/>
      <p:bldP grpId="0" spid="37"/>
      <p:bldP grpId="0" spid="38"/>
      <p:bldP grpId="0" spid="39"/>
      <p:bldP grpId="0" spid="40"/>
      <p:bldP grpId="0" spid="44"/>
      <p:bldP grpId="0" spid="45"/>
      <p:bldP grpId="0" spid="46"/>
      <p:bldP grpId="0" spid="47"/>
    </p:bldLst>
  </p:timing>
</p:sld>
</file>

<file path=ppt/slides/slide6.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134" name="矩形 133">
            <a:extLst>
              <a:ext uri="{FF2B5EF4-FFF2-40B4-BE49-F238E27FC236}">
                <a16:creationId xmlns:a16="http://schemas.microsoft.com/office/drawing/2014/main" id="{E825AE11-ACF0-44FA-8679-66635FE5800E}"/>
              </a:ext>
            </a:extLst>
          </p:cNvPr>
          <p:cNvSpPr/>
          <p:nvPr/>
        </p:nvSpPr>
        <p:spPr>
          <a:xfrm>
            <a:off x="4829579" y="4298962"/>
            <a:ext cx="3725133" cy="174278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7" name="椭圆 6">
            <a:extLst>
              <a:ext uri="{FF2B5EF4-FFF2-40B4-BE49-F238E27FC236}">
                <a16:creationId xmlns:a16="http://schemas.microsoft.com/office/drawing/2014/main" id="{97F35CCF-B1AD-40AD-9D77-E1886CA3C847}"/>
              </a:ext>
            </a:extLst>
          </p:cNvPr>
          <p:cNvSpPr/>
          <p:nvPr/>
        </p:nvSpPr>
        <p:spPr>
          <a:xfrm>
            <a:off x="11325281" y="5957455"/>
            <a:ext cx="1193212" cy="1193212"/>
          </a:xfrm>
          <a:prstGeom prst="ellipse">
            <a:avLst/>
          </a:prstGeom>
          <a:solidFill>
            <a:srgbClr val="A0CBD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pic>
        <p:nvPicPr>
          <p:cNvPr id="9" name="图形 8">
            <a:extLst>
              <a:ext uri="{FF2B5EF4-FFF2-40B4-BE49-F238E27FC236}">
                <a16:creationId xmlns:a16="http://schemas.microsoft.com/office/drawing/2014/main" id="{3A827DE4-2CFA-4B3F-BDA9-A7AAAB41F317}"/>
              </a:ext>
            </a:extLst>
          </p:cNvPr>
          <p:cNvPicPr>
            <a:picLocks noChangeAspect="1"/>
          </p:cNvPicPr>
          <p:nvPr/>
        </p:nvPicPr>
        <p:blipFill>
          <a:blip r:embed="rId3">
            <a:extLst>
              <a:ext uri="{96DAC541-7B7A-43D3-8B79-37D633B846F1}">
                <asvg:svgBlip xmlns:asvg="http://schemas.microsoft.com/office/drawing/2016/SVG/main" r:embed="rId4"/>
              </a:ext>
            </a:extLst>
          </a:blip>
          <a:srcRect b="5167" l="7384" r="26979" t="2999"/>
          <a:stretch>
            <a:fillRect/>
          </a:stretch>
        </p:blipFill>
        <p:spPr>
          <a:xfrm>
            <a:off x="11325281" y="5618178"/>
            <a:ext cx="527258" cy="935883"/>
          </a:xfrm>
          <a:custGeom>
            <a:rect b="b" l="l" r="r" t="t"/>
            <a:pathLst>
              <a:path h="1837631" w="1035286">
                <a:moveTo>
                  <a:pt x="619939" y="0"/>
                </a:moveTo>
                <a:lnTo>
                  <a:pt x="1035286" y="0"/>
                </a:lnTo>
                <a:lnTo>
                  <a:pt x="1035286" y="1837632"/>
                </a:lnTo>
                <a:lnTo>
                  <a:pt x="527503" y="1837632"/>
                </a:lnTo>
                <a:lnTo>
                  <a:pt x="527503" y="633496"/>
                </a:lnTo>
                <a:cubicBezTo>
                  <a:pt x="445337" y="695942"/>
                  <a:pt x="365842" y="746474"/>
                  <a:pt x="289017" y="785092"/>
                </a:cubicBezTo>
                <a:cubicBezTo>
                  <a:pt x="212192" y="823710"/>
                  <a:pt x="115853" y="860684"/>
                  <a:pt x="0" y="896015"/>
                </a:cubicBezTo>
                <a:lnTo>
                  <a:pt x="0" y="484366"/>
                </a:lnTo>
                <a:cubicBezTo>
                  <a:pt x="170904" y="429315"/>
                  <a:pt x="303602" y="363172"/>
                  <a:pt x="398092" y="285936"/>
                </a:cubicBezTo>
                <a:cubicBezTo>
                  <a:pt x="492582" y="208701"/>
                  <a:pt x="566531" y="113389"/>
                  <a:pt x="619939" y="0"/>
                </a:cubicBezTo>
                <a:close/>
              </a:path>
            </a:pathLst>
          </a:custGeom>
          <a:effectLst>
            <a:outerShdw algn="tl" blurRad="50800" dir="2700000" dist="38100" rotWithShape="0">
              <a:prstClr val="black">
                <a:alpha val="40000"/>
              </a:prstClr>
            </a:outerShdw>
          </a:effectLst>
        </p:spPr>
      </p:pic>
      <p:sp>
        <p:nvSpPr>
          <p:cNvPr id="10" name="文本框 9">
            <a:extLst>
              <a:ext uri="{FF2B5EF4-FFF2-40B4-BE49-F238E27FC236}">
                <a16:creationId xmlns:a16="http://schemas.microsoft.com/office/drawing/2014/main" id="{3EF1E9ED-80AB-4909-8BA5-A43F4FCE2334}"/>
              </a:ext>
            </a:extLst>
          </p:cNvPr>
          <p:cNvSpPr txBox="1"/>
          <p:nvPr/>
        </p:nvSpPr>
        <p:spPr>
          <a:xfrm>
            <a:off x="4133850" y="390618"/>
            <a:ext cx="3924300" cy="640080"/>
          </a:xfrm>
          <a:prstGeom prst="rect">
            <a:avLst/>
          </a:prstGeom>
          <a:noFill/>
        </p:spPr>
        <p:txBody>
          <a:bodyPr rtlCol="0" wrap="square">
            <a:spAutoFit/>
          </a:bodyPr>
          <a:lstStyle/>
          <a:p>
            <a:pPr algn="ctr"/>
            <a:r>
              <a:rPr altLang="en-US" lang="zh-CN" sz="3600">
                <a:solidFill>
                  <a:schemeClr val="tx1">
                    <a:lumMod val="85000"/>
                    <a:lumOff val="15000"/>
                  </a:schemeClr>
                </a:solidFill>
                <a:latin charset="-122" panose="02000500000000000000" pitchFamily="2" typeface="方正雅士黑 简"/>
                <a:ea charset="-122" panose="02000500000000000000" pitchFamily="2" typeface="方正雅士黑 简"/>
              </a:rPr>
              <a:t>目标完成情况</a:t>
            </a:r>
          </a:p>
        </p:txBody>
      </p:sp>
      <p:cxnSp>
        <p:nvCxnSpPr>
          <p:cNvPr id="13" name="直接连接符 12">
            <a:extLst>
              <a:ext uri="{FF2B5EF4-FFF2-40B4-BE49-F238E27FC236}">
                <a16:creationId xmlns:a16="http://schemas.microsoft.com/office/drawing/2014/main" id="{63C006F1-C17E-4B5D-A667-14B1AFD009FE}"/>
              </a:ext>
            </a:extLst>
          </p:cNvPr>
          <p:cNvCxnSpPr/>
          <p:nvPr/>
        </p:nvCxnSpPr>
        <p:spPr>
          <a:xfrm>
            <a:off x="7791452" y="683005"/>
            <a:ext cx="571498" cy="0"/>
          </a:xfrm>
          <a:prstGeom prst="line">
            <a:avLst/>
          </a:prstGeom>
          <a:ln cap="rnd" w="19050">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pic>
        <p:nvPicPr>
          <p:cNvPr id="15" name="图形 14">
            <a:extLst>
              <a:ext uri="{FF2B5EF4-FFF2-40B4-BE49-F238E27FC236}">
                <a16:creationId xmlns:a16="http://schemas.microsoft.com/office/drawing/2014/main" id="{D0B6809A-9193-440B-AB59-9B5857A764E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314825" y="597280"/>
            <a:ext cx="171450" cy="171450"/>
          </a:xfrm>
          <a:prstGeom prst="rect">
            <a:avLst/>
          </a:prstGeom>
        </p:spPr>
      </p:pic>
      <p:pic>
        <p:nvPicPr>
          <p:cNvPr id="16" name="图形 15">
            <a:extLst>
              <a:ext uri="{FF2B5EF4-FFF2-40B4-BE49-F238E27FC236}">
                <a16:creationId xmlns:a16="http://schemas.microsoft.com/office/drawing/2014/main" id="{1508760C-4270-4AAF-AD1C-A51CD87667C3}"/>
              </a:ext>
            </a:extLst>
          </p:cNvPr>
          <p:cNvPicPr>
            <a:picLocks noChangeAspect="1"/>
          </p:cNvPicPr>
          <p:nvPr/>
        </p:nvPicPr>
        <p:blipFill>
          <a:blip r:embed="rId5">
            <a:extLst>
              <a:ext uri="{96DAC541-7B7A-43D3-8B79-37D633B846F1}">
                <asvg:svgBlip xmlns:asvg="http://schemas.microsoft.com/office/drawing/2016/SVG/main" r:embed="rId7"/>
              </a:ext>
            </a:extLst>
          </a:blip>
          <a:stretch>
            <a:fillRect/>
          </a:stretch>
        </p:blipFill>
        <p:spPr>
          <a:xfrm>
            <a:off x="7705727" y="597280"/>
            <a:ext cx="171450" cy="171450"/>
          </a:xfrm>
          <a:prstGeom prst="rect">
            <a:avLst/>
          </a:prstGeom>
        </p:spPr>
      </p:pic>
      <p:cxnSp>
        <p:nvCxnSpPr>
          <p:cNvPr id="18" name="直接连接符 17">
            <a:extLst>
              <a:ext uri="{FF2B5EF4-FFF2-40B4-BE49-F238E27FC236}">
                <a16:creationId xmlns:a16="http://schemas.microsoft.com/office/drawing/2014/main" id="{D59B9B17-AB83-41D0-BA0B-C09A6571714C}"/>
              </a:ext>
            </a:extLst>
          </p:cNvPr>
          <p:cNvCxnSpPr/>
          <p:nvPr/>
        </p:nvCxnSpPr>
        <p:spPr>
          <a:xfrm>
            <a:off x="3829052" y="683005"/>
            <a:ext cx="571498" cy="0"/>
          </a:xfrm>
          <a:prstGeom prst="line">
            <a:avLst/>
          </a:prstGeom>
          <a:ln cap="rnd" w="19050">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sp>
        <p:nvSpPr>
          <p:cNvPr id="71" name="íṩľiḋê">
            <a:extLst>
              <a:ext uri="{FF2B5EF4-FFF2-40B4-BE49-F238E27FC236}">
                <a16:creationId xmlns:a16="http://schemas.microsoft.com/office/drawing/2014/main" id="{63954D65-860B-4E23-AC8E-B0E933ABE641}"/>
              </a:ext>
            </a:extLst>
          </p:cNvPr>
          <p:cNvSpPr/>
          <p:nvPr/>
        </p:nvSpPr>
        <p:spPr bwMode="auto">
          <a:xfrm>
            <a:off x="3364717" y="2408836"/>
            <a:ext cx="2525713" cy="2522538"/>
          </a:xfrm>
          <a:custGeom>
            <a:gdLst>
              <a:gd fmla="*/ 740 w 1480" name="T0"/>
              <a:gd fmla="*/ 1472 h 1480" name="T1"/>
              <a:gd fmla="*/ 789 w 1480" name="T2"/>
              <a:gd fmla="*/ 1478 h 1480" name="T3"/>
              <a:gd fmla="*/ 789 w 1480" name="T4"/>
              <a:gd fmla="*/ 1478 h 1480" name="T5"/>
              <a:gd fmla="*/ 645 w 1480" name="T6"/>
              <a:gd fmla="*/ 1466 h 1480" name="T7"/>
              <a:gd fmla="*/ 930 w 1480" name="T8"/>
              <a:gd fmla="*/ 1447 h 1480" name="T9"/>
              <a:gd fmla="*/ 503 w 1480" name="T10"/>
              <a:gd fmla="*/ 1441 h 1480" name="T11"/>
              <a:gd fmla="*/ 979 w 1480" name="T12"/>
              <a:gd fmla="*/ 1441 h 1480" name="T13"/>
              <a:gd fmla="*/ 979 w 1480" name="T14"/>
              <a:gd fmla="*/ 1441 h 1480" name="T15"/>
              <a:gd fmla="*/ 461 w 1480" name="T16"/>
              <a:gd fmla="*/ 1417 h 1480" name="T17"/>
              <a:gd fmla="*/ 1107 w 1480" name="T18"/>
              <a:gd fmla="*/ 1374 h 1480" name="T19"/>
              <a:gd fmla="*/ 330 w 1480" name="T20"/>
              <a:gd fmla="*/ 1356 h 1480" name="T21"/>
              <a:gd fmla="*/ 1152 w 1480" name="T22"/>
              <a:gd fmla="*/ 1355 h 1480" name="T23"/>
              <a:gd fmla="*/ 1152 w 1480" name="T24"/>
              <a:gd fmla="*/ 1355 h 1480" name="T25"/>
              <a:gd fmla="*/ 295 w 1480" name="T26"/>
              <a:gd fmla="*/ 1321 h 1480" name="T27"/>
              <a:gd fmla="*/ 1258 w 1480" name="T28"/>
              <a:gd fmla="*/ 1258 h 1480" name="T29"/>
              <a:gd fmla="*/ 184 w 1480" name="T30"/>
              <a:gd fmla="*/ 1228 h 1480" name="T31"/>
              <a:gd fmla="*/ 1297 w 1480" name="T32"/>
              <a:gd fmla="*/ 1228 h 1480" name="T33"/>
              <a:gd fmla="*/ 1297 w 1480" name="T34"/>
              <a:gd fmla="*/ 1228 h 1480" name="T35"/>
              <a:gd fmla="*/ 160 w 1480" name="T36"/>
              <a:gd fmla="*/ 1186 h 1480" name="T37"/>
              <a:gd fmla="*/ 1374 w 1480" name="T38"/>
              <a:gd fmla="*/ 1106 h 1480" name="T39"/>
              <a:gd fmla="*/ 77 w 1480" name="T40"/>
              <a:gd fmla="*/ 1068 h 1480" name="T41"/>
              <a:gd fmla="*/ 1404 w 1480" name="T42"/>
              <a:gd fmla="*/ 1067 h 1480" name="T43"/>
              <a:gd fmla="*/ 1404 w 1480" name="T44"/>
              <a:gd fmla="*/ 1067 h 1480" name="T45"/>
              <a:gd fmla="*/ 64 w 1480" name="T46"/>
              <a:gd fmla="*/ 1021 h 1480" name="T47"/>
              <a:gd fmla="*/ 1448 w 1480" name="T48"/>
              <a:gd fmla="*/ 929 h 1480" name="T49"/>
              <a:gd fmla="*/ 15 w 1480" name="T50"/>
              <a:gd fmla="*/ 885 h 1480" name="T51"/>
              <a:gd fmla="*/ 1466 w 1480" name="T52"/>
              <a:gd fmla="*/ 884 h 1480" name="T53"/>
              <a:gd fmla="*/ 1466 w 1480" name="T54"/>
              <a:gd fmla="*/ 884 h 1480" name="T55"/>
              <a:gd fmla="*/ 15 w 1480" name="T56"/>
              <a:gd fmla="*/ 836 h 1480" name="T57"/>
              <a:gd fmla="*/ 1472 w 1480" name="T58"/>
              <a:gd fmla="*/ 740 h 1480" name="T59"/>
              <a:gd fmla="*/ 1479 w 1480" name="T60"/>
              <a:gd fmla="*/ 788 h 1480" name="T61"/>
              <a:gd fmla="*/ 2 w 1480" name="T62"/>
              <a:gd fmla="*/ 693 h 1480" name="T63"/>
              <a:gd fmla="*/ 1471 w 1480" name="T64"/>
              <a:gd fmla="*/ 690 h 1480" name="T65"/>
              <a:gd fmla="*/ 1471 w 1480" name="T66"/>
              <a:gd fmla="*/ 690 h 1480" name="T67"/>
              <a:gd fmla="*/ 22 w 1480" name="T68"/>
              <a:gd fmla="*/ 598 h 1480" name="T69"/>
              <a:gd fmla="*/ 1455 w 1480" name="T70"/>
              <a:gd fmla="*/ 547 h 1480" name="T71"/>
              <a:gd fmla="*/ 25 w 1480" name="T72"/>
              <a:gd fmla="*/ 549 h 1480" name="T73"/>
              <a:gd fmla="*/ 1433 w 1480" name="T74"/>
              <a:gd fmla="*/ 503 h 1480" name="T75"/>
              <a:gd fmla="*/ 1433 w 1480" name="T76"/>
              <a:gd fmla="*/ 503 h 1480" name="T77"/>
              <a:gd fmla="*/ 83 w 1480" name="T78"/>
              <a:gd fmla="*/ 417 h 1480" name="T79"/>
              <a:gd fmla="*/ 1381 w 1480" name="T80"/>
              <a:gd fmla="*/ 369 h 1480" name="T81"/>
              <a:gd fmla="*/ 99 w 1480" name="T82"/>
              <a:gd fmla="*/ 371 h 1480" name="T83"/>
              <a:gd fmla="*/ 1348 w 1480" name="T84"/>
              <a:gd fmla="*/ 332 h 1480" name="T85"/>
              <a:gd fmla="*/ 1348 w 1480" name="T86"/>
              <a:gd fmla="*/ 332 h 1480" name="T87"/>
              <a:gd fmla="*/ 189 w 1480" name="T88"/>
              <a:gd fmla="*/ 258 h 1480" name="T89"/>
              <a:gd fmla="*/ 1263 w 1480" name="T90"/>
              <a:gd fmla="*/ 216 h 1480" name="T91"/>
              <a:gd fmla="*/ 216 w 1480" name="T92"/>
              <a:gd fmla="*/ 217 h 1480" name="T93"/>
              <a:gd fmla="*/ 1222 w 1480" name="T94"/>
              <a:gd fmla="*/ 189 h 1480" name="T95"/>
              <a:gd fmla="*/ 1222 w 1480" name="T96"/>
              <a:gd fmla="*/ 189 h 1480" name="T97"/>
              <a:gd fmla="*/ 333 w 1480" name="T98"/>
              <a:gd fmla="*/ 132 h 1480" name="T99"/>
              <a:gd fmla="*/ 1109 w 1480" name="T100"/>
              <a:gd fmla="*/ 98 h 1480" name="T101"/>
              <a:gd fmla="*/ 369 w 1480" name="T102"/>
              <a:gd fmla="*/ 100 h 1480" name="T103"/>
              <a:gd fmla="*/ 1063 w 1480" name="T104"/>
              <a:gd fmla="*/ 83 h 1480" name="T105"/>
              <a:gd fmla="*/ 1063 w 1480" name="T106"/>
              <a:gd fmla="*/ 83 h 1480" name="T107"/>
              <a:gd fmla="*/ 504 w 1480" name="T108"/>
              <a:gd fmla="*/ 47 h 1480" name="T109"/>
              <a:gd fmla="*/ 930 w 1480" name="T110"/>
              <a:gd fmla="*/ 25 h 1480" name="T111"/>
              <a:gd fmla="*/ 548 w 1480" name="T112"/>
              <a:gd fmla="*/ 25 h 1480" name="T113"/>
              <a:gd fmla="*/ 882 w 1480" name="T114"/>
              <a:gd fmla="*/ 22 h 1480" name="T115"/>
              <a:gd fmla="*/ 882 w 1480" name="T116"/>
              <a:gd fmla="*/ 22 h 1480" name="T117"/>
              <a:gd fmla="*/ 691 w 1480" name="T118"/>
              <a:gd fmla="*/ 10 h 1480" name="T119"/>
              <a:gd fmla="*/ 739 w 1480" name="T120"/>
              <a:gd fmla="*/ 8 h 1480" name="T121"/>
              <a:gd fmla="*/ 787 w 1480" name="T122"/>
              <a:gd fmla="*/ 9 h 1480" name="T12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b="b" l="0" r="r" t="0"/>
            <a:pathLst>
              <a:path h="1480" w="1480">
                <a:moveTo>
                  <a:pt x="740" y="1480"/>
                </a:moveTo>
                <a:cubicBezTo>
                  <a:pt x="724" y="1480"/>
                  <a:pt x="708" y="1479"/>
                  <a:pt x="692" y="1478"/>
                </a:cubicBezTo>
                <a:cubicBezTo>
                  <a:pt x="693" y="1470"/>
                  <a:pt x="693" y="1470"/>
                  <a:pt x="693" y="1470"/>
                </a:cubicBezTo>
                <a:cubicBezTo>
                  <a:pt x="709" y="1471"/>
                  <a:pt x="725" y="1472"/>
                  <a:pt x="740" y="1472"/>
                </a:cubicBezTo>
                <a:cubicBezTo>
                  <a:pt x="741" y="1472"/>
                  <a:pt x="741" y="1472"/>
                  <a:pt x="741" y="1472"/>
                </a:cubicBezTo>
                <a:cubicBezTo>
                  <a:pt x="741" y="1480"/>
                  <a:pt x="741" y="1480"/>
                  <a:pt x="741" y="1480"/>
                </a:cubicBezTo>
                <a:cubicBezTo>
                  <a:pt x="740" y="1480"/>
                  <a:pt x="740" y="1480"/>
                  <a:pt x="740" y="1480"/>
                </a:cubicBezTo>
                <a:close/>
                <a:moveTo>
                  <a:pt x="789" y="1478"/>
                </a:moveTo>
                <a:cubicBezTo>
                  <a:pt x="789" y="1470"/>
                  <a:pt x="789" y="1470"/>
                  <a:pt x="789" y="1470"/>
                </a:cubicBezTo>
                <a:cubicBezTo>
                  <a:pt x="805" y="1469"/>
                  <a:pt x="821" y="1468"/>
                  <a:pt x="836" y="1466"/>
                </a:cubicBezTo>
                <a:cubicBezTo>
                  <a:pt x="837" y="1474"/>
                  <a:pt x="837" y="1474"/>
                  <a:pt x="837" y="1474"/>
                </a:cubicBezTo>
                <a:cubicBezTo>
                  <a:pt x="822" y="1476"/>
                  <a:pt x="805" y="1477"/>
                  <a:pt x="789" y="1478"/>
                </a:cubicBezTo>
                <a:close/>
                <a:moveTo>
                  <a:pt x="644" y="1474"/>
                </a:moveTo>
                <a:cubicBezTo>
                  <a:pt x="628" y="1472"/>
                  <a:pt x="612" y="1469"/>
                  <a:pt x="597" y="1466"/>
                </a:cubicBezTo>
                <a:cubicBezTo>
                  <a:pt x="598" y="1458"/>
                  <a:pt x="598" y="1458"/>
                  <a:pt x="598" y="1458"/>
                </a:cubicBezTo>
                <a:cubicBezTo>
                  <a:pt x="614" y="1461"/>
                  <a:pt x="630" y="1464"/>
                  <a:pt x="645" y="1466"/>
                </a:cubicBezTo>
                <a:lnTo>
                  <a:pt x="644" y="1474"/>
                </a:lnTo>
                <a:close/>
                <a:moveTo>
                  <a:pt x="885" y="1466"/>
                </a:moveTo>
                <a:cubicBezTo>
                  <a:pt x="884" y="1458"/>
                  <a:pt x="884" y="1458"/>
                  <a:pt x="884" y="1458"/>
                </a:cubicBezTo>
                <a:cubicBezTo>
                  <a:pt x="899" y="1455"/>
                  <a:pt x="915" y="1451"/>
                  <a:pt x="930" y="1447"/>
                </a:cubicBezTo>
                <a:cubicBezTo>
                  <a:pt x="932" y="1455"/>
                  <a:pt x="932" y="1455"/>
                  <a:pt x="932" y="1455"/>
                </a:cubicBezTo>
                <a:cubicBezTo>
                  <a:pt x="917" y="1459"/>
                  <a:pt x="901" y="1463"/>
                  <a:pt x="885" y="1466"/>
                </a:cubicBezTo>
                <a:close/>
                <a:moveTo>
                  <a:pt x="549" y="1455"/>
                </a:moveTo>
                <a:cubicBezTo>
                  <a:pt x="534" y="1451"/>
                  <a:pt x="518" y="1446"/>
                  <a:pt x="503" y="1441"/>
                </a:cubicBezTo>
                <a:cubicBezTo>
                  <a:pt x="506" y="1434"/>
                  <a:pt x="506" y="1434"/>
                  <a:pt x="506" y="1434"/>
                </a:cubicBezTo>
                <a:cubicBezTo>
                  <a:pt x="521" y="1439"/>
                  <a:pt x="536" y="1443"/>
                  <a:pt x="551" y="1447"/>
                </a:cubicBezTo>
                <a:lnTo>
                  <a:pt x="549" y="1455"/>
                </a:lnTo>
                <a:close/>
                <a:moveTo>
                  <a:pt x="979" y="1441"/>
                </a:moveTo>
                <a:cubicBezTo>
                  <a:pt x="976" y="1433"/>
                  <a:pt x="976" y="1433"/>
                  <a:pt x="976" y="1433"/>
                </a:cubicBezTo>
                <a:cubicBezTo>
                  <a:pt x="991" y="1428"/>
                  <a:pt x="1006" y="1422"/>
                  <a:pt x="1021" y="1416"/>
                </a:cubicBezTo>
                <a:cubicBezTo>
                  <a:pt x="1024" y="1424"/>
                  <a:pt x="1024" y="1424"/>
                  <a:pt x="1024" y="1424"/>
                </a:cubicBezTo>
                <a:cubicBezTo>
                  <a:pt x="1009" y="1430"/>
                  <a:pt x="994" y="1436"/>
                  <a:pt x="979" y="1441"/>
                </a:cubicBezTo>
                <a:close/>
                <a:moveTo>
                  <a:pt x="458" y="1424"/>
                </a:moveTo>
                <a:cubicBezTo>
                  <a:pt x="443" y="1418"/>
                  <a:pt x="428" y="1411"/>
                  <a:pt x="413" y="1404"/>
                </a:cubicBezTo>
                <a:cubicBezTo>
                  <a:pt x="417" y="1397"/>
                  <a:pt x="417" y="1397"/>
                  <a:pt x="417" y="1397"/>
                </a:cubicBezTo>
                <a:cubicBezTo>
                  <a:pt x="431" y="1404"/>
                  <a:pt x="446" y="1411"/>
                  <a:pt x="461" y="1417"/>
                </a:cubicBezTo>
                <a:lnTo>
                  <a:pt x="458" y="1424"/>
                </a:lnTo>
                <a:close/>
                <a:moveTo>
                  <a:pt x="1068" y="1404"/>
                </a:moveTo>
                <a:cubicBezTo>
                  <a:pt x="1064" y="1397"/>
                  <a:pt x="1064" y="1397"/>
                  <a:pt x="1064" y="1397"/>
                </a:cubicBezTo>
                <a:cubicBezTo>
                  <a:pt x="1079" y="1390"/>
                  <a:pt x="1093" y="1382"/>
                  <a:pt x="1107" y="1374"/>
                </a:cubicBezTo>
                <a:cubicBezTo>
                  <a:pt x="1111" y="1381"/>
                  <a:pt x="1111" y="1381"/>
                  <a:pt x="1111" y="1381"/>
                </a:cubicBezTo>
                <a:cubicBezTo>
                  <a:pt x="1097" y="1389"/>
                  <a:pt x="1082" y="1397"/>
                  <a:pt x="1068" y="1404"/>
                </a:cubicBezTo>
                <a:close/>
                <a:moveTo>
                  <a:pt x="371" y="1381"/>
                </a:moveTo>
                <a:cubicBezTo>
                  <a:pt x="357" y="1373"/>
                  <a:pt x="343" y="1365"/>
                  <a:pt x="330" y="1356"/>
                </a:cubicBezTo>
                <a:cubicBezTo>
                  <a:pt x="334" y="1349"/>
                  <a:pt x="334" y="1349"/>
                  <a:pt x="334" y="1349"/>
                </a:cubicBezTo>
                <a:cubicBezTo>
                  <a:pt x="347" y="1358"/>
                  <a:pt x="361" y="1366"/>
                  <a:pt x="375" y="1374"/>
                </a:cubicBezTo>
                <a:lnTo>
                  <a:pt x="371" y="1381"/>
                </a:lnTo>
                <a:close/>
                <a:moveTo>
                  <a:pt x="1152" y="1355"/>
                </a:moveTo>
                <a:cubicBezTo>
                  <a:pt x="1147" y="1349"/>
                  <a:pt x="1147" y="1349"/>
                  <a:pt x="1147" y="1349"/>
                </a:cubicBezTo>
                <a:cubicBezTo>
                  <a:pt x="1160" y="1340"/>
                  <a:pt x="1173" y="1330"/>
                  <a:pt x="1186" y="1321"/>
                </a:cubicBezTo>
                <a:cubicBezTo>
                  <a:pt x="1191" y="1327"/>
                  <a:pt x="1191" y="1327"/>
                  <a:pt x="1191" y="1327"/>
                </a:cubicBezTo>
                <a:cubicBezTo>
                  <a:pt x="1178" y="1337"/>
                  <a:pt x="1165" y="1346"/>
                  <a:pt x="1152" y="1355"/>
                </a:cubicBezTo>
                <a:close/>
                <a:moveTo>
                  <a:pt x="290" y="1327"/>
                </a:moveTo>
                <a:cubicBezTo>
                  <a:pt x="278" y="1318"/>
                  <a:pt x="265" y="1307"/>
                  <a:pt x="253" y="1297"/>
                </a:cubicBezTo>
                <a:cubicBezTo>
                  <a:pt x="258" y="1291"/>
                  <a:pt x="258" y="1291"/>
                  <a:pt x="258" y="1291"/>
                </a:cubicBezTo>
                <a:cubicBezTo>
                  <a:pt x="270" y="1301"/>
                  <a:pt x="283" y="1311"/>
                  <a:pt x="295" y="1321"/>
                </a:cubicBezTo>
                <a:lnTo>
                  <a:pt x="290" y="1327"/>
                </a:lnTo>
                <a:close/>
                <a:moveTo>
                  <a:pt x="1228" y="1296"/>
                </a:moveTo>
                <a:cubicBezTo>
                  <a:pt x="1223" y="1290"/>
                  <a:pt x="1223" y="1290"/>
                  <a:pt x="1223" y="1290"/>
                </a:cubicBezTo>
                <a:cubicBezTo>
                  <a:pt x="1235" y="1280"/>
                  <a:pt x="1247" y="1269"/>
                  <a:pt x="1258" y="1258"/>
                </a:cubicBezTo>
                <a:cubicBezTo>
                  <a:pt x="1264" y="1263"/>
                  <a:pt x="1264" y="1263"/>
                  <a:pt x="1264" y="1263"/>
                </a:cubicBezTo>
                <a:cubicBezTo>
                  <a:pt x="1252" y="1275"/>
                  <a:pt x="1240" y="1286"/>
                  <a:pt x="1228" y="1296"/>
                </a:cubicBezTo>
                <a:close/>
                <a:moveTo>
                  <a:pt x="217" y="1264"/>
                </a:moveTo>
                <a:cubicBezTo>
                  <a:pt x="206" y="1252"/>
                  <a:pt x="195" y="1240"/>
                  <a:pt x="184" y="1228"/>
                </a:cubicBezTo>
                <a:cubicBezTo>
                  <a:pt x="190" y="1223"/>
                  <a:pt x="190" y="1223"/>
                  <a:pt x="190" y="1223"/>
                </a:cubicBezTo>
                <a:cubicBezTo>
                  <a:pt x="201" y="1235"/>
                  <a:pt x="212" y="1247"/>
                  <a:pt x="223" y="1258"/>
                </a:cubicBezTo>
                <a:lnTo>
                  <a:pt x="217" y="1264"/>
                </a:lnTo>
                <a:close/>
                <a:moveTo>
                  <a:pt x="1297" y="1228"/>
                </a:moveTo>
                <a:cubicBezTo>
                  <a:pt x="1291" y="1223"/>
                  <a:pt x="1291" y="1223"/>
                  <a:pt x="1291" y="1223"/>
                </a:cubicBezTo>
                <a:cubicBezTo>
                  <a:pt x="1301" y="1211"/>
                  <a:pt x="1311" y="1198"/>
                  <a:pt x="1321" y="1186"/>
                </a:cubicBezTo>
                <a:cubicBezTo>
                  <a:pt x="1327" y="1190"/>
                  <a:pt x="1327" y="1190"/>
                  <a:pt x="1327" y="1190"/>
                </a:cubicBezTo>
                <a:cubicBezTo>
                  <a:pt x="1318" y="1203"/>
                  <a:pt x="1307" y="1216"/>
                  <a:pt x="1297" y="1228"/>
                </a:cubicBezTo>
                <a:close/>
                <a:moveTo>
                  <a:pt x="154" y="1191"/>
                </a:moveTo>
                <a:cubicBezTo>
                  <a:pt x="144" y="1178"/>
                  <a:pt x="134" y="1165"/>
                  <a:pt x="125" y="1152"/>
                </a:cubicBezTo>
                <a:cubicBezTo>
                  <a:pt x="132" y="1147"/>
                  <a:pt x="132" y="1147"/>
                  <a:pt x="132" y="1147"/>
                </a:cubicBezTo>
                <a:cubicBezTo>
                  <a:pt x="141" y="1160"/>
                  <a:pt x="150" y="1173"/>
                  <a:pt x="160" y="1186"/>
                </a:cubicBezTo>
                <a:lnTo>
                  <a:pt x="154" y="1191"/>
                </a:lnTo>
                <a:close/>
                <a:moveTo>
                  <a:pt x="1356" y="1151"/>
                </a:moveTo>
                <a:cubicBezTo>
                  <a:pt x="1349" y="1147"/>
                  <a:pt x="1349" y="1147"/>
                  <a:pt x="1349" y="1147"/>
                </a:cubicBezTo>
                <a:cubicBezTo>
                  <a:pt x="1358" y="1133"/>
                  <a:pt x="1366" y="1120"/>
                  <a:pt x="1374" y="1106"/>
                </a:cubicBezTo>
                <a:cubicBezTo>
                  <a:pt x="1381" y="1110"/>
                  <a:pt x="1381" y="1110"/>
                  <a:pt x="1381" y="1110"/>
                </a:cubicBezTo>
                <a:cubicBezTo>
                  <a:pt x="1373" y="1124"/>
                  <a:pt x="1365" y="1138"/>
                  <a:pt x="1356" y="1151"/>
                </a:cubicBezTo>
                <a:close/>
                <a:moveTo>
                  <a:pt x="100" y="1111"/>
                </a:moveTo>
                <a:cubicBezTo>
                  <a:pt x="92" y="1097"/>
                  <a:pt x="84" y="1082"/>
                  <a:pt x="77" y="1068"/>
                </a:cubicBezTo>
                <a:cubicBezTo>
                  <a:pt x="84" y="1064"/>
                  <a:pt x="84" y="1064"/>
                  <a:pt x="84" y="1064"/>
                </a:cubicBezTo>
                <a:cubicBezTo>
                  <a:pt x="91" y="1079"/>
                  <a:pt x="99" y="1093"/>
                  <a:pt x="107" y="1107"/>
                </a:cubicBezTo>
                <a:lnTo>
                  <a:pt x="100" y="1111"/>
                </a:lnTo>
                <a:close/>
                <a:moveTo>
                  <a:pt x="1404" y="1067"/>
                </a:moveTo>
                <a:cubicBezTo>
                  <a:pt x="1397" y="1064"/>
                  <a:pt x="1397" y="1064"/>
                  <a:pt x="1397" y="1064"/>
                </a:cubicBezTo>
                <a:cubicBezTo>
                  <a:pt x="1404" y="1050"/>
                  <a:pt x="1411" y="1035"/>
                  <a:pt x="1417" y="1020"/>
                </a:cubicBezTo>
                <a:cubicBezTo>
                  <a:pt x="1424" y="1023"/>
                  <a:pt x="1424" y="1023"/>
                  <a:pt x="1424" y="1023"/>
                </a:cubicBezTo>
                <a:cubicBezTo>
                  <a:pt x="1418" y="1038"/>
                  <a:pt x="1411" y="1053"/>
                  <a:pt x="1404" y="1067"/>
                </a:cubicBezTo>
                <a:close/>
                <a:moveTo>
                  <a:pt x="57" y="1024"/>
                </a:moveTo>
                <a:cubicBezTo>
                  <a:pt x="51" y="1009"/>
                  <a:pt x="45" y="994"/>
                  <a:pt x="40" y="979"/>
                </a:cubicBezTo>
                <a:cubicBezTo>
                  <a:pt x="47" y="976"/>
                  <a:pt x="47" y="976"/>
                  <a:pt x="47" y="976"/>
                </a:cubicBezTo>
                <a:cubicBezTo>
                  <a:pt x="52" y="991"/>
                  <a:pt x="58" y="1006"/>
                  <a:pt x="64" y="1021"/>
                </a:cubicBezTo>
                <a:lnTo>
                  <a:pt x="57" y="1024"/>
                </a:lnTo>
                <a:close/>
                <a:moveTo>
                  <a:pt x="1441" y="978"/>
                </a:moveTo>
                <a:cubicBezTo>
                  <a:pt x="1434" y="975"/>
                  <a:pt x="1434" y="975"/>
                  <a:pt x="1434" y="975"/>
                </a:cubicBezTo>
                <a:cubicBezTo>
                  <a:pt x="1439" y="960"/>
                  <a:pt x="1444" y="945"/>
                  <a:pt x="1448" y="929"/>
                </a:cubicBezTo>
                <a:cubicBezTo>
                  <a:pt x="1455" y="931"/>
                  <a:pt x="1455" y="931"/>
                  <a:pt x="1455" y="931"/>
                </a:cubicBezTo>
                <a:cubicBezTo>
                  <a:pt x="1451" y="947"/>
                  <a:pt x="1447" y="963"/>
                  <a:pt x="1441" y="978"/>
                </a:cubicBezTo>
                <a:close/>
                <a:moveTo>
                  <a:pt x="26" y="932"/>
                </a:moveTo>
                <a:cubicBezTo>
                  <a:pt x="21" y="917"/>
                  <a:pt x="18" y="901"/>
                  <a:pt x="15" y="885"/>
                </a:cubicBezTo>
                <a:cubicBezTo>
                  <a:pt x="22" y="884"/>
                  <a:pt x="22" y="884"/>
                  <a:pt x="22" y="884"/>
                </a:cubicBezTo>
                <a:cubicBezTo>
                  <a:pt x="26" y="899"/>
                  <a:pt x="29" y="915"/>
                  <a:pt x="33" y="930"/>
                </a:cubicBezTo>
                <a:lnTo>
                  <a:pt x="26" y="932"/>
                </a:lnTo>
                <a:close/>
                <a:moveTo>
                  <a:pt x="1466" y="884"/>
                </a:moveTo>
                <a:cubicBezTo>
                  <a:pt x="1458" y="883"/>
                  <a:pt x="1458" y="883"/>
                  <a:pt x="1458" y="883"/>
                </a:cubicBezTo>
                <a:cubicBezTo>
                  <a:pt x="1462" y="867"/>
                  <a:pt x="1464" y="851"/>
                  <a:pt x="1466" y="835"/>
                </a:cubicBezTo>
                <a:cubicBezTo>
                  <a:pt x="1474" y="837"/>
                  <a:pt x="1474" y="837"/>
                  <a:pt x="1474" y="837"/>
                </a:cubicBezTo>
                <a:cubicBezTo>
                  <a:pt x="1472" y="852"/>
                  <a:pt x="1469" y="869"/>
                  <a:pt x="1466" y="884"/>
                </a:cubicBezTo>
                <a:close/>
                <a:moveTo>
                  <a:pt x="7" y="837"/>
                </a:moveTo>
                <a:cubicBezTo>
                  <a:pt x="5" y="822"/>
                  <a:pt x="3" y="805"/>
                  <a:pt x="2" y="789"/>
                </a:cubicBezTo>
                <a:cubicBezTo>
                  <a:pt x="10" y="789"/>
                  <a:pt x="10" y="789"/>
                  <a:pt x="10" y="789"/>
                </a:cubicBezTo>
                <a:cubicBezTo>
                  <a:pt x="11" y="805"/>
                  <a:pt x="13" y="821"/>
                  <a:pt x="15" y="836"/>
                </a:cubicBezTo>
                <a:lnTo>
                  <a:pt x="7" y="837"/>
                </a:lnTo>
                <a:close/>
                <a:moveTo>
                  <a:pt x="1479" y="788"/>
                </a:moveTo>
                <a:cubicBezTo>
                  <a:pt x="1471" y="788"/>
                  <a:pt x="1471" y="788"/>
                  <a:pt x="1471" y="788"/>
                </a:cubicBezTo>
                <a:cubicBezTo>
                  <a:pt x="1472" y="772"/>
                  <a:pt x="1472" y="756"/>
                  <a:pt x="1472" y="740"/>
                </a:cubicBezTo>
                <a:cubicBezTo>
                  <a:pt x="1472" y="738"/>
                  <a:pt x="1472" y="738"/>
                  <a:pt x="1472" y="738"/>
                </a:cubicBezTo>
                <a:cubicBezTo>
                  <a:pt x="1480" y="738"/>
                  <a:pt x="1480" y="738"/>
                  <a:pt x="1480" y="738"/>
                </a:cubicBezTo>
                <a:cubicBezTo>
                  <a:pt x="1480" y="740"/>
                  <a:pt x="1480" y="740"/>
                  <a:pt x="1480" y="740"/>
                </a:cubicBezTo>
                <a:cubicBezTo>
                  <a:pt x="1480" y="756"/>
                  <a:pt x="1480" y="772"/>
                  <a:pt x="1479" y="788"/>
                </a:cubicBezTo>
                <a:close/>
                <a:moveTo>
                  <a:pt x="8" y="741"/>
                </a:moveTo>
                <a:cubicBezTo>
                  <a:pt x="0" y="741"/>
                  <a:pt x="0" y="741"/>
                  <a:pt x="0" y="741"/>
                </a:cubicBezTo>
                <a:cubicBezTo>
                  <a:pt x="0" y="740"/>
                  <a:pt x="0" y="740"/>
                  <a:pt x="0" y="740"/>
                </a:cubicBezTo>
                <a:cubicBezTo>
                  <a:pt x="0" y="724"/>
                  <a:pt x="1" y="708"/>
                  <a:pt x="2" y="693"/>
                </a:cubicBezTo>
                <a:cubicBezTo>
                  <a:pt x="10" y="693"/>
                  <a:pt x="10" y="693"/>
                  <a:pt x="10" y="693"/>
                </a:cubicBezTo>
                <a:cubicBezTo>
                  <a:pt x="9" y="709"/>
                  <a:pt x="8" y="724"/>
                  <a:pt x="8" y="740"/>
                </a:cubicBezTo>
                <a:lnTo>
                  <a:pt x="8" y="741"/>
                </a:lnTo>
                <a:close/>
                <a:moveTo>
                  <a:pt x="1471" y="690"/>
                </a:moveTo>
                <a:cubicBezTo>
                  <a:pt x="1470" y="674"/>
                  <a:pt x="1468" y="658"/>
                  <a:pt x="1466" y="643"/>
                </a:cubicBezTo>
                <a:cubicBezTo>
                  <a:pt x="1474" y="642"/>
                  <a:pt x="1474" y="642"/>
                  <a:pt x="1474" y="642"/>
                </a:cubicBezTo>
                <a:cubicBezTo>
                  <a:pt x="1476" y="657"/>
                  <a:pt x="1478" y="674"/>
                  <a:pt x="1479" y="690"/>
                </a:cubicBezTo>
                <a:lnTo>
                  <a:pt x="1471" y="690"/>
                </a:lnTo>
                <a:close/>
                <a:moveTo>
                  <a:pt x="14" y="645"/>
                </a:moveTo>
                <a:cubicBezTo>
                  <a:pt x="7" y="644"/>
                  <a:pt x="7" y="644"/>
                  <a:pt x="7" y="644"/>
                </a:cubicBezTo>
                <a:cubicBezTo>
                  <a:pt x="9" y="628"/>
                  <a:pt x="11" y="612"/>
                  <a:pt x="14" y="597"/>
                </a:cubicBezTo>
                <a:cubicBezTo>
                  <a:pt x="22" y="598"/>
                  <a:pt x="22" y="598"/>
                  <a:pt x="22" y="598"/>
                </a:cubicBezTo>
                <a:cubicBezTo>
                  <a:pt x="19" y="614"/>
                  <a:pt x="16" y="630"/>
                  <a:pt x="14" y="645"/>
                </a:cubicBezTo>
                <a:close/>
                <a:moveTo>
                  <a:pt x="1458" y="595"/>
                </a:moveTo>
                <a:cubicBezTo>
                  <a:pt x="1455" y="580"/>
                  <a:pt x="1451" y="564"/>
                  <a:pt x="1447" y="549"/>
                </a:cubicBezTo>
                <a:cubicBezTo>
                  <a:pt x="1455" y="547"/>
                  <a:pt x="1455" y="547"/>
                  <a:pt x="1455" y="547"/>
                </a:cubicBezTo>
                <a:cubicBezTo>
                  <a:pt x="1459" y="562"/>
                  <a:pt x="1463" y="578"/>
                  <a:pt x="1466" y="594"/>
                </a:cubicBezTo>
                <a:lnTo>
                  <a:pt x="1458" y="595"/>
                </a:lnTo>
                <a:close/>
                <a:moveTo>
                  <a:pt x="33" y="551"/>
                </a:moveTo>
                <a:cubicBezTo>
                  <a:pt x="25" y="549"/>
                  <a:pt x="25" y="549"/>
                  <a:pt x="25" y="549"/>
                </a:cubicBezTo>
                <a:cubicBezTo>
                  <a:pt x="29" y="534"/>
                  <a:pt x="34" y="518"/>
                  <a:pt x="39" y="503"/>
                </a:cubicBezTo>
                <a:cubicBezTo>
                  <a:pt x="47" y="506"/>
                  <a:pt x="47" y="506"/>
                  <a:pt x="47" y="506"/>
                </a:cubicBezTo>
                <a:cubicBezTo>
                  <a:pt x="42" y="521"/>
                  <a:pt x="37" y="536"/>
                  <a:pt x="33" y="551"/>
                </a:cubicBezTo>
                <a:close/>
                <a:moveTo>
                  <a:pt x="1433" y="503"/>
                </a:moveTo>
                <a:cubicBezTo>
                  <a:pt x="1428" y="488"/>
                  <a:pt x="1422" y="473"/>
                  <a:pt x="1416" y="458"/>
                </a:cubicBezTo>
                <a:cubicBezTo>
                  <a:pt x="1424" y="455"/>
                  <a:pt x="1424" y="455"/>
                  <a:pt x="1424" y="455"/>
                </a:cubicBezTo>
                <a:cubicBezTo>
                  <a:pt x="1430" y="470"/>
                  <a:pt x="1436" y="485"/>
                  <a:pt x="1441" y="500"/>
                </a:cubicBezTo>
                <a:lnTo>
                  <a:pt x="1433" y="503"/>
                </a:lnTo>
                <a:close/>
                <a:moveTo>
                  <a:pt x="64" y="461"/>
                </a:moveTo>
                <a:cubicBezTo>
                  <a:pt x="56" y="458"/>
                  <a:pt x="56" y="458"/>
                  <a:pt x="56" y="458"/>
                </a:cubicBezTo>
                <a:cubicBezTo>
                  <a:pt x="62" y="443"/>
                  <a:pt x="69" y="428"/>
                  <a:pt x="76" y="414"/>
                </a:cubicBezTo>
                <a:cubicBezTo>
                  <a:pt x="83" y="417"/>
                  <a:pt x="83" y="417"/>
                  <a:pt x="83" y="417"/>
                </a:cubicBezTo>
                <a:cubicBezTo>
                  <a:pt x="76" y="431"/>
                  <a:pt x="70" y="446"/>
                  <a:pt x="64" y="461"/>
                </a:cubicBezTo>
                <a:close/>
                <a:moveTo>
                  <a:pt x="1396" y="415"/>
                </a:moveTo>
                <a:cubicBezTo>
                  <a:pt x="1389" y="401"/>
                  <a:pt x="1382" y="386"/>
                  <a:pt x="1374" y="373"/>
                </a:cubicBezTo>
                <a:cubicBezTo>
                  <a:pt x="1381" y="369"/>
                  <a:pt x="1381" y="369"/>
                  <a:pt x="1381" y="369"/>
                </a:cubicBezTo>
                <a:cubicBezTo>
                  <a:pt x="1389" y="383"/>
                  <a:pt x="1396" y="397"/>
                  <a:pt x="1404" y="411"/>
                </a:cubicBezTo>
                <a:lnTo>
                  <a:pt x="1396" y="415"/>
                </a:lnTo>
                <a:close/>
                <a:moveTo>
                  <a:pt x="106" y="375"/>
                </a:moveTo>
                <a:cubicBezTo>
                  <a:pt x="99" y="371"/>
                  <a:pt x="99" y="371"/>
                  <a:pt x="99" y="371"/>
                </a:cubicBezTo>
                <a:cubicBezTo>
                  <a:pt x="107" y="357"/>
                  <a:pt x="116" y="343"/>
                  <a:pt x="125" y="330"/>
                </a:cubicBezTo>
                <a:cubicBezTo>
                  <a:pt x="131" y="334"/>
                  <a:pt x="131" y="334"/>
                  <a:pt x="131" y="334"/>
                </a:cubicBezTo>
                <a:cubicBezTo>
                  <a:pt x="122" y="347"/>
                  <a:pt x="114" y="361"/>
                  <a:pt x="106" y="375"/>
                </a:cubicBezTo>
                <a:close/>
                <a:moveTo>
                  <a:pt x="1348" y="332"/>
                </a:moveTo>
                <a:cubicBezTo>
                  <a:pt x="1339" y="319"/>
                  <a:pt x="1330" y="306"/>
                  <a:pt x="1320" y="293"/>
                </a:cubicBezTo>
                <a:cubicBezTo>
                  <a:pt x="1327" y="288"/>
                  <a:pt x="1327" y="288"/>
                  <a:pt x="1327" y="288"/>
                </a:cubicBezTo>
                <a:cubicBezTo>
                  <a:pt x="1336" y="301"/>
                  <a:pt x="1346" y="314"/>
                  <a:pt x="1355" y="328"/>
                </a:cubicBezTo>
                <a:lnTo>
                  <a:pt x="1348" y="332"/>
                </a:lnTo>
                <a:close/>
                <a:moveTo>
                  <a:pt x="159" y="295"/>
                </a:moveTo>
                <a:cubicBezTo>
                  <a:pt x="153" y="290"/>
                  <a:pt x="153" y="290"/>
                  <a:pt x="153" y="290"/>
                </a:cubicBezTo>
                <a:cubicBezTo>
                  <a:pt x="162" y="277"/>
                  <a:pt x="173" y="265"/>
                  <a:pt x="183" y="253"/>
                </a:cubicBezTo>
                <a:cubicBezTo>
                  <a:pt x="189" y="258"/>
                  <a:pt x="189" y="258"/>
                  <a:pt x="189" y="258"/>
                </a:cubicBezTo>
                <a:cubicBezTo>
                  <a:pt x="179" y="270"/>
                  <a:pt x="169" y="282"/>
                  <a:pt x="159" y="295"/>
                </a:cubicBezTo>
                <a:close/>
                <a:moveTo>
                  <a:pt x="1290" y="256"/>
                </a:moveTo>
                <a:cubicBezTo>
                  <a:pt x="1279" y="244"/>
                  <a:pt x="1268" y="233"/>
                  <a:pt x="1257" y="221"/>
                </a:cubicBezTo>
                <a:cubicBezTo>
                  <a:pt x="1263" y="216"/>
                  <a:pt x="1263" y="216"/>
                  <a:pt x="1263" y="216"/>
                </a:cubicBezTo>
                <a:cubicBezTo>
                  <a:pt x="1274" y="227"/>
                  <a:pt x="1285" y="239"/>
                  <a:pt x="1296" y="251"/>
                </a:cubicBezTo>
                <a:lnTo>
                  <a:pt x="1290" y="256"/>
                </a:lnTo>
                <a:close/>
                <a:moveTo>
                  <a:pt x="222" y="223"/>
                </a:moveTo>
                <a:cubicBezTo>
                  <a:pt x="216" y="217"/>
                  <a:pt x="216" y="217"/>
                  <a:pt x="216" y="217"/>
                </a:cubicBezTo>
                <a:cubicBezTo>
                  <a:pt x="228" y="206"/>
                  <a:pt x="240" y="195"/>
                  <a:pt x="252" y="184"/>
                </a:cubicBezTo>
                <a:cubicBezTo>
                  <a:pt x="257" y="190"/>
                  <a:pt x="257" y="190"/>
                  <a:pt x="257" y="190"/>
                </a:cubicBezTo>
                <a:cubicBezTo>
                  <a:pt x="245" y="201"/>
                  <a:pt x="233" y="212"/>
                  <a:pt x="222" y="223"/>
                </a:cubicBezTo>
                <a:close/>
                <a:moveTo>
                  <a:pt x="1222" y="189"/>
                </a:moveTo>
                <a:cubicBezTo>
                  <a:pt x="1210" y="178"/>
                  <a:pt x="1198" y="168"/>
                  <a:pt x="1185" y="158"/>
                </a:cubicBezTo>
                <a:cubicBezTo>
                  <a:pt x="1190" y="152"/>
                  <a:pt x="1190" y="152"/>
                  <a:pt x="1190" y="152"/>
                </a:cubicBezTo>
                <a:cubicBezTo>
                  <a:pt x="1203" y="162"/>
                  <a:pt x="1215" y="172"/>
                  <a:pt x="1227" y="183"/>
                </a:cubicBezTo>
                <a:lnTo>
                  <a:pt x="1222" y="189"/>
                </a:lnTo>
                <a:close/>
                <a:moveTo>
                  <a:pt x="294" y="160"/>
                </a:moveTo>
                <a:cubicBezTo>
                  <a:pt x="289" y="153"/>
                  <a:pt x="289" y="153"/>
                  <a:pt x="289" y="153"/>
                </a:cubicBezTo>
                <a:cubicBezTo>
                  <a:pt x="302" y="144"/>
                  <a:pt x="315" y="134"/>
                  <a:pt x="328" y="125"/>
                </a:cubicBezTo>
                <a:cubicBezTo>
                  <a:pt x="333" y="132"/>
                  <a:pt x="333" y="132"/>
                  <a:pt x="333" y="132"/>
                </a:cubicBezTo>
                <a:cubicBezTo>
                  <a:pt x="320" y="141"/>
                  <a:pt x="307" y="150"/>
                  <a:pt x="294" y="160"/>
                </a:cubicBezTo>
                <a:close/>
                <a:moveTo>
                  <a:pt x="1146" y="130"/>
                </a:moveTo>
                <a:cubicBezTo>
                  <a:pt x="1133" y="122"/>
                  <a:pt x="1119" y="113"/>
                  <a:pt x="1105" y="105"/>
                </a:cubicBezTo>
                <a:cubicBezTo>
                  <a:pt x="1109" y="98"/>
                  <a:pt x="1109" y="98"/>
                  <a:pt x="1109" y="98"/>
                </a:cubicBezTo>
                <a:cubicBezTo>
                  <a:pt x="1123" y="106"/>
                  <a:pt x="1137" y="115"/>
                  <a:pt x="1150" y="124"/>
                </a:cubicBezTo>
                <a:lnTo>
                  <a:pt x="1146" y="130"/>
                </a:lnTo>
                <a:close/>
                <a:moveTo>
                  <a:pt x="373" y="106"/>
                </a:moveTo>
                <a:cubicBezTo>
                  <a:pt x="369" y="100"/>
                  <a:pt x="369" y="100"/>
                  <a:pt x="369" y="100"/>
                </a:cubicBezTo>
                <a:cubicBezTo>
                  <a:pt x="383" y="91"/>
                  <a:pt x="398" y="84"/>
                  <a:pt x="412" y="77"/>
                </a:cubicBezTo>
                <a:cubicBezTo>
                  <a:pt x="416" y="84"/>
                  <a:pt x="416" y="84"/>
                  <a:pt x="416" y="84"/>
                </a:cubicBezTo>
                <a:cubicBezTo>
                  <a:pt x="401" y="91"/>
                  <a:pt x="387" y="98"/>
                  <a:pt x="373" y="106"/>
                </a:cubicBezTo>
                <a:close/>
                <a:moveTo>
                  <a:pt x="1063" y="83"/>
                </a:moveTo>
                <a:cubicBezTo>
                  <a:pt x="1049" y="76"/>
                  <a:pt x="1034" y="69"/>
                  <a:pt x="1019" y="63"/>
                </a:cubicBezTo>
                <a:cubicBezTo>
                  <a:pt x="1022" y="56"/>
                  <a:pt x="1022" y="56"/>
                  <a:pt x="1022" y="56"/>
                </a:cubicBezTo>
                <a:cubicBezTo>
                  <a:pt x="1037" y="62"/>
                  <a:pt x="1052" y="68"/>
                  <a:pt x="1066" y="75"/>
                </a:cubicBezTo>
                <a:lnTo>
                  <a:pt x="1063" y="83"/>
                </a:lnTo>
                <a:close/>
                <a:moveTo>
                  <a:pt x="459" y="64"/>
                </a:moveTo>
                <a:cubicBezTo>
                  <a:pt x="456" y="57"/>
                  <a:pt x="456" y="57"/>
                  <a:pt x="456" y="57"/>
                </a:cubicBezTo>
                <a:cubicBezTo>
                  <a:pt x="471" y="50"/>
                  <a:pt x="486" y="45"/>
                  <a:pt x="501" y="39"/>
                </a:cubicBezTo>
                <a:cubicBezTo>
                  <a:pt x="504" y="47"/>
                  <a:pt x="504" y="47"/>
                  <a:pt x="504" y="47"/>
                </a:cubicBezTo>
                <a:cubicBezTo>
                  <a:pt x="489" y="52"/>
                  <a:pt x="474" y="58"/>
                  <a:pt x="459" y="64"/>
                </a:cubicBezTo>
                <a:close/>
                <a:moveTo>
                  <a:pt x="974" y="46"/>
                </a:moveTo>
                <a:cubicBezTo>
                  <a:pt x="959" y="41"/>
                  <a:pt x="944" y="36"/>
                  <a:pt x="928" y="32"/>
                </a:cubicBezTo>
                <a:cubicBezTo>
                  <a:pt x="930" y="25"/>
                  <a:pt x="930" y="25"/>
                  <a:pt x="930" y="25"/>
                </a:cubicBezTo>
                <a:cubicBezTo>
                  <a:pt x="946" y="29"/>
                  <a:pt x="962" y="33"/>
                  <a:pt x="977" y="39"/>
                </a:cubicBezTo>
                <a:lnTo>
                  <a:pt x="974" y="46"/>
                </a:lnTo>
                <a:close/>
                <a:moveTo>
                  <a:pt x="550" y="33"/>
                </a:moveTo>
                <a:cubicBezTo>
                  <a:pt x="548" y="25"/>
                  <a:pt x="548" y="25"/>
                  <a:pt x="548" y="25"/>
                </a:cubicBezTo>
                <a:cubicBezTo>
                  <a:pt x="563" y="21"/>
                  <a:pt x="579" y="17"/>
                  <a:pt x="595" y="14"/>
                </a:cubicBezTo>
                <a:cubicBezTo>
                  <a:pt x="596" y="22"/>
                  <a:pt x="596" y="22"/>
                  <a:pt x="596" y="22"/>
                </a:cubicBezTo>
                <a:cubicBezTo>
                  <a:pt x="581" y="25"/>
                  <a:pt x="565" y="29"/>
                  <a:pt x="550" y="33"/>
                </a:cubicBezTo>
                <a:close/>
                <a:moveTo>
                  <a:pt x="882" y="22"/>
                </a:moveTo>
                <a:cubicBezTo>
                  <a:pt x="866" y="19"/>
                  <a:pt x="850" y="16"/>
                  <a:pt x="835" y="14"/>
                </a:cubicBezTo>
                <a:cubicBezTo>
                  <a:pt x="836" y="6"/>
                  <a:pt x="836" y="6"/>
                  <a:pt x="836" y="6"/>
                </a:cubicBezTo>
                <a:cubicBezTo>
                  <a:pt x="851" y="8"/>
                  <a:pt x="868" y="11"/>
                  <a:pt x="883" y="14"/>
                </a:cubicBezTo>
                <a:lnTo>
                  <a:pt x="882" y="22"/>
                </a:lnTo>
                <a:close/>
                <a:moveTo>
                  <a:pt x="643" y="14"/>
                </a:moveTo>
                <a:cubicBezTo>
                  <a:pt x="642" y="6"/>
                  <a:pt x="642" y="6"/>
                  <a:pt x="642" y="6"/>
                </a:cubicBezTo>
                <a:cubicBezTo>
                  <a:pt x="658" y="4"/>
                  <a:pt x="674" y="3"/>
                  <a:pt x="691" y="2"/>
                </a:cubicBezTo>
                <a:cubicBezTo>
                  <a:pt x="691" y="10"/>
                  <a:pt x="691" y="10"/>
                  <a:pt x="691" y="10"/>
                </a:cubicBezTo>
                <a:cubicBezTo>
                  <a:pt x="675" y="11"/>
                  <a:pt x="659" y="12"/>
                  <a:pt x="643" y="14"/>
                </a:cubicBezTo>
                <a:close/>
                <a:moveTo>
                  <a:pt x="787" y="9"/>
                </a:moveTo>
                <a:cubicBezTo>
                  <a:pt x="771" y="8"/>
                  <a:pt x="756" y="8"/>
                  <a:pt x="740" y="8"/>
                </a:cubicBezTo>
                <a:cubicBezTo>
                  <a:pt x="739" y="8"/>
                  <a:pt x="739" y="8"/>
                  <a:pt x="739" y="8"/>
                </a:cubicBezTo>
                <a:cubicBezTo>
                  <a:pt x="739" y="0"/>
                  <a:pt x="739" y="0"/>
                  <a:pt x="739" y="0"/>
                </a:cubicBezTo>
                <a:cubicBezTo>
                  <a:pt x="740" y="0"/>
                  <a:pt x="740" y="0"/>
                  <a:pt x="740" y="0"/>
                </a:cubicBezTo>
                <a:cubicBezTo>
                  <a:pt x="756" y="0"/>
                  <a:pt x="772" y="0"/>
                  <a:pt x="787" y="1"/>
                </a:cubicBezTo>
                <a:lnTo>
                  <a:pt x="787" y="9"/>
                </a:lnTo>
                <a:close/>
              </a:path>
            </a:pathLst>
          </a:custGeom>
          <a:solidFill>
            <a:srgbClr val="E6E6E6"/>
          </a:solidFill>
          <a:ln>
            <a:noFill/>
          </a:ln>
          <a:extLst>
            <a:ext uri="{91240B29-F687-4F45-9708-019B960494DF}">
              <a14:hiddenLine w="9525">
                <a:solidFill>
                  <a:srgbClr val="000000"/>
                </a:solidFill>
                <a:round/>
                <a:headEnd/>
                <a:tailEnd/>
              </a14:hiddenLine>
            </a:ext>
          </a:extLst>
        </p:spPr>
        <p:txBody>
          <a:bodyPr anchor="ctr"/>
          <a:lstStyle/>
          <a:p>
            <a:pPr algn="ctr"/>
            <a:endParaRPr/>
          </a:p>
        </p:txBody>
      </p:sp>
      <p:sp>
        <p:nvSpPr>
          <p:cNvPr id="72" name="iṣ1íďé">
            <a:extLst>
              <a:ext uri="{FF2B5EF4-FFF2-40B4-BE49-F238E27FC236}">
                <a16:creationId xmlns:a16="http://schemas.microsoft.com/office/drawing/2014/main" id="{06BB752A-373C-4F3E-A776-A193C4E60B31}"/>
              </a:ext>
            </a:extLst>
          </p:cNvPr>
          <p:cNvSpPr/>
          <p:nvPr/>
        </p:nvSpPr>
        <p:spPr bwMode="auto">
          <a:xfrm>
            <a:off x="5384017" y="1243611"/>
            <a:ext cx="2527300" cy="2522538"/>
          </a:xfrm>
          <a:custGeom>
            <a:gdLst>
              <a:gd fmla="*/ 740 w 1480" name="T0"/>
              <a:gd fmla="*/ 1472 h 1480" name="T1"/>
              <a:gd fmla="*/ 789 w 1480" name="T2"/>
              <a:gd fmla="*/ 1478 h 1480" name="T3"/>
              <a:gd fmla="*/ 789 w 1480" name="T4"/>
              <a:gd fmla="*/ 1478 h 1480" name="T5"/>
              <a:gd fmla="*/ 645 w 1480" name="T6"/>
              <a:gd fmla="*/ 1466 h 1480" name="T7"/>
              <a:gd fmla="*/ 930 w 1480" name="T8"/>
              <a:gd fmla="*/ 1447 h 1480" name="T9"/>
              <a:gd fmla="*/ 503 w 1480" name="T10"/>
              <a:gd fmla="*/ 1441 h 1480" name="T11"/>
              <a:gd fmla="*/ 979 w 1480" name="T12"/>
              <a:gd fmla="*/ 1441 h 1480" name="T13"/>
              <a:gd fmla="*/ 979 w 1480" name="T14"/>
              <a:gd fmla="*/ 1441 h 1480" name="T15"/>
              <a:gd fmla="*/ 461 w 1480" name="T16"/>
              <a:gd fmla="*/ 1417 h 1480" name="T17"/>
              <a:gd fmla="*/ 1107 w 1480" name="T18"/>
              <a:gd fmla="*/ 1374 h 1480" name="T19"/>
              <a:gd fmla="*/ 330 w 1480" name="T20"/>
              <a:gd fmla="*/ 1356 h 1480" name="T21"/>
              <a:gd fmla="*/ 1152 w 1480" name="T22"/>
              <a:gd fmla="*/ 1355 h 1480" name="T23"/>
              <a:gd fmla="*/ 1152 w 1480" name="T24"/>
              <a:gd fmla="*/ 1355 h 1480" name="T25"/>
              <a:gd fmla="*/ 295 w 1480" name="T26"/>
              <a:gd fmla="*/ 1321 h 1480" name="T27"/>
              <a:gd fmla="*/ 1258 w 1480" name="T28"/>
              <a:gd fmla="*/ 1258 h 1480" name="T29"/>
              <a:gd fmla="*/ 184 w 1480" name="T30"/>
              <a:gd fmla="*/ 1228 h 1480" name="T31"/>
              <a:gd fmla="*/ 1297 w 1480" name="T32"/>
              <a:gd fmla="*/ 1228 h 1480" name="T33"/>
              <a:gd fmla="*/ 1297 w 1480" name="T34"/>
              <a:gd fmla="*/ 1228 h 1480" name="T35"/>
              <a:gd fmla="*/ 160 w 1480" name="T36"/>
              <a:gd fmla="*/ 1186 h 1480" name="T37"/>
              <a:gd fmla="*/ 1374 w 1480" name="T38"/>
              <a:gd fmla="*/ 1106 h 1480" name="T39"/>
              <a:gd fmla="*/ 77 w 1480" name="T40"/>
              <a:gd fmla="*/ 1068 h 1480" name="T41"/>
              <a:gd fmla="*/ 1404 w 1480" name="T42"/>
              <a:gd fmla="*/ 1067 h 1480" name="T43"/>
              <a:gd fmla="*/ 1404 w 1480" name="T44"/>
              <a:gd fmla="*/ 1067 h 1480" name="T45"/>
              <a:gd fmla="*/ 64 w 1480" name="T46"/>
              <a:gd fmla="*/ 1021 h 1480" name="T47"/>
              <a:gd fmla="*/ 1448 w 1480" name="T48"/>
              <a:gd fmla="*/ 929 h 1480" name="T49"/>
              <a:gd fmla="*/ 15 w 1480" name="T50"/>
              <a:gd fmla="*/ 885 h 1480" name="T51"/>
              <a:gd fmla="*/ 1466 w 1480" name="T52"/>
              <a:gd fmla="*/ 884 h 1480" name="T53"/>
              <a:gd fmla="*/ 1466 w 1480" name="T54"/>
              <a:gd fmla="*/ 884 h 1480" name="T55"/>
              <a:gd fmla="*/ 15 w 1480" name="T56"/>
              <a:gd fmla="*/ 836 h 1480" name="T57"/>
              <a:gd fmla="*/ 1472 w 1480" name="T58"/>
              <a:gd fmla="*/ 740 h 1480" name="T59"/>
              <a:gd fmla="*/ 1479 w 1480" name="T60"/>
              <a:gd fmla="*/ 788 h 1480" name="T61"/>
              <a:gd fmla="*/ 2 w 1480" name="T62"/>
              <a:gd fmla="*/ 693 h 1480" name="T63"/>
              <a:gd fmla="*/ 1471 w 1480" name="T64"/>
              <a:gd fmla="*/ 690 h 1480" name="T65"/>
              <a:gd fmla="*/ 1471 w 1480" name="T66"/>
              <a:gd fmla="*/ 690 h 1480" name="T67"/>
              <a:gd fmla="*/ 22 w 1480" name="T68"/>
              <a:gd fmla="*/ 598 h 1480" name="T69"/>
              <a:gd fmla="*/ 1455 w 1480" name="T70"/>
              <a:gd fmla="*/ 547 h 1480" name="T71"/>
              <a:gd fmla="*/ 25 w 1480" name="T72"/>
              <a:gd fmla="*/ 549 h 1480" name="T73"/>
              <a:gd fmla="*/ 1433 w 1480" name="T74"/>
              <a:gd fmla="*/ 503 h 1480" name="T75"/>
              <a:gd fmla="*/ 1433 w 1480" name="T76"/>
              <a:gd fmla="*/ 503 h 1480" name="T77"/>
              <a:gd fmla="*/ 83 w 1480" name="T78"/>
              <a:gd fmla="*/ 417 h 1480" name="T79"/>
              <a:gd fmla="*/ 1381 w 1480" name="T80"/>
              <a:gd fmla="*/ 369 h 1480" name="T81"/>
              <a:gd fmla="*/ 99 w 1480" name="T82"/>
              <a:gd fmla="*/ 371 h 1480" name="T83"/>
              <a:gd fmla="*/ 1348 w 1480" name="T84"/>
              <a:gd fmla="*/ 332 h 1480" name="T85"/>
              <a:gd fmla="*/ 1348 w 1480" name="T86"/>
              <a:gd fmla="*/ 332 h 1480" name="T87"/>
              <a:gd fmla="*/ 189 w 1480" name="T88"/>
              <a:gd fmla="*/ 258 h 1480" name="T89"/>
              <a:gd fmla="*/ 1263 w 1480" name="T90"/>
              <a:gd fmla="*/ 216 h 1480" name="T91"/>
              <a:gd fmla="*/ 216 w 1480" name="T92"/>
              <a:gd fmla="*/ 217 h 1480" name="T93"/>
              <a:gd fmla="*/ 1222 w 1480" name="T94"/>
              <a:gd fmla="*/ 189 h 1480" name="T95"/>
              <a:gd fmla="*/ 1222 w 1480" name="T96"/>
              <a:gd fmla="*/ 189 h 1480" name="T97"/>
              <a:gd fmla="*/ 333 w 1480" name="T98"/>
              <a:gd fmla="*/ 132 h 1480" name="T99"/>
              <a:gd fmla="*/ 1109 w 1480" name="T100"/>
              <a:gd fmla="*/ 98 h 1480" name="T101"/>
              <a:gd fmla="*/ 369 w 1480" name="T102"/>
              <a:gd fmla="*/ 100 h 1480" name="T103"/>
              <a:gd fmla="*/ 1063 w 1480" name="T104"/>
              <a:gd fmla="*/ 83 h 1480" name="T105"/>
              <a:gd fmla="*/ 1063 w 1480" name="T106"/>
              <a:gd fmla="*/ 83 h 1480" name="T107"/>
              <a:gd fmla="*/ 504 w 1480" name="T108"/>
              <a:gd fmla="*/ 47 h 1480" name="T109"/>
              <a:gd fmla="*/ 930 w 1480" name="T110"/>
              <a:gd fmla="*/ 25 h 1480" name="T111"/>
              <a:gd fmla="*/ 548 w 1480" name="T112"/>
              <a:gd fmla="*/ 25 h 1480" name="T113"/>
              <a:gd fmla="*/ 882 w 1480" name="T114"/>
              <a:gd fmla="*/ 22 h 1480" name="T115"/>
              <a:gd fmla="*/ 882 w 1480" name="T116"/>
              <a:gd fmla="*/ 22 h 1480" name="T117"/>
              <a:gd fmla="*/ 691 w 1480" name="T118"/>
              <a:gd fmla="*/ 10 h 1480" name="T119"/>
              <a:gd fmla="*/ 739 w 1480" name="T120"/>
              <a:gd fmla="*/ 8 h 1480" name="T121"/>
              <a:gd fmla="*/ 787 w 1480" name="T122"/>
              <a:gd fmla="*/ 9 h 1480" name="T12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b="b" l="0" r="r" t="0"/>
            <a:pathLst>
              <a:path h="1480" w="1480">
                <a:moveTo>
                  <a:pt x="740" y="1480"/>
                </a:moveTo>
                <a:cubicBezTo>
                  <a:pt x="724" y="1480"/>
                  <a:pt x="708" y="1479"/>
                  <a:pt x="692" y="1478"/>
                </a:cubicBezTo>
                <a:cubicBezTo>
                  <a:pt x="693" y="1470"/>
                  <a:pt x="693" y="1470"/>
                  <a:pt x="693" y="1470"/>
                </a:cubicBezTo>
                <a:cubicBezTo>
                  <a:pt x="709" y="1471"/>
                  <a:pt x="725" y="1472"/>
                  <a:pt x="740" y="1472"/>
                </a:cubicBezTo>
                <a:cubicBezTo>
                  <a:pt x="741" y="1472"/>
                  <a:pt x="741" y="1472"/>
                  <a:pt x="741" y="1472"/>
                </a:cubicBezTo>
                <a:cubicBezTo>
                  <a:pt x="741" y="1480"/>
                  <a:pt x="741" y="1480"/>
                  <a:pt x="741" y="1480"/>
                </a:cubicBezTo>
                <a:cubicBezTo>
                  <a:pt x="740" y="1480"/>
                  <a:pt x="740" y="1480"/>
                  <a:pt x="740" y="1480"/>
                </a:cubicBezTo>
                <a:close/>
                <a:moveTo>
                  <a:pt x="789" y="1478"/>
                </a:moveTo>
                <a:cubicBezTo>
                  <a:pt x="789" y="1470"/>
                  <a:pt x="789" y="1470"/>
                  <a:pt x="789" y="1470"/>
                </a:cubicBezTo>
                <a:cubicBezTo>
                  <a:pt x="805" y="1469"/>
                  <a:pt x="821" y="1468"/>
                  <a:pt x="836" y="1466"/>
                </a:cubicBezTo>
                <a:cubicBezTo>
                  <a:pt x="837" y="1474"/>
                  <a:pt x="837" y="1474"/>
                  <a:pt x="837" y="1474"/>
                </a:cubicBezTo>
                <a:cubicBezTo>
                  <a:pt x="822" y="1476"/>
                  <a:pt x="805" y="1477"/>
                  <a:pt x="789" y="1478"/>
                </a:cubicBezTo>
                <a:close/>
                <a:moveTo>
                  <a:pt x="644" y="1474"/>
                </a:moveTo>
                <a:cubicBezTo>
                  <a:pt x="628" y="1472"/>
                  <a:pt x="612" y="1469"/>
                  <a:pt x="597" y="1466"/>
                </a:cubicBezTo>
                <a:cubicBezTo>
                  <a:pt x="598" y="1458"/>
                  <a:pt x="598" y="1458"/>
                  <a:pt x="598" y="1458"/>
                </a:cubicBezTo>
                <a:cubicBezTo>
                  <a:pt x="614" y="1461"/>
                  <a:pt x="630" y="1464"/>
                  <a:pt x="645" y="1466"/>
                </a:cubicBezTo>
                <a:lnTo>
                  <a:pt x="644" y="1474"/>
                </a:lnTo>
                <a:close/>
                <a:moveTo>
                  <a:pt x="885" y="1466"/>
                </a:moveTo>
                <a:cubicBezTo>
                  <a:pt x="884" y="1458"/>
                  <a:pt x="884" y="1458"/>
                  <a:pt x="884" y="1458"/>
                </a:cubicBezTo>
                <a:cubicBezTo>
                  <a:pt x="899" y="1455"/>
                  <a:pt x="915" y="1451"/>
                  <a:pt x="930" y="1447"/>
                </a:cubicBezTo>
                <a:cubicBezTo>
                  <a:pt x="932" y="1455"/>
                  <a:pt x="932" y="1455"/>
                  <a:pt x="932" y="1455"/>
                </a:cubicBezTo>
                <a:cubicBezTo>
                  <a:pt x="917" y="1459"/>
                  <a:pt x="901" y="1463"/>
                  <a:pt x="885" y="1466"/>
                </a:cubicBezTo>
                <a:close/>
                <a:moveTo>
                  <a:pt x="549" y="1455"/>
                </a:moveTo>
                <a:cubicBezTo>
                  <a:pt x="534" y="1451"/>
                  <a:pt x="518" y="1446"/>
                  <a:pt x="503" y="1441"/>
                </a:cubicBezTo>
                <a:cubicBezTo>
                  <a:pt x="506" y="1434"/>
                  <a:pt x="506" y="1434"/>
                  <a:pt x="506" y="1434"/>
                </a:cubicBezTo>
                <a:cubicBezTo>
                  <a:pt x="521" y="1439"/>
                  <a:pt x="536" y="1443"/>
                  <a:pt x="551" y="1447"/>
                </a:cubicBezTo>
                <a:lnTo>
                  <a:pt x="549" y="1455"/>
                </a:lnTo>
                <a:close/>
                <a:moveTo>
                  <a:pt x="979" y="1441"/>
                </a:moveTo>
                <a:cubicBezTo>
                  <a:pt x="976" y="1433"/>
                  <a:pt x="976" y="1433"/>
                  <a:pt x="976" y="1433"/>
                </a:cubicBezTo>
                <a:cubicBezTo>
                  <a:pt x="991" y="1428"/>
                  <a:pt x="1006" y="1422"/>
                  <a:pt x="1021" y="1416"/>
                </a:cubicBezTo>
                <a:cubicBezTo>
                  <a:pt x="1024" y="1424"/>
                  <a:pt x="1024" y="1424"/>
                  <a:pt x="1024" y="1424"/>
                </a:cubicBezTo>
                <a:cubicBezTo>
                  <a:pt x="1009" y="1430"/>
                  <a:pt x="994" y="1436"/>
                  <a:pt x="979" y="1441"/>
                </a:cubicBezTo>
                <a:close/>
                <a:moveTo>
                  <a:pt x="458" y="1424"/>
                </a:moveTo>
                <a:cubicBezTo>
                  <a:pt x="443" y="1418"/>
                  <a:pt x="428" y="1411"/>
                  <a:pt x="413" y="1404"/>
                </a:cubicBezTo>
                <a:cubicBezTo>
                  <a:pt x="417" y="1397"/>
                  <a:pt x="417" y="1397"/>
                  <a:pt x="417" y="1397"/>
                </a:cubicBezTo>
                <a:cubicBezTo>
                  <a:pt x="431" y="1404"/>
                  <a:pt x="446" y="1411"/>
                  <a:pt x="461" y="1417"/>
                </a:cubicBezTo>
                <a:lnTo>
                  <a:pt x="458" y="1424"/>
                </a:lnTo>
                <a:close/>
                <a:moveTo>
                  <a:pt x="1068" y="1404"/>
                </a:moveTo>
                <a:cubicBezTo>
                  <a:pt x="1064" y="1397"/>
                  <a:pt x="1064" y="1397"/>
                  <a:pt x="1064" y="1397"/>
                </a:cubicBezTo>
                <a:cubicBezTo>
                  <a:pt x="1079" y="1390"/>
                  <a:pt x="1093" y="1382"/>
                  <a:pt x="1107" y="1374"/>
                </a:cubicBezTo>
                <a:cubicBezTo>
                  <a:pt x="1111" y="1381"/>
                  <a:pt x="1111" y="1381"/>
                  <a:pt x="1111" y="1381"/>
                </a:cubicBezTo>
                <a:cubicBezTo>
                  <a:pt x="1097" y="1389"/>
                  <a:pt x="1082" y="1397"/>
                  <a:pt x="1068" y="1404"/>
                </a:cubicBezTo>
                <a:close/>
                <a:moveTo>
                  <a:pt x="371" y="1381"/>
                </a:moveTo>
                <a:cubicBezTo>
                  <a:pt x="357" y="1373"/>
                  <a:pt x="343" y="1365"/>
                  <a:pt x="330" y="1356"/>
                </a:cubicBezTo>
                <a:cubicBezTo>
                  <a:pt x="334" y="1349"/>
                  <a:pt x="334" y="1349"/>
                  <a:pt x="334" y="1349"/>
                </a:cubicBezTo>
                <a:cubicBezTo>
                  <a:pt x="347" y="1358"/>
                  <a:pt x="361" y="1366"/>
                  <a:pt x="375" y="1374"/>
                </a:cubicBezTo>
                <a:lnTo>
                  <a:pt x="371" y="1381"/>
                </a:lnTo>
                <a:close/>
                <a:moveTo>
                  <a:pt x="1152" y="1355"/>
                </a:moveTo>
                <a:cubicBezTo>
                  <a:pt x="1147" y="1349"/>
                  <a:pt x="1147" y="1349"/>
                  <a:pt x="1147" y="1349"/>
                </a:cubicBezTo>
                <a:cubicBezTo>
                  <a:pt x="1160" y="1340"/>
                  <a:pt x="1173" y="1330"/>
                  <a:pt x="1186" y="1321"/>
                </a:cubicBezTo>
                <a:cubicBezTo>
                  <a:pt x="1191" y="1327"/>
                  <a:pt x="1191" y="1327"/>
                  <a:pt x="1191" y="1327"/>
                </a:cubicBezTo>
                <a:cubicBezTo>
                  <a:pt x="1178" y="1337"/>
                  <a:pt x="1165" y="1346"/>
                  <a:pt x="1152" y="1355"/>
                </a:cubicBezTo>
                <a:close/>
                <a:moveTo>
                  <a:pt x="290" y="1327"/>
                </a:moveTo>
                <a:cubicBezTo>
                  <a:pt x="278" y="1318"/>
                  <a:pt x="265" y="1307"/>
                  <a:pt x="253" y="1297"/>
                </a:cubicBezTo>
                <a:cubicBezTo>
                  <a:pt x="258" y="1291"/>
                  <a:pt x="258" y="1291"/>
                  <a:pt x="258" y="1291"/>
                </a:cubicBezTo>
                <a:cubicBezTo>
                  <a:pt x="270" y="1301"/>
                  <a:pt x="283" y="1311"/>
                  <a:pt x="295" y="1321"/>
                </a:cubicBezTo>
                <a:lnTo>
                  <a:pt x="290" y="1327"/>
                </a:lnTo>
                <a:close/>
                <a:moveTo>
                  <a:pt x="1228" y="1296"/>
                </a:moveTo>
                <a:cubicBezTo>
                  <a:pt x="1223" y="1290"/>
                  <a:pt x="1223" y="1290"/>
                  <a:pt x="1223" y="1290"/>
                </a:cubicBezTo>
                <a:cubicBezTo>
                  <a:pt x="1235" y="1280"/>
                  <a:pt x="1247" y="1269"/>
                  <a:pt x="1258" y="1258"/>
                </a:cubicBezTo>
                <a:cubicBezTo>
                  <a:pt x="1264" y="1263"/>
                  <a:pt x="1264" y="1263"/>
                  <a:pt x="1264" y="1263"/>
                </a:cubicBezTo>
                <a:cubicBezTo>
                  <a:pt x="1252" y="1275"/>
                  <a:pt x="1240" y="1286"/>
                  <a:pt x="1228" y="1296"/>
                </a:cubicBezTo>
                <a:close/>
                <a:moveTo>
                  <a:pt x="217" y="1264"/>
                </a:moveTo>
                <a:cubicBezTo>
                  <a:pt x="206" y="1252"/>
                  <a:pt x="195" y="1240"/>
                  <a:pt x="184" y="1228"/>
                </a:cubicBezTo>
                <a:cubicBezTo>
                  <a:pt x="190" y="1223"/>
                  <a:pt x="190" y="1223"/>
                  <a:pt x="190" y="1223"/>
                </a:cubicBezTo>
                <a:cubicBezTo>
                  <a:pt x="201" y="1235"/>
                  <a:pt x="212" y="1247"/>
                  <a:pt x="223" y="1258"/>
                </a:cubicBezTo>
                <a:lnTo>
                  <a:pt x="217" y="1264"/>
                </a:lnTo>
                <a:close/>
                <a:moveTo>
                  <a:pt x="1297" y="1228"/>
                </a:moveTo>
                <a:cubicBezTo>
                  <a:pt x="1291" y="1223"/>
                  <a:pt x="1291" y="1223"/>
                  <a:pt x="1291" y="1223"/>
                </a:cubicBezTo>
                <a:cubicBezTo>
                  <a:pt x="1301" y="1211"/>
                  <a:pt x="1311" y="1198"/>
                  <a:pt x="1321" y="1186"/>
                </a:cubicBezTo>
                <a:cubicBezTo>
                  <a:pt x="1327" y="1190"/>
                  <a:pt x="1327" y="1190"/>
                  <a:pt x="1327" y="1190"/>
                </a:cubicBezTo>
                <a:cubicBezTo>
                  <a:pt x="1318" y="1203"/>
                  <a:pt x="1307" y="1216"/>
                  <a:pt x="1297" y="1228"/>
                </a:cubicBezTo>
                <a:close/>
                <a:moveTo>
                  <a:pt x="154" y="1191"/>
                </a:moveTo>
                <a:cubicBezTo>
                  <a:pt x="144" y="1178"/>
                  <a:pt x="134" y="1165"/>
                  <a:pt x="125" y="1152"/>
                </a:cubicBezTo>
                <a:cubicBezTo>
                  <a:pt x="132" y="1147"/>
                  <a:pt x="132" y="1147"/>
                  <a:pt x="132" y="1147"/>
                </a:cubicBezTo>
                <a:cubicBezTo>
                  <a:pt x="141" y="1160"/>
                  <a:pt x="150" y="1173"/>
                  <a:pt x="160" y="1186"/>
                </a:cubicBezTo>
                <a:lnTo>
                  <a:pt x="154" y="1191"/>
                </a:lnTo>
                <a:close/>
                <a:moveTo>
                  <a:pt x="1356" y="1151"/>
                </a:moveTo>
                <a:cubicBezTo>
                  <a:pt x="1349" y="1147"/>
                  <a:pt x="1349" y="1147"/>
                  <a:pt x="1349" y="1147"/>
                </a:cubicBezTo>
                <a:cubicBezTo>
                  <a:pt x="1358" y="1133"/>
                  <a:pt x="1366" y="1120"/>
                  <a:pt x="1374" y="1106"/>
                </a:cubicBezTo>
                <a:cubicBezTo>
                  <a:pt x="1381" y="1110"/>
                  <a:pt x="1381" y="1110"/>
                  <a:pt x="1381" y="1110"/>
                </a:cubicBezTo>
                <a:cubicBezTo>
                  <a:pt x="1373" y="1124"/>
                  <a:pt x="1365" y="1138"/>
                  <a:pt x="1356" y="1151"/>
                </a:cubicBezTo>
                <a:close/>
                <a:moveTo>
                  <a:pt x="100" y="1111"/>
                </a:moveTo>
                <a:cubicBezTo>
                  <a:pt x="92" y="1097"/>
                  <a:pt x="84" y="1082"/>
                  <a:pt x="77" y="1068"/>
                </a:cubicBezTo>
                <a:cubicBezTo>
                  <a:pt x="84" y="1064"/>
                  <a:pt x="84" y="1064"/>
                  <a:pt x="84" y="1064"/>
                </a:cubicBezTo>
                <a:cubicBezTo>
                  <a:pt x="91" y="1079"/>
                  <a:pt x="99" y="1093"/>
                  <a:pt x="107" y="1107"/>
                </a:cubicBezTo>
                <a:lnTo>
                  <a:pt x="100" y="1111"/>
                </a:lnTo>
                <a:close/>
                <a:moveTo>
                  <a:pt x="1404" y="1067"/>
                </a:moveTo>
                <a:cubicBezTo>
                  <a:pt x="1397" y="1064"/>
                  <a:pt x="1397" y="1064"/>
                  <a:pt x="1397" y="1064"/>
                </a:cubicBezTo>
                <a:cubicBezTo>
                  <a:pt x="1404" y="1050"/>
                  <a:pt x="1411" y="1035"/>
                  <a:pt x="1417" y="1020"/>
                </a:cubicBezTo>
                <a:cubicBezTo>
                  <a:pt x="1424" y="1023"/>
                  <a:pt x="1424" y="1023"/>
                  <a:pt x="1424" y="1023"/>
                </a:cubicBezTo>
                <a:cubicBezTo>
                  <a:pt x="1418" y="1038"/>
                  <a:pt x="1411" y="1053"/>
                  <a:pt x="1404" y="1067"/>
                </a:cubicBezTo>
                <a:close/>
                <a:moveTo>
                  <a:pt x="57" y="1024"/>
                </a:moveTo>
                <a:cubicBezTo>
                  <a:pt x="51" y="1009"/>
                  <a:pt x="45" y="994"/>
                  <a:pt x="40" y="979"/>
                </a:cubicBezTo>
                <a:cubicBezTo>
                  <a:pt x="47" y="976"/>
                  <a:pt x="47" y="976"/>
                  <a:pt x="47" y="976"/>
                </a:cubicBezTo>
                <a:cubicBezTo>
                  <a:pt x="52" y="991"/>
                  <a:pt x="58" y="1006"/>
                  <a:pt x="64" y="1021"/>
                </a:cubicBezTo>
                <a:lnTo>
                  <a:pt x="57" y="1024"/>
                </a:lnTo>
                <a:close/>
                <a:moveTo>
                  <a:pt x="1441" y="978"/>
                </a:moveTo>
                <a:cubicBezTo>
                  <a:pt x="1434" y="975"/>
                  <a:pt x="1434" y="975"/>
                  <a:pt x="1434" y="975"/>
                </a:cubicBezTo>
                <a:cubicBezTo>
                  <a:pt x="1439" y="960"/>
                  <a:pt x="1444" y="945"/>
                  <a:pt x="1448" y="929"/>
                </a:cubicBezTo>
                <a:cubicBezTo>
                  <a:pt x="1455" y="931"/>
                  <a:pt x="1455" y="931"/>
                  <a:pt x="1455" y="931"/>
                </a:cubicBezTo>
                <a:cubicBezTo>
                  <a:pt x="1451" y="947"/>
                  <a:pt x="1447" y="963"/>
                  <a:pt x="1441" y="978"/>
                </a:cubicBezTo>
                <a:close/>
                <a:moveTo>
                  <a:pt x="26" y="932"/>
                </a:moveTo>
                <a:cubicBezTo>
                  <a:pt x="21" y="917"/>
                  <a:pt x="18" y="901"/>
                  <a:pt x="15" y="885"/>
                </a:cubicBezTo>
                <a:cubicBezTo>
                  <a:pt x="22" y="884"/>
                  <a:pt x="22" y="884"/>
                  <a:pt x="22" y="884"/>
                </a:cubicBezTo>
                <a:cubicBezTo>
                  <a:pt x="26" y="899"/>
                  <a:pt x="29" y="915"/>
                  <a:pt x="33" y="930"/>
                </a:cubicBezTo>
                <a:lnTo>
                  <a:pt x="26" y="932"/>
                </a:lnTo>
                <a:close/>
                <a:moveTo>
                  <a:pt x="1466" y="884"/>
                </a:moveTo>
                <a:cubicBezTo>
                  <a:pt x="1458" y="883"/>
                  <a:pt x="1458" y="883"/>
                  <a:pt x="1458" y="883"/>
                </a:cubicBezTo>
                <a:cubicBezTo>
                  <a:pt x="1462" y="867"/>
                  <a:pt x="1464" y="851"/>
                  <a:pt x="1466" y="835"/>
                </a:cubicBezTo>
                <a:cubicBezTo>
                  <a:pt x="1474" y="837"/>
                  <a:pt x="1474" y="837"/>
                  <a:pt x="1474" y="837"/>
                </a:cubicBezTo>
                <a:cubicBezTo>
                  <a:pt x="1472" y="852"/>
                  <a:pt x="1469" y="869"/>
                  <a:pt x="1466" y="884"/>
                </a:cubicBezTo>
                <a:close/>
                <a:moveTo>
                  <a:pt x="7" y="837"/>
                </a:moveTo>
                <a:cubicBezTo>
                  <a:pt x="5" y="822"/>
                  <a:pt x="3" y="805"/>
                  <a:pt x="2" y="789"/>
                </a:cubicBezTo>
                <a:cubicBezTo>
                  <a:pt x="10" y="789"/>
                  <a:pt x="10" y="789"/>
                  <a:pt x="10" y="789"/>
                </a:cubicBezTo>
                <a:cubicBezTo>
                  <a:pt x="11" y="805"/>
                  <a:pt x="13" y="821"/>
                  <a:pt x="15" y="836"/>
                </a:cubicBezTo>
                <a:lnTo>
                  <a:pt x="7" y="837"/>
                </a:lnTo>
                <a:close/>
                <a:moveTo>
                  <a:pt x="1479" y="788"/>
                </a:moveTo>
                <a:cubicBezTo>
                  <a:pt x="1471" y="788"/>
                  <a:pt x="1471" y="788"/>
                  <a:pt x="1471" y="788"/>
                </a:cubicBezTo>
                <a:cubicBezTo>
                  <a:pt x="1472" y="772"/>
                  <a:pt x="1472" y="756"/>
                  <a:pt x="1472" y="740"/>
                </a:cubicBezTo>
                <a:cubicBezTo>
                  <a:pt x="1472" y="738"/>
                  <a:pt x="1472" y="738"/>
                  <a:pt x="1472" y="738"/>
                </a:cubicBezTo>
                <a:cubicBezTo>
                  <a:pt x="1480" y="738"/>
                  <a:pt x="1480" y="738"/>
                  <a:pt x="1480" y="738"/>
                </a:cubicBezTo>
                <a:cubicBezTo>
                  <a:pt x="1480" y="740"/>
                  <a:pt x="1480" y="740"/>
                  <a:pt x="1480" y="740"/>
                </a:cubicBezTo>
                <a:cubicBezTo>
                  <a:pt x="1480" y="756"/>
                  <a:pt x="1480" y="772"/>
                  <a:pt x="1479" y="788"/>
                </a:cubicBezTo>
                <a:close/>
                <a:moveTo>
                  <a:pt x="8" y="741"/>
                </a:moveTo>
                <a:cubicBezTo>
                  <a:pt x="0" y="741"/>
                  <a:pt x="0" y="741"/>
                  <a:pt x="0" y="741"/>
                </a:cubicBezTo>
                <a:cubicBezTo>
                  <a:pt x="0" y="740"/>
                  <a:pt x="0" y="740"/>
                  <a:pt x="0" y="740"/>
                </a:cubicBezTo>
                <a:cubicBezTo>
                  <a:pt x="0" y="724"/>
                  <a:pt x="1" y="708"/>
                  <a:pt x="2" y="693"/>
                </a:cubicBezTo>
                <a:cubicBezTo>
                  <a:pt x="10" y="693"/>
                  <a:pt x="10" y="693"/>
                  <a:pt x="10" y="693"/>
                </a:cubicBezTo>
                <a:cubicBezTo>
                  <a:pt x="9" y="709"/>
                  <a:pt x="8" y="724"/>
                  <a:pt x="8" y="740"/>
                </a:cubicBezTo>
                <a:lnTo>
                  <a:pt x="8" y="741"/>
                </a:lnTo>
                <a:close/>
                <a:moveTo>
                  <a:pt x="1471" y="690"/>
                </a:moveTo>
                <a:cubicBezTo>
                  <a:pt x="1470" y="674"/>
                  <a:pt x="1468" y="658"/>
                  <a:pt x="1466" y="643"/>
                </a:cubicBezTo>
                <a:cubicBezTo>
                  <a:pt x="1474" y="642"/>
                  <a:pt x="1474" y="642"/>
                  <a:pt x="1474" y="642"/>
                </a:cubicBezTo>
                <a:cubicBezTo>
                  <a:pt x="1476" y="657"/>
                  <a:pt x="1478" y="674"/>
                  <a:pt x="1479" y="690"/>
                </a:cubicBezTo>
                <a:lnTo>
                  <a:pt x="1471" y="690"/>
                </a:lnTo>
                <a:close/>
                <a:moveTo>
                  <a:pt x="14" y="645"/>
                </a:moveTo>
                <a:cubicBezTo>
                  <a:pt x="7" y="644"/>
                  <a:pt x="7" y="644"/>
                  <a:pt x="7" y="644"/>
                </a:cubicBezTo>
                <a:cubicBezTo>
                  <a:pt x="9" y="628"/>
                  <a:pt x="11" y="612"/>
                  <a:pt x="14" y="597"/>
                </a:cubicBezTo>
                <a:cubicBezTo>
                  <a:pt x="22" y="598"/>
                  <a:pt x="22" y="598"/>
                  <a:pt x="22" y="598"/>
                </a:cubicBezTo>
                <a:cubicBezTo>
                  <a:pt x="19" y="614"/>
                  <a:pt x="16" y="630"/>
                  <a:pt x="14" y="645"/>
                </a:cubicBezTo>
                <a:close/>
                <a:moveTo>
                  <a:pt x="1458" y="595"/>
                </a:moveTo>
                <a:cubicBezTo>
                  <a:pt x="1455" y="580"/>
                  <a:pt x="1451" y="564"/>
                  <a:pt x="1447" y="549"/>
                </a:cubicBezTo>
                <a:cubicBezTo>
                  <a:pt x="1455" y="547"/>
                  <a:pt x="1455" y="547"/>
                  <a:pt x="1455" y="547"/>
                </a:cubicBezTo>
                <a:cubicBezTo>
                  <a:pt x="1459" y="562"/>
                  <a:pt x="1463" y="578"/>
                  <a:pt x="1466" y="594"/>
                </a:cubicBezTo>
                <a:lnTo>
                  <a:pt x="1458" y="595"/>
                </a:lnTo>
                <a:close/>
                <a:moveTo>
                  <a:pt x="33" y="551"/>
                </a:moveTo>
                <a:cubicBezTo>
                  <a:pt x="25" y="549"/>
                  <a:pt x="25" y="549"/>
                  <a:pt x="25" y="549"/>
                </a:cubicBezTo>
                <a:cubicBezTo>
                  <a:pt x="29" y="534"/>
                  <a:pt x="34" y="518"/>
                  <a:pt x="39" y="503"/>
                </a:cubicBezTo>
                <a:cubicBezTo>
                  <a:pt x="47" y="506"/>
                  <a:pt x="47" y="506"/>
                  <a:pt x="47" y="506"/>
                </a:cubicBezTo>
                <a:cubicBezTo>
                  <a:pt x="42" y="521"/>
                  <a:pt x="37" y="536"/>
                  <a:pt x="33" y="551"/>
                </a:cubicBezTo>
                <a:close/>
                <a:moveTo>
                  <a:pt x="1433" y="503"/>
                </a:moveTo>
                <a:cubicBezTo>
                  <a:pt x="1428" y="488"/>
                  <a:pt x="1422" y="473"/>
                  <a:pt x="1416" y="458"/>
                </a:cubicBezTo>
                <a:cubicBezTo>
                  <a:pt x="1424" y="455"/>
                  <a:pt x="1424" y="455"/>
                  <a:pt x="1424" y="455"/>
                </a:cubicBezTo>
                <a:cubicBezTo>
                  <a:pt x="1430" y="470"/>
                  <a:pt x="1436" y="485"/>
                  <a:pt x="1441" y="500"/>
                </a:cubicBezTo>
                <a:lnTo>
                  <a:pt x="1433" y="503"/>
                </a:lnTo>
                <a:close/>
                <a:moveTo>
                  <a:pt x="64" y="461"/>
                </a:moveTo>
                <a:cubicBezTo>
                  <a:pt x="56" y="458"/>
                  <a:pt x="56" y="458"/>
                  <a:pt x="56" y="458"/>
                </a:cubicBezTo>
                <a:cubicBezTo>
                  <a:pt x="62" y="443"/>
                  <a:pt x="69" y="428"/>
                  <a:pt x="76" y="414"/>
                </a:cubicBezTo>
                <a:cubicBezTo>
                  <a:pt x="83" y="417"/>
                  <a:pt x="83" y="417"/>
                  <a:pt x="83" y="417"/>
                </a:cubicBezTo>
                <a:cubicBezTo>
                  <a:pt x="76" y="431"/>
                  <a:pt x="70" y="446"/>
                  <a:pt x="64" y="461"/>
                </a:cubicBezTo>
                <a:close/>
                <a:moveTo>
                  <a:pt x="1396" y="415"/>
                </a:moveTo>
                <a:cubicBezTo>
                  <a:pt x="1389" y="401"/>
                  <a:pt x="1382" y="386"/>
                  <a:pt x="1374" y="373"/>
                </a:cubicBezTo>
                <a:cubicBezTo>
                  <a:pt x="1381" y="369"/>
                  <a:pt x="1381" y="369"/>
                  <a:pt x="1381" y="369"/>
                </a:cubicBezTo>
                <a:cubicBezTo>
                  <a:pt x="1389" y="383"/>
                  <a:pt x="1396" y="397"/>
                  <a:pt x="1404" y="411"/>
                </a:cubicBezTo>
                <a:lnTo>
                  <a:pt x="1396" y="415"/>
                </a:lnTo>
                <a:close/>
                <a:moveTo>
                  <a:pt x="106" y="375"/>
                </a:moveTo>
                <a:cubicBezTo>
                  <a:pt x="99" y="371"/>
                  <a:pt x="99" y="371"/>
                  <a:pt x="99" y="371"/>
                </a:cubicBezTo>
                <a:cubicBezTo>
                  <a:pt x="107" y="357"/>
                  <a:pt x="116" y="343"/>
                  <a:pt x="125" y="330"/>
                </a:cubicBezTo>
                <a:cubicBezTo>
                  <a:pt x="131" y="334"/>
                  <a:pt x="131" y="334"/>
                  <a:pt x="131" y="334"/>
                </a:cubicBezTo>
                <a:cubicBezTo>
                  <a:pt x="122" y="347"/>
                  <a:pt x="114" y="361"/>
                  <a:pt x="106" y="375"/>
                </a:cubicBezTo>
                <a:close/>
                <a:moveTo>
                  <a:pt x="1348" y="332"/>
                </a:moveTo>
                <a:cubicBezTo>
                  <a:pt x="1339" y="319"/>
                  <a:pt x="1330" y="306"/>
                  <a:pt x="1320" y="293"/>
                </a:cubicBezTo>
                <a:cubicBezTo>
                  <a:pt x="1327" y="288"/>
                  <a:pt x="1327" y="288"/>
                  <a:pt x="1327" y="288"/>
                </a:cubicBezTo>
                <a:cubicBezTo>
                  <a:pt x="1336" y="301"/>
                  <a:pt x="1346" y="314"/>
                  <a:pt x="1355" y="328"/>
                </a:cubicBezTo>
                <a:lnTo>
                  <a:pt x="1348" y="332"/>
                </a:lnTo>
                <a:close/>
                <a:moveTo>
                  <a:pt x="159" y="295"/>
                </a:moveTo>
                <a:cubicBezTo>
                  <a:pt x="153" y="290"/>
                  <a:pt x="153" y="290"/>
                  <a:pt x="153" y="290"/>
                </a:cubicBezTo>
                <a:cubicBezTo>
                  <a:pt x="162" y="277"/>
                  <a:pt x="173" y="265"/>
                  <a:pt x="183" y="253"/>
                </a:cubicBezTo>
                <a:cubicBezTo>
                  <a:pt x="189" y="258"/>
                  <a:pt x="189" y="258"/>
                  <a:pt x="189" y="258"/>
                </a:cubicBezTo>
                <a:cubicBezTo>
                  <a:pt x="179" y="270"/>
                  <a:pt x="169" y="282"/>
                  <a:pt x="159" y="295"/>
                </a:cubicBezTo>
                <a:close/>
                <a:moveTo>
                  <a:pt x="1290" y="256"/>
                </a:moveTo>
                <a:cubicBezTo>
                  <a:pt x="1279" y="244"/>
                  <a:pt x="1268" y="233"/>
                  <a:pt x="1257" y="221"/>
                </a:cubicBezTo>
                <a:cubicBezTo>
                  <a:pt x="1263" y="216"/>
                  <a:pt x="1263" y="216"/>
                  <a:pt x="1263" y="216"/>
                </a:cubicBezTo>
                <a:cubicBezTo>
                  <a:pt x="1274" y="227"/>
                  <a:pt x="1285" y="239"/>
                  <a:pt x="1296" y="251"/>
                </a:cubicBezTo>
                <a:lnTo>
                  <a:pt x="1290" y="256"/>
                </a:lnTo>
                <a:close/>
                <a:moveTo>
                  <a:pt x="222" y="223"/>
                </a:moveTo>
                <a:cubicBezTo>
                  <a:pt x="216" y="217"/>
                  <a:pt x="216" y="217"/>
                  <a:pt x="216" y="217"/>
                </a:cubicBezTo>
                <a:cubicBezTo>
                  <a:pt x="228" y="206"/>
                  <a:pt x="240" y="195"/>
                  <a:pt x="252" y="184"/>
                </a:cubicBezTo>
                <a:cubicBezTo>
                  <a:pt x="257" y="190"/>
                  <a:pt x="257" y="190"/>
                  <a:pt x="257" y="190"/>
                </a:cubicBezTo>
                <a:cubicBezTo>
                  <a:pt x="245" y="201"/>
                  <a:pt x="233" y="212"/>
                  <a:pt x="222" y="223"/>
                </a:cubicBezTo>
                <a:close/>
                <a:moveTo>
                  <a:pt x="1222" y="189"/>
                </a:moveTo>
                <a:cubicBezTo>
                  <a:pt x="1210" y="178"/>
                  <a:pt x="1198" y="168"/>
                  <a:pt x="1185" y="158"/>
                </a:cubicBezTo>
                <a:cubicBezTo>
                  <a:pt x="1190" y="152"/>
                  <a:pt x="1190" y="152"/>
                  <a:pt x="1190" y="152"/>
                </a:cubicBezTo>
                <a:cubicBezTo>
                  <a:pt x="1203" y="162"/>
                  <a:pt x="1215" y="172"/>
                  <a:pt x="1227" y="183"/>
                </a:cubicBezTo>
                <a:lnTo>
                  <a:pt x="1222" y="189"/>
                </a:lnTo>
                <a:close/>
                <a:moveTo>
                  <a:pt x="294" y="160"/>
                </a:moveTo>
                <a:cubicBezTo>
                  <a:pt x="289" y="153"/>
                  <a:pt x="289" y="153"/>
                  <a:pt x="289" y="153"/>
                </a:cubicBezTo>
                <a:cubicBezTo>
                  <a:pt x="302" y="144"/>
                  <a:pt x="315" y="134"/>
                  <a:pt x="328" y="125"/>
                </a:cubicBezTo>
                <a:cubicBezTo>
                  <a:pt x="333" y="132"/>
                  <a:pt x="333" y="132"/>
                  <a:pt x="333" y="132"/>
                </a:cubicBezTo>
                <a:cubicBezTo>
                  <a:pt x="320" y="141"/>
                  <a:pt x="307" y="150"/>
                  <a:pt x="294" y="160"/>
                </a:cubicBezTo>
                <a:close/>
                <a:moveTo>
                  <a:pt x="1146" y="130"/>
                </a:moveTo>
                <a:cubicBezTo>
                  <a:pt x="1133" y="122"/>
                  <a:pt x="1119" y="113"/>
                  <a:pt x="1105" y="105"/>
                </a:cubicBezTo>
                <a:cubicBezTo>
                  <a:pt x="1109" y="98"/>
                  <a:pt x="1109" y="98"/>
                  <a:pt x="1109" y="98"/>
                </a:cubicBezTo>
                <a:cubicBezTo>
                  <a:pt x="1123" y="106"/>
                  <a:pt x="1137" y="115"/>
                  <a:pt x="1150" y="124"/>
                </a:cubicBezTo>
                <a:lnTo>
                  <a:pt x="1146" y="130"/>
                </a:lnTo>
                <a:close/>
                <a:moveTo>
                  <a:pt x="373" y="106"/>
                </a:moveTo>
                <a:cubicBezTo>
                  <a:pt x="369" y="100"/>
                  <a:pt x="369" y="100"/>
                  <a:pt x="369" y="100"/>
                </a:cubicBezTo>
                <a:cubicBezTo>
                  <a:pt x="383" y="91"/>
                  <a:pt x="398" y="84"/>
                  <a:pt x="412" y="77"/>
                </a:cubicBezTo>
                <a:cubicBezTo>
                  <a:pt x="416" y="84"/>
                  <a:pt x="416" y="84"/>
                  <a:pt x="416" y="84"/>
                </a:cubicBezTo>
                <a:cubicBezTo>
                  <a:pt x="401" y="91"/>
                  <a:pt x="387" y="98"/>
                  <a:pt x="373" y="106"/>
                </a:cubicBezTo>
                <a:close/>
                <a:moveTo>
                  <a:pt x="1063" y="83"/>
                </a:moveTo>
                <a:cubicBezTo>
                  <a:pt x="1049" y="76"/>
                  <a:pt x="1034" y="69"/>
                  <a:pt x="1019" y="63"/>
                </a:cubicBezTo>
                <a:cubicBezTo>
                  <a:pt x="1022" y="56"/>
                  <a:pt x="1022" y="56"/>
                  <a:pt x="1022" y="56"/>
                </a:cubicBezTo>
                <a:cubicBezTo>
                  <a:pt x="1037" y="62"/>
                  <a:pt x="1052" y="68"/>
                  <a:pt x="1066" y="75"/>
                </a:cubicBezTo>
                <a:lnTo>
                  <a:pt x="1063" y="83"/>
                </a:lnTo>
                <a:close/>
                <a:moveTo>
                  <a:pt x="459" y="64"/>
                </a:moveTo>
                <a:cubicBezTo>
                  <a:pt x="456" y="57"/>
                  <a:pt x="456" y="57"/>
                  <a:pt x="456" y="57"/>
                </a:cubicBezTo>
                <a:cubicBezTo>
                  <a:pt x="471" y="50"/>
                  <a:pt x="486" y="45"/>
                  <a:pt x="501" y="39"/>
                </a:cubicBezTo>
                <a:cubicBezTo>
                  <a:pt x="504" y="47"/>
                  <a:pt x="504" y="47"/>
                  <a:pt x="504" y="47"/>
                </a:cubicBezTo>
                <a:cubicBezTo>
                  <a:pt x="489" y="52"/>
                  <a:pt x="474" y="58"/>
                  <a:pt x="459" y="64"/>
                </a:cubicBezTo>
                <a:close/>
                <a:moveTo>
                  <a:pt x="974" y="46"/>
                </a:moveTo>
                <a:cubicBezTo>
                  <a:pt x="959" y="41"/>
                  <a:pt x="944" y="36"/>
                  <a:pt x="928" y="32"/>
                </a:cubicBezTo>
                <a:cubicBezTo>
                  <a:pt x="930" y="25"/>
                  <a:pt x="930" y="25"/>
                  <a:pt x="930" y="25"/>
                </a:cubicBezTo>
                <a:cubicBezTo>
                  <a:pt x="946" y="29"/>
                  <a:pt x="962" y="33"/>
                  <a:pt x="977" y="39"/>
                </a:cubicBezTo>
                <a:lnTo>
                  <a:pt x="974" y="46"/>
                </a:lnTo>
                <a:close/>
                <a:moveTo>
                  <a:pt x="550" y="33"/>
                </a:moveTo>
                <a:cubicBezTo>
                  <a:pt x="548" y="25"/>
                  <a:pt x="548" y="25"/>
                  <a:pt x="548" y="25"/>
                </a:cubicBezTo>
                <a:cubicBezTo>
                  <a:pt x="563" y="21"/>
                  <a:pt x="579" y="17"/>
                  <a:pt x="595" y="14"/>
                </a:cubicBezTo>
                <a:cubicBezTo>
                  <a:pt x="596" y="22"/>
                  <a:pt x="596" y="22"/>
                  <a:pt x="596" y="22"/>
                </a:cubicBezTo>
                <a:cubicBezTo>
                  <a:pt x="581" y="25"/>
                  <a:pt x="565" y="29"/>
                  <a:pt x="550" y="33"/>
                </a:cubicBezTo>
                <a:close/>
                <a:moveTo>
                  <a:pt x="882" y="22"/>
                </a:moveTo>
                <a:cubicBezTo>
                  <a:pt x="866" y="19"/>
                  <a:pt x="850" y="16"/>
                  <a:pt x="835" y="14"/>
                </a:cubicBezTo>
                <a:cubicBezTo>
                  <a:pt x="836" y="6"/>
                  <a:pt x="836" y="6"/>
                  <a:pt x="836" y="6"/>
                </a:cubicBezTo>
                <a:cubicBezTo>
                  <a:pt x="851" y="8"/>
                  <a:pt x="868" y="11"/>
                  <a:pt x="883" y="14"/>
                </a:cubicBezTo>
                <a:lnTo>
                  <a:pt x="882" y="22"/>
                </a:lnTo>
                <a:close/>
                <a:moveTo>
                  <a:pt x="643" y="14"/>
                </a:moveTo>
                <a:cubicBezTo>
                  <a:pt x="642" y="6"/>
                  <a:pt x="642" y="6"/>
                  <a:pt x="642" y="6"/>
                </a:cubicBezTo>
                <a:cubicBezTo>
                  <a:pt x="658" y="4"/>
                  <a:pt x="674" y="3"/>
                  <a:pt x="691" y="2"/>
                </a:cubicBezTo>
                <a:cubicBezTo>
                  <a:pt x="691" y="10"/>
                  <a:pt x="691" y="10"/>
                  <a:pt x="691" y="10"/>
                </a:cubicBezTo>
                <a:cubicBezTo>
                  <a:pt x="675" y="11"/>
                  <a:pt x="659" y="12"/>
                  <a:pt x="643" y="14"/>
                </a:cubicBezTo>
                <a:close/>
                <a:moveTo>
                  <a:pt x="787" y="9"/>
                </a:moveTo>
                <a:cubicBezTo>
                  <a:pt x="771" y="8"/>
                  <a:pt x="756" y="8"/>
                  <a:pt x="740" y="8"/>
                </a:cubicBezTo>
                <a:cubicBezTo>
                  <a:pt x="739" y="8"/>
                  <a:pt x="739" y="8"/>
                  <a:pt x="739" y="8"/>
                </a:cubicBezTo>
                <a:cubicBezTo>
                  <a:pt x="739" y="0"/>
                  <a:pt x="739" y="0"/>
                  <a:pt x="739" y="0"/>
                </a:cubicBezTo>
                <a:cubicBezTo>
                  <a:pt x="740" y="0"/>
                  <a:pt x="740" y="0"/>
                  <a:pt x="740" y="0"/>
                </a:cubicBezTo>
                <a:cubicBezTo>
                  <a:pt x="756" y="0"/>
                  <a:pt x="772" y="0"/>
                  <a:pt x="787" y="1"/>
                </a:cubicBezTo>
                <a:lnTo>
                  <a:pt x="787" y="9"/>
                </a:lnTo>
                <a:close/>
              </a:path>
            </a:pathLst>
          </a:custGeom>
          <a:solidFill>
            <a:srgbClr val="E6E6E6"/>
          </a:solidFill>
          <a:ln>
            <a:noFill/>
          </a:ln>
          <a:extLst>
            <a:ext uri="{91240B29-F687-4F45-9708-019B960494DF}">
              <a14:hiddenLine w="9525">
                <a:solidFill>
                  <a:srgbClr val="000000"/>
                </a:solidFill>
                <a:round/>
                <a:headEnd/>
                <a:tailEnd/>
              </a14:hiddenLine>
            </a:ext>
          </a:extLst>
        </p:spPr>
        <p:txBody>
          <a:bodyPr anchor="ctr"/>
          <a:lstStyle/>
          <a:p>
            <a:pPr algn="ctr"/>
            <a:endParaRPr/>
          </a:p>
        </p:txBody>
      </p:sp>
      <p:grpSp>
        <p:nvGrpSpPr>
          <p:cNvPr id="95" name="Group 15">
            <a:extLst>
              <a:ext uri="{FF2B5EF4-FFF2-40B4-BE49-F238E27FC236}">
                <a16:creationId xmlns:a16="http://schemas.microsoft.com/office/drawing/2014/main" id="{6162A4AF-6767-4E84-AD06-711BCC7B9EFA}"/>
              </a:ext>
            </a:extLst>
          </p:cNvPr>
          <p:cNvGrpSpPr/>
          <p:nvPr/>
        </p:nvGrpSpPr>
        <p:grpSpPr>
          <a:xfrm>
            <a:off x="1639583" y="4134192"/>
            <a:ext cx="3380364" cy="2723808"/>
            <a:chOff x="2598058" y="1838449"/>
            <a:chExt cx="3947886" cy="3181104"/>
          </a:xfrm>
        </p:grpSpPr>
        <p:sp>
          <p:nvSpPr>
            <p:cNvPr id="96" name="Freeform 6">
              <a:extLst>
                <a:ext uri="{FF2B5EF4-FFF2-40B4-BE49-F238E27FC236}">
                  <a16:creationId xmlns:a16="http://schemas.microsoft.com/office/drawing/2014/main" id="{0FF1DCF1-7410-484C-B087-5BE1D84CC281}"/>
                </a:ext>
              </a:extLst>
            </p:cNvPr>
            <p:cNvSpPr/>
            <p:nvPr/>
          </p:nvSpPr>
          <p:spPr bwMode="auto">
            <a:xfrm>
              <a:off x="3905139" y="4559188"/>
              <a:ext cx="1341126" cy="424838"/>
            </a:xfrm>
            <a:custGeom>
              <a:gdLst>
                <a:gd fmla="*/ 3037 w 3628" name="T0"/>
                <a:gd fmla="*/ 0 h 1149" name="T1"/>
                <a:gd fmla="*/ 1837 w 3628" name="T2"/>
                <a:gd fmla="*/ 0 h 1149" name="T3"/>
                <a:gd fmla="*/ 1792 w 3628" name="T4"/>
                <a:gd fmla="*/ 0 h 1149" name="T5"/>
                <a:gd fmla="*/ 591 w 3628" name="T6"/>
                <a:gd fmla="*/ 0 h 1149" name="T7"/>
                <a:gd fmla="*/ 592 w 3628" name="T8"/>
                <a:gd fmla="*/ 108 h 1149" name="T9"/>
                <a:gd fmla="*/ 594 w 3628" name="T10"/>
                <a:gd fmla="*/ 214 h 1149" name="T11"/>
                <a:gd fmla="*/ 598 w 3628" name="T12"/>
                <a:gd fmla="*/ 317 h 1149" name="T13"/>
                <a:gd fmla="*/ 600 w 3628" name="T14"/>
                <a:gd fmla="*/ 419 h 1149" name="T15"/>
                <a:gd fmla="*/ 600 w 3628" name="T16"/>
                <a:gd fmla="*/ 468 h 1149" name="T17"/>
                <a:gd fmla="*/ 599 w 3628" name="T18"/>
                <a:gd fmla="*/ 516 h 1149" name="T19"/>
                <a:gd fmla="*/ 597 w 3628" name="T20"/>
                <a:gd fmla="*/ 564 h 1149" name="T21"/>
                <a:gd fmla="*/ 594 w 3628" name="T22"/>
                <a:gd fmla="*/ 610 h 1149" name="T23"/>
                <a:gd fmla="*/ 590 w 3628" name="T24"/>
                <a:gd fmla="*/ 654 h 1149" name="T25"/>
                <a:gd fmla="*/ 584 w 3628" name="T26"/>
                <a:gd fmla="*/ 698 h 1149" name="T27"/>
                <a:gd fmla="*/ 576 w 3628" name="T28"/>
                <a:gd fmla="*/ 740 h 1149" name="T29"/>
                <a:gd fmla="*/ 567 w 3628" name="T30"/>
                <a:gd fmla="*/ 780 h 1149" name="T31"/>
                <a:gd fmla="*/ 554 w 3628" name="T32"/>
                <a:gd fmla="*/ 820 h 1149" name="T33"/>
                <a:gd fmla="*/ 540 w 3628" name="T34"/>
                <a:gd fmla="*/ 857 h 1149" name="T35"/>
                <a:gd fmla="*/ 524 w 3628" name="T36"/>
                <a:gd fmla="*/ 892 h 1149" name="T37"/>
                <a:gd fmla="*/ 504 w 3628" name="T38"/>
                <a:gd fmla="*/ 925 h 1149" name="T39"/>
                <a:gd fmla="*/ 482 w 3628" name="T40"/>
                <a:gd fmla="*/ 958 h 1149" name="T41"/>
                <a:gd fmla="*/ 458 w 3628" name="T42"/>
                <a:gd fmla="*/ 986 h 1149" name="T43"/>
                <a:gd fmla="*/ 429 w 3628" name="T44"/>
                <a:gd fmla="*/ 1014 h 1149" name="T45"/>
                <a:gd fmla="*/ 398 w 3628" name="T46"/>
                <a:gd fmla="*/ 1039 h 1149" name="T47"/>
                <a:gd fmla="*/ 363 w 3628" name="T48"/>
                <a:gd fmla="*/ 1062 h 1149" name="T49"/>
                <a:gd fmla="*/ 323 w 3628" name="T50"/>
                <a:gd fmla="*/ 1081 h 1149" name="T51"/>
                <a:gd fmla="*/ 281 w 3628" name="T52"/>
                <a:gd fmla="*/ 1100 h 1149" name="T53"/>
                <a:gd fmla="*/ 233 w 3628" name="T54"/>
                <a:gd fmla="*/ 1115 h 1149" name="T55"/>
                <a:gd fmla="*/ 182 w 3628" name="T56"/>
                <a:gd fmla="*/ 1128 h 1149" name="T57"/>
                <a:gd fmla="*/ 127 w 3628" name="T58"/>
                <a:gd fmla="*/ 1137 h 1149" name="T59"/>
                <a:gd fmla="*/ 66 w 3628" name="T60"/>
                <a:gd fmla="*/ 1144 h 1149" name="T61"/>
                <a:gd fmla="*/ 0 w 3628" name="T62"/>
                <a:gd fmla="*/ 1149 h 1149" name="T63"/>
                <a:gd fmla="*/ 1792 w 3628" name="T64"/>
                <a:gd fmla="*/ 1149 h 1149" name="T65"/>
                <a:gd fmla="*/ 1837 w 3628" name="T66"/>
                <a:gd fmla="*/ 1149 h 1149" name="T67"/>
                <a:gd fmla="*/ 3628 w 3628" name="T68"/>
                <a:gd fmla="*/ 1149 h 1149" name="T69"/>
                <a:gd fmla="*/ 3563 w 3628" name="T70"/>
                <a:gd fmla="*/ 1144 h 1149" name="T71"/>
                <a:gd fmla="*/ 3503 w 3628" name="T72"/>
                <a:gd fmla="*/ 1137 h 1149" name="T73"/>
                <a:gd fmla="*/ 3446 w 3628" name="T74"/>
                <a:gd fmla="*/ 1128 h 1149" name="T75"/>
                <a:gd fmla="*/ 3395 w 3628" name="T76"/>
                <a:gd fmla="*/ 1115 h 1149" name="T77"/>
                <a:gd fmla="*/ 3349 w 3628" name="T78"/>
                <a:gd fmla="*/ 1100 h 1149" name="T79"/>
                <a:gd fmla="*/ 3306 w 3628" name="T80"/>
                <a:gd fmla="*/ 1081 h 1149" name="T81"/>
                <a:gd fmla="*/ 3266 w 3628" name="T82"/>
                <a:gd fmla="*/ 1062 h 1149" name="T83"/>
                <a:gd fmla="*/ 3231 w 3628" name="T84"/>
                <a:gd fmla="*/ 1039 h 1149" name="T85"/>
                <a:gd fmla="*/ 3199 w 3628" name="T86"/>
                <a:gd fmla="*/ 1014 h 1149" name="T87"/>
                <a:gd fmla="*/ 3172 w 3628" name="T88"/>
                <a:gd fmla="*/ 986 h 1149" name="T89"/>
                <a:gd fmla="*/ 3146 w 3628" name="T90"/>
                <a:gd fmla="*/ 958 h 1149" name="T91"/>
                <a:gd fmla="*/ 3124 w 3628" name="T92"/>
                <a:gd fmla="*/ 925 h 1149" name="T93"/>
                <a:gd fmla="*/ 3104 w 3628" name="T94"/>
                <a:gd fmla="*/ 892 h 1149" name="T95"/>
                <a:gd fmla="*/ 3088 w 3628" name="T96"/>
                <a:gd fmla="*/ 857 h 1149" name="T97"/>
                <a:gd fmla="*/ 3074 w 3628" name="T98"/>
                <a:gd fmla="*/ 820 h 1149" name="T99"/>
                <a:gd fmla="*/ 3063 w 3628" name="T100"/>
                <a:gd fmla="*/ 780 h 1149" name="T101"/>
                <a:gd fmla="*/ 3053 w 3628" name="T102"/>
                <a:gd fmla="*/ 740 h 1149" name="T103"/>
                <a:gd fmla="*/ 3045 w 3628" name="T104"/>
                <a:gd fmla="*/ 698 h 1149" name="T105"/>
                <a:gd fmla="*/ 3040 w 3628" name="T106"/>
                <a:gd fmla="*/ 654 h 1149" name="T107"/>
                <a:gd fmla="*/ 3035 w 3628" name="T108"/>
                <a:gd fmla="*/ 610 h 1149" name="T109"/>
                <a:gd fmla="*/ 3031 w 3628" name="T110"/>
                <a:gd fmla="*/ 564 h 1149" name="T111"/>
                <a:gd fmla="*/ 3030 w 3628" name="T112"/>
                <a:gd fmla="*/ 516 h 1149" name="T113"/>
                <a:gd fmla="*/ 3029 w 3628" name="T114"/>
                <a:gd fmla="*/ 468 h 1149" name="T115"/>
                <a:gd fmla="*/ 3029 w 3628" name="T116"/>
                <a:gd fmla="*/ 419 h 1149" name="T117"/>
                <a:gd fmla="*/ 3030 w 3628" name="T118"/>
                <a:gd fmla="*/ 317 h 1149" name="T119"/>
                <a:gd fmla="*/ 3034 w 3628" name="T120"/>
                <a:gd fmla="*/ 214 h 1149" name="T121"/>
                <a:gd fmla="*/ 3036 w 3628" name="T122"/>
                <a:gd fmla="*/ 108 h 1149" name="T123"/>
                <a:gd fmla="*/ 3037 w 3628" name="T124"/>
                <a:gd fmla="*/ 0 h 1149" name="T12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b="b" l="0" r="r" t="0"/>
              <a:pathLst>
                <a:path h="1149" w="3627">
                  <a:moveTo>
                    <a:pt x="3037" y="0"/>
                  </a:moveTo>
                  <a:lnTo>
                    <a:pt x="1837" y="0"/>
                  </a:lnTo>
                  <a:lnTo>
                    <a:pt x="1792" y="0"/>
                  </a:lnTo>
                  <a:lnTo>
                    <a:pt x="591" y="0"/>
                  </a:lnTo>
                  <a:lnTo>
                    <a:pt x="592" y="108"/>
                  </a:lnTo>
                  <a:lnTo>
                    <a:pt x="594" y="214"/>
                  </a:lnTo>
                  <a:lnTo>
                    <a:pt x="598" y="317"/>
                  </a:lnTo>
                  <a:lnTo>
                    <a:pt x="600" y="419"/>
                  </a:lnTo>
                  <a:lnTo>
                    <a:pt x="600" y="468"/>
                  </a:lnTo>
                  <a:lnTo>
                    <a:pt x="599" y="516"/>
                  </a:lnTo>
                  <a:lnTo>
                    <a:pt x="597" y="564"/>
                  </a:lnTo>
                  <a:lnTo>
                    <a:pt x="594" y="610"/>
                  </a:lnTo>
                  <a:lnTo>
                    <a:pt x="590" y="654"/>
                  </a:lnTo>
                  <a:lnTo>
                    <a:pt x="584" y="698"/>
                  </a:lnTo>
                  <a:lnTo>
                    <a:pt x="576" y="740"/>
                  </a:lnTo>
                  <a:lnTo>
                    <a:pt x="567" y="780"/>
                  </a:lnTo>
                  <a:lnTo>
                    <a:pt x="554" y="820"/>
                  </a:lnTo>
                  <a:lnTo>
                    <a:pt x="540" y="857"/>
                  </a:lnTo>
                  <a:lnTo>
                    <a:pt x="524" y="892"/>
                  </a:lnTo>
                  <a:lnTo>
                    <a:pt x="504" y="925"/>
                  </a:lnTo>
                  <a:lnTo>
                    <a:pt x="482" y="958"/>
                  </a:lnTo>
                  <a:lnTo>
                    <a:pt x="458" y="986"/>
                  </a:lnTo>
                  <a:lnTo>
                    <a:pt x="429" y="1014"/>
                  </a:lnTo>
                  <a:lnTo>
                    <a:pt x="398" y="1039"/>
                  </a:lnTo>
                  <a:lnTo>
                    <a:pt x="363" y="1062"/>
                  </a:lnTo>
                  <a:lnTo>
                    <a:pt x="323" y="1081"/>
                  </a:lnTo>
                  <a:lnTo>
                    <a:pt x="281" y="1100"/>
                  </a:lnTo>
                  <a:lnTo>
                    <a:pt x="233" y="1115"/>
                  </a:lnTo>
                  <a:lnTo>
                    <a:pt x="182" y="1128"/>
                  </a:lnTo>
                  <a:lnTo>
                    <a:pt x="127" y="1137"/>
                  </a:lnTo>
                  <a:lnTo>
                    <a:pt x="66" y="1144"/>
                  </a:lnTo>
                  <a:lnTo>
                    <a:pt x="0" y="1149"/>
                  </a:lnTo>
                  <a:lnTo>
                    <a:pt x="1792" y="1149"/>
                  </a:lnTo>
                  <a:lnTo>
                    <a:pt x="1837" y="1149"/>
                  </a:lnTo>
                  <a:lnTo>
                    <a:pt x="3628" y="1149"/>
                  </a:lnTo>
                  <a:lnTo>
                    <a:pt x="3563" y="1144"/>
                  </a:lnTo>
                  <a:lnTo>
                    <a:pt x="3503" y="1137"/>
                  </a:lnTo>
                  <a:lnTo>
                    <a:pt x="3446" y="1128"/>
                  </a:lnTo>
                  <a:lnTo>
                    <a:pt x="3395" y="1115"/>
                  </a:lnTo>
                  <a:lnTo>
                    <a:pt x="3349" y="1100"/>
                  </a:lnTo>
                  <a:lnTo>
                    <a:pt x="3306" y="1081"/>
                  </a:lnTo>
                  <a:lnTo>
                    <a:pt x="3266" y="1062"/>
                  </a:lnTo>
                  <a:lnTo>
                    <a:pt x="3231" y="1039"/>
                  </a:lnTo>
                  <a:lnTo>
                    <a:pt x="3199" y="1014"/>
                  </a:lnTo>
                  <a:lnTo>
                    <a:pt x="3172" y="986"/>
                  </a:lnTo>
                  <a:lnTo>
                    <a:pt x="3146" y="958"/>
                  </a:lnTo>
                  <a:lnTo>
                    <a:pt x="3124" y="925"/>
                  </a:lnTo>
                  <a:lnTo>
                    <a:pt x="3104" y="892"/>
                  </a:lnTo>
                  <a:lnTo>
                    <a:pt x="3088" y="857"/>
                  </a:lnTo>
                  <a:lnTo>
                    <a:pt x="3074" y="820"/>
                  </a:lnTo>
                  <a:lnTo>
                    <a:pt x="3063" y="780"/>
                  </a:lnTo>
                  <a:lnTo>
                    <a:pt x="3053" y="740"/>
                  </a:lnTo>
                  <a:lnTo>
                    <a:pt x="3045" y="698"/>
                  </a:lnTo>
                  <a:lnTo>
                    <a:pt x="3040" y="654"/>
                  </a:lnTo>
                  <a:lnTo>
                    <a:pt x="3035" y="610"/>
                  </a:lnTo>
                  <a:lnTo>
                    <a:pt x="3031" y="564"/>
                  </a:lnTo>
                  <a:lnTo>
                    <a:pt x="3030" y="516"/>
                  </a:lnTo>
                  <a:lnTo>
                    <a:pt x="3029" y="468"/>
                  </a:lnTo>
                  <a:lnTo>
                    <a:pt x="3029" y="419"/>
                  </a:lnTo>
                  <a:lnTo>
                    <a:pt x="3030" y="317"/>
                  </a:lnTo>
                  <a:lnTo>
                    <a:pt x="3034" y="214"/>
                  </a:lnTo>
                  <a:lnTo>
                    <a:pt x="3036" y="108"/>
                  </a:lnTo>
                  <a:lnTo>
                    <a:pt x="3037" y="0"/>
                  </a:lnTo>
                  <a:close/>
                </a:path>
              </a:pathLst>
            </a:custGeom>
            <a:gradFill flip="none" rotWithShape="1">
              <a:gsLst>
                <a:gs pos="0">
                  <a:schemeClr val="bg1">
                    <a:lumMod val="75000"/>
                  </a:schemeClr>
                </a:gs>
                <a:gs pos="77000">
                  <a:schemeClr val="bg1">
                    <a:lumMod val="85000"/>
                  </a:schemeClr>
                </a:gs>
                <a:gs pos="37000">
                  <a:schemeClr val="bg1">
                    <a:lumMod val="85000"/>
                  </a:schemeClr>
                </a:gs>
                <a:gs pos="100000">
                  <a:schemeClr val="bg1">
                    <a:lumMod val="75000"/>
                  </a:schemeClr>
                </a:gs>
              </a:gsLst>
              <a:lin ang="5400000" scaled="1"/>
            </a:gradFill>
            <a:ln>
              <a:noFill/>
            </a:ln>
          </p:spPr>
          <p:txBody>
            <a:bodyPr anchor="t" anchorCtr="0" bIns="45720" compatLnSpc="1" lIns="91440" numCol="1" rIns="91440" tIns="45720" vert="horz" wrap="square">
              <a:prstTxWarp prst="textNoShape">
                <a:avLst/>
              </a:prstTxWarp>
            </a:bodyPr>
            <a:lstStyle/>
            <a:p>
              <a:endParaRPr lang="en-US" sz="1351"/>
            </a:p>
          </p:txBody>
        </p:sp>
        <p:sp>
          <p:nvSpPr>
            <p:cNvPr id="97" name="Freeform 7">
              <a:extLst>
                <a:ext uri="{FF2B5EF4-FFF2-40B4-BE49-F238E27FC236}">
                  <a16:creationId xmlns:a16="http://schemas.microsoft.com/office/drawing/2014/main" id="{73834C51-42A9-424F-B14E-FA18B96D3406}"/>
                </a:ext>
              </a:extLst>
            </p:cNvPr>
            <p:cNvSpPr/>
            <p:nvPr/>
          </p:nvSpPr>
          <p:spPr bwMode="auto">
            <a:xfrm>
              <a:off x="3896257" y="4981066"/>
              <a:ext cx="1358890" cy="38487"/>
            </a:xfrm>
            <a:custGeom>
              <a:gdLst>
                <a:gd fmla="*/ 53 w 3673" name="T0"/>
                <a:gd fmla="*/ 0 h 105" name="T1"/>
                <a:gd fmla="*/ 3621 w 3673" name="T2"/>
                <a:gd fmla="*/ 0 h 105" name="T3"/>
                <a:gd fmla="*/ 3631 w 3673" name="T4"/>
                <a:gd fmla="*/ 2 h 105" name="T5"/>
                <a:gd fmla="*/ 3640 w 3673" name="T6"/>
                <a:gd fmla="*/ 5 h 105" name="T7"/>
                <a:gd fmla="*/ 3650 w 3673" name="T8"/>
                <a:gd fmla="*/ 10 h 105" name="T9"/>
                <a:gd fmla="*/ 3658 w 3673" name="T10"/>
                <a:gd fmla="*/ 15 h 105" name="T11"/>
                <a:gd fmla="*/ 3664 w 3673" name="T12"/>
                <a:gd fmla="*/ 24 h 105" name="T13"/>
                <a:gd fmla="*/ 3668 w 3673" name="T14"/>
                <a:gd fmla="*/ 33 h 105" name="T15"/>
                <a:gd fmla="*/ 3672 w 3673" name="T16"/>
                <a:gd fmla="*/ 42 h 105" name="T17"/>
                <a:gd fmla="*/ 3673 w 3673" name="T18"/>
                <a:gd fmla="*/ 53 h 105" name="T19"/>
                <a:gd fmla="*/ 3673 w 3673" name="T20"/>
                <a:gd fmla="*/ 53 h 105" name="T21"/>
                <a:gd fmla="*/ 3672 w 3673" name="T22"/>
                <a:gd fmla="*/ 63 h 105" name="T23"/>
                <a:gd fmla="*/ 3668 w 3673" name="T24"/>
                <a:gd fmla="*/ 73 h 105" name="T25"/>
                <a:gd fmla="*/ 3664 w 3673" name="T26"/>
                <a:gd fmla="*/ 81 h 105" name="T27"/>
                <a:gd fmla="*/ 3658 w 3673" name="T28"/>
                <a:gd fmla="*/ 90 h 105" name="T29"/>
                <a:gd fmla="*/ 3650 w 3673" name="T30"/>
                <a:gd fmla="*/ 95 h 105" name="T31"/>
                <a:gd fmla="*/ 3640 w 3673" name="T32"/>
                <a:gd fmla="*/ 100 h 105" name="T33"/>
                <a:gd fmla="*/ 3631 w 3673" name="T34"/>
                <a:gd fmla="*/ 103 h 105" name="T35"/>
                <a:gd fmla="*/ 3621 w 3673" name="T36"/>
                <a:gd fmla="*/ 105 h 105" name="T37"/>
                <a:gd fmla="*/ 53 w 3673" name="T38"/>
                <a:gd fmla="*/ 105 h 105" name="T39"/>
                <a:gd fmla="*/ 42 w 3673" name="T40"/>
                <a:gd fmla="*/ 103 h 105" name="T41"/>
                <a:gd fmla="*/ 32 w 3673" name="T42"/>
                <a:gd fmla="*/ 100 h 105" name="T43"/>
                <a:gd fmla="*/ 24 w 3673" name="T44"/>
                <a:gd fmla="*/ 95 h 105" name="T45"/>
                <a:gd fmla="*/ 16 w 3673" name="T46"/>
                <a:gd fmla="*/ 90 h 105" name="T47"/>
                <a:gd fmla="*/ 9 w 3673" name="T48"/>
                <a:gd fmla="*/ 81 h 105" name="T49"/>
                <a:gd fmla="*/ 4 w 3673" name="T50"/>
                <a:gd fmla="*/ 73 h 105" name="T51"/>
                <a:gd fmla="*/ 2 w 3673" name="T52"/>
                <a:gd fmla="*/ 63 h 105" name="T53"/>
                <a:gd fmla="*/ 0 w 3673" name="T54"/>
                <a:gd fmla="*/ 53 h 105" name="T55"/>
                <a:gd fmla="*/ 0 w 3673" name="T56"/>
                <a:gd fmla="*/ 53 h 105" name="T57"/>
                <a:gd fmla="*/ 2 w 3673" name="T58"/>
                <a:gd fmla="*/ 42 h 105" name="T59"/>
                <a:gd fmla="*/ 4 w 3673" name="T60"/>
                <a:gd fmla="*/ 33 h 105" name="T61"/>
                <a:gd fmla="*/ 9 w 3673" name="T62"/>
                <a:gd fmla="*/ 24 h 105" name="T63"/>
                <a:gd fmla="*/ 16 w 3673" name="T64"/>
                <a:gd fmla="*/ 15 h 105" name="T65"/>
                <a:gd fmla="*/ 24 w 3673" name="T66"/>
                <a:gd fmla="*/ 10 h 105" name="T67"/>
                <a:gd fmla="*/ 32 w 3673" name="T68"/>
                <a:gd fmla="*/ 5 h 105" name="T69"/>
                <a:gd fmla="*/ 42 w 3673" name="T70"/>
                <a:gd fmla="*/ 2 h 105" name="T71"/>
                <a:gd fmla="*/ 53 w 3673" name="T72"/>
                <a:gd fmla="*/ 0 h 105" name="T7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b="b" l="0" r="r" t="0"/>
              <a:pathLst>
                <a:path h="105" w="3673">
                  <a:moveTo>
                    <a:pt x="53" y="0"/>
                  </a:moveTo>
                  <a:lnTo>
                    <a:pt x="3621" y="0"/>
                  </a:lnTo>
                  <a:lnTo>
                    <a:pt x="3631" y="2"/>
                  </a:lnTo>
                  <a:lnTo>
                    <a:pt x="3640" y="5"/>
                  </a:lnTo>
                  <a:lnTo>
                    <a:pt x="3650" y="10"/>
                  </a:lnTo>
                  <a:lnTo>
                    <a:pt x="3658" y="15"/>
                  </a:lnTo>
                  <a:lnTo>
                    <a:pt x="3664" y="24"/>
                  </a:lnTo>
                  <a:lnTo>
                    <a:pt x="3668" y="33"/>
                  </a:lnTo>
                  <a:lnTo>
                    <a:pt x="3672" y="42"/>
                  </a:lnTo>
                  <a:lnTo>
                    <a:pt x="3673" y="53"/>
                  </a:lnTo>
                  <a:lnTo>
                    <a:pt x="3673" y="53"/>
                  </a:lnTo>
                  <a:lnTo>
                    <a:pt x="3672" y="63"/>
                  </a:lnTo>
                  <a:lnTo>
                    <a:pt x="3668" y="73"/>
                  </a:lnTo>
                  <a:lnTo>
                    <a:pt x="3664" y="81"/>
                  </a:lnTo>
                  <a:lnTo>
                    <a:pt x="3658" y="90"/>
                  </a:lnTo>
                  <a:lnTo>
                    <a:pt x="3650" y="95"/>
                  </a:lnTo>
                  <a:lnTo>
                    <a:pt x="3640" y="100"/>
                  </a:lnTo>
                  <a:lnTo>
                    <a:pt x="3631" y="103"/>
                  </a:lnTo>
                  <a:lnTo>
                    <a:pt x="3621" y="105"/>
                  </a:lnTo>
                  <a:lnTo>
                    <a:pt x="53" y="105"/>
                  </a:lnTo>
                  <a:lnTo>
                    <a:pt x="42" y="103"/>
                  </a:lnTo>
                  <a:lnTo>
                    <a:pt x="32" y="100"/>
                  </a:lnTo>
                  <a:lnTo>
                    <a:pt x="24" y="95"/>
                  </a:lnTo>
                  <a:lnTo>
                    <a:pt x="16" y="90"/>
                  </a:lnTo>
                  <a:lnTo>
                    <a:pt x="9" y="81"/>
                  </a:lnTo>
                  <a:lnTo>
                    <a:pt x="4" y="73"/>
                  </a:lnTo>
                  <a:lnTo>
                    <a:pt x="2" y="63"/>
                  </a:lnTo>
                  <a:lnTo>
                    <a:pt x="0" y="53"/>
                  </a:lnTo>
                  <a:lnTo>
                    <a:pt x="0" y="53"/>
                  </a:lnTo>
                  <a:lnTo>
                    <a:pt x="2" y="42"/>
                  </a:lnTo>
                  <a:lnTo>
                    <a:pt x="4" y="33"/>
                  </a:lnTo>
                  <a:lnTo>
                    <a:pt x="9" y="24"/>
                  </a:lnTo>
                  <a:lnTo>
                    <a:pt x="16" y="15"/>
                  </a:lnTo>
                  <a:lnTo>
                    <a:pt x="24" y="10"/>
                  </a:lnTo>
                  <a:lnTo>
                    <a:pt x="32" y="5"/>
                  </a:lnTo>
                  <a:lnTo>
                    <a:pt x="42" y="2"/>
                  </a:lnTo>
                  <a:lnTo>
                    <a:pt x="53" y="0"/>
                  </a:lnTo>
                  <a:close/>
                </a:path>
              </a:pathLst>
            </a:custGeom>
            <a:gradFill>
              <a:gsLst>
                <a:gs pos="0">
                  <a:schemeClr val="bg1">
                    <a:lumMod val="65000"/>
                  </a:schemeClr>
                </a:gs>
                <a:gs pos="44000">
                  <a:schemeClr val="bg1">
                    <a:lumMod val="85000"/>
                  </a:schemeClr>
                </a:gs>
                <a:gs pos="100000">
                  <a:schemeClr val="bg1">
                    <a:lumMod val="65000"/>
                  </a:schemeClr>
                </a:gs>
              </a:gsLst>
              <a:lin ang="5400000" scaled="1"/>
            </a:gradFill>
            <a:ln>
              <a:noFill/>
            </a:ln>
          </p:spPr>
          <p:txBody>
            <a:bodyPr anchor="t" anchorCtr="0" bIns="45720" compatLnSpc="1" lIns="91440" numCol="1" rIns="91440" tIns="45720" vert="horz" wrap="square">
              <a:prstTxWarp prst="textNoShape">
                <a:avLst/>
              </a:prstTxWarp>
            </a:bodyPr>
            <a:lstStyle/>
            <a:p>
              <a:endParaRPr lang="en-US" sz="1351"/>
            </a:p>
          </p:txBody>
        </p:sp>
        <p:sp>
          <p:nvSpPr>
            <p:cNvPr id="98" name="Freeform 8">
              <a:extLst>
                <a:ext uri="{FF2B5EF4-FFF2-40B4-BE49-F238E27FC236}">
                  <a16:creationId xmlns:a16="http://schemas.microsoft.com/office/drawing/2014/main" id="{D440D276-25B5-489F-8E5E-303C8DC6CC3D}"/>
                </a:ext>
              </a:extLst>
            </p:cNvPr>
            <p:cNvSpPr/>
            <p:nvPr/>
          </p:nvSpPr>
          <p:spPr bwMode="auto">
            <a:xfrm>
              <a:off x="2598058" y="1838449"/>
              <a:ext cx="3947886" cy="2737023"/>
            </a:xfrm>
            <a:custGeom>
              <a:gdLst>
                <a:gd fmla="*/ 10459 w 10666" name="T0"/>
                <a:gd fmla="*/ 0 h 7397" name="T1"/>
                <a:gd fmla="*/ 10500 w 10666" name="T2"/>
                <a:gd fmla="*/ 5 h 7397" name="T3"/>
                <a:gd fmla="*/ 10539 w 10666" name="T4"/>
                <a:gd fmla="*/ 16 h 7397" name="T5"/>
                <a:gd fmla="*/ 10575 w 10666" name="T6"/>
                <a:gd fmla="*/ 36 h 7397" name="T7"/>
                <a:gd fmla="*/ 10605 w 10666" name="T8"/>
                <a:gd fmla="*/ 61 h 7397" name="T9"/>
                <a:gd fmla="*/ 10630 w 10666" name="T10"/>
                <a:gd fmla="*/ 91 h 7397" name="T11"/>
                <a:gd fmla="*/ 10650 w 10666" name="T12"/>
                <a:gd fmla="*/ 127 h 7397" name="T13"/>
                <a:gd fmla="*/ 10661 w 10666" name="T14"/>
                <a:gd fmla="*/ 166 h 7397" name="T15"/>
                <a:gd fmla="*/ 10666 w 10666" name="T16"/>
                <a:gd fmla="*/ 207 h 7397" name="T17"/>
                <a:gd fmla="*/ 10665 w 10666" name="T18"/>
                <a:gd fmla="*/ 7211 h 7397" name="T19"/>
                <a:gd fmla="*/ 10657 w 10666" name="T20"/>
                <a:gd fmla="*/ 7251 h 7397" name="T21"/>
                <a:gd fmla="*/ 10641 w 10666" name="T22"/>
                <a:gd fmla="*/ 7288 h 7397" name="T23"/>
                <a:gd fmla="*/ 10619 w 10666" name="T24"/>
                <a:gd fmla="*/ 7321 h 7397" name="T25"/>
                <a:gd fmla="*/ 10591 w 10666" name="T26"/>
                <a:gd fmla="*/ 7350 h 7397" name="T27"/>
                <a:gd fmla="*/ 10557 w 10666" name="T28"/>
                <a:gd fmla="*/ 7372 h 7397" name="T29"/>
                <a:gd fmla="*/ 10520 w 10666" name="T30"/>
                <a:gd fmla="*/ 7388 h 7397" name="T31"/>
                <a:gd fmla="*/ 10480 w 10666" name="T32"/>
                <a:gd fmla="*/ 7396 h 7397" name="T33"/>
                <a:gd fmla="*/ 207 w 10666" name="T34"/>
                <a:gd fmla="*/ 7397 h 7397" name="T35"/>
                <a:gd fmla="*/ 165 w 10666" name="T36"/>
                <a:gd fmla="*/ 7393 h 7397" name="T37"/>
                <a:gd fmla="*/ 126 w 10666" name="T38"/>
                <a:gd fmla="*/ 7381 h 7397" name="T39"/>
                <a:gd fmla="*/ 91 w 10666" name="T40"/>
                <a:gd fmla="*/ 7361 h 7397" name="T41"/>
                <a:gd fmla="*/ 60 w 10666" name="T42"/>
                <a:gd fmla="*/ 7336 h 7397" name="T43"/>
                <a:gd fmla="*/ 34 w 10666" name="T44"/>
                <a:gd fmla="*/ 7306 h 7397" name="T45"/>
                <a:gd fmla="*/ 16 w 10666" name="T46"/>
                <a:gd fmla="*/ 7270 h 7397" name="T47"/>
                <a:gd fmla="*/ 3 w 10666" name="T48"/>
                <a:gd fmla="*/ 7232 h 7397" name="T49"/>
                <a:gd fmla="*/ 0 w 10666" name="T50"/>
                <a:gd fmla="*/ 7190 h 7397" name="T51"/>
                <a:gd fmla="*/ 1 w 10666" name="T52"/>
                <a:gd fmla="*/ 186 h 7397" name="T53"/>
                <a:gd fmla="*/ 9 w 10666" name="T54"/>
                <a:gd fmla="*/ 146 h 7397" name="T55"/>
                <a:gd fmla="*/ 24 w 10666" name="T56"/>
                <a:gd fmla="*/ 109 h 7397" name="T57"/>
                <a:gd fmla="*/ 47 w 10666" name="T58"/>
                <a:gd fmla="*/ 75 h 7397" name="T59"/>
                <a:gd fmla="*/ 75 w 10666" name="T60"/>
                <a:gd fmla="*/ 47 h 7397" name="T61"/>
                <a:gd fmla="*/ 108 w 10666" name="T62"/>
                <a:gd fmla="*/ 25 h 7397" name="T63"/>
                <a:gd fmla="*/ 146 w 10666" name="T64"/>
                <a:gd fmla="*/ 9 h 7397" name="T65"/>
                <a:gd fmla="*/ 186 w 10666" name="T66"/>
                <a:gd fmla="*/ 1 h 7397" name="T6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b="b" l="0" r="r" t="0"/>
              <a:pathLst>
                <a:path h="7397" w="10666">
                  <a:moveTo>
                    <a:pt x="207" y="0"/>
                  </a:moveTo>
                  <a:lnTo>
                    <a:pt x="10459" y="0"/>
                  </a:lnTo>
                  <a:lnTo>
                    <a:pt x="10480" y="1"/>
                  </a:lnTo>
                  <a:lnTo>
                    <a:pt x="10500" y="5"/>
                  </a:lnTo>
                  <a:lnTo>
                    <a:pt x="10520" y="9"/>
                  </a:lnTo>
                  <a:lnTo>
                    <a:pt x="10539" y="16"/>
                  </a:lnTo>
                  <a:lnTo>
                    <a:pt x="10557" y="25"/>
                  </a:lnTo>
                  <a:lnTo>
                    <a:pt x="10575" y="36"/>
                  </a:lnTo>
                  <a:lnTo>
                    <a:pt x="10591" y="47"/>
                  </a:lnTo>
                  <a:lnTo>
                    <a:pt x="10605" y="61"/>
                  </a:lnTo>
                  <a:lnTo>
                    <a:pt x="10619" y="75"/>
                  </a:lnTo>
                  <a:lnTo>
                    <a:pt x="10630" y="91"/>
                  </a:lnTo>
                  <a:lnTo>
                    <a:pt x="10641" y="109"/>
                  </a:lnTo>
                  <a:lnTo>
                    <a:pt x="10650" y="127"/>
                  </a:lnTo>
                  <a:lnTo>
                    <a:pt x="10657" y="146"/>
                  </a:lnTo>
                  <a:lnTo>
                    <a:pt x="10661" y="166"/>
                  </a:lnTo>
                  <a:lnTo>
                    <a:pt x="10665" y="186"/>
                  </a:lnTo>
                  <a:lnTo>
                    <a:pt x="10666" y="207"/>
                  </a:lnTo>
                  <a:lnTo>
                    <a:pt x="10666" y="7190"/>
                  </a:lnTo>
                  <a:lnTo>
                    <a:pt x="10665" y="7211"/>
                  </a:lnTo>
                  <a:lnTo>
                    <a:pt x="10661" y="7232"/>
                  </a:lnTo>
                  <a:lnTo>
                    <a:pt x="10657" y="7251"/>
                  </a:lnTo>
                  <a:lnTo>
                    <a:pt x="10650" y="7270"/>
                  </a:lnTo>
                  <a:lnTo>
                    <a:pt x="10641" y="7288"/>
                  </a:lnTo>
                  <a:lnTo>
                    <a:pt x="10630" y="7306"/>
                  </a:lnTo>
                  <a:lnTo>
                    <a:pt x="10619" y="7321"/>
                  </a:lnTo>
                  <a:lnTo>
                    <a:pt x="10605" y="7336"/>
                  </a:lnTo>
                  <a:lnTo>
                    <a:pt x="10591" y="7350"/>
                  </a:lnTo>
                  <a:lnTo>
                    <a:pt x="10575" y="7361"/>
                  </a:lnTo>
                  <a:lnTo>
                    <a:pt x="10557" y="7372"/>
                  </a:lnTo>
                  <a:lnTo>
                    <a:pt x="10539" y="7381"/>
                  </a:lnTo>
                  <a:lnTo>
                    <a:pt x="10520" y="7388"/>
                  </a:lnTo>
                  <a:lnTo>
                    <a:pt x="10500" y="7393"/>
                  </a:lnTo>
                  <a:lnTo>
                    <a:pt x="10480" y="7396"/>
                  </a:lnTo>
                  <a:lnTo>
                    <a:pt x="10459" y="7397"/>
                  </a:lnTo>
                  <a:lnTo>
                    <a:pt x="207" y="7397"/>
                  </a:lnTo>
                  <a:lnTo>
                    <a:pt x="186" y="7396"/>
                  </a:lnTo>
                  <a:lnTo>
                    <a:pt x="165" y="7393"/>
                  </a:lnTo>
                  <a:lnTo>
                    <a:pt x="146" y="7388"/>
                  </a:lnTo>
                  <a:lnTo>
                    <a:pt x="126" y="7381"/>
                  </a:lnTo>
                  <a:lnTo>
                    <a:pt x="108" y="7372"/>
                  </a:lnTo>
                  <a:lnTo>
                    <a:pt x="91" y="7361"/>
                  </a:lnTo>
                  <a:lnTo>
                    <a:pt x="75" y="7350"/>
                  </a:lnTo>
                  <a:lnTo>
                    <a:pt x="60" y="7336"/>
                  </a:lnTo>
                  <a:lnTo>
                    <a:pt x="47" y="7321"/>
                  </a:lnTo>
                  <a:lnTo>
                    <a:pt x="34" y="7306"/>
                  </a:lnTo>
                  <a:lnTo>
                    <a:pt x="24" y="7288"/>
                  </a:lnTo>
                  <a:lnTo>
                    <a:pt x="16" y="7270"/>
                  </a:lnTo>
                  <a:lnTo>
                    <a:pt x="9" y="7251"/>
                  </a:lnTo>
                  <a:lnTo>
                    <a:pt x="3" y="7232"/>
                  </a:lnTo>
                  <a:lnTo>
                    <a:pt x="1" y="7211"/>
                  </a:lnTo>
                  <a:lnTo>
                    <a:pt x="0" y="7190"/>
                  </a:lnTo>
                  <a:lnTo>
                    <a:pt x="0" y="207"/>
                  </a:lnTo>
                  <a:lnTo>
                    <a:pt x="1" y="186"/>
                  </a:lnTo>
                  <a:lnTo>
                    <a:pt x="3" y="166"/>
                  </a:lnTo>
                  <a:lnTo>
                    <a:pt x="9" y="146"/>
                  </a:lnTo>
                  <a:lnTo>
                    <a:pt x="16" y="127"/>
                  </a:lnTo>
                  <a:lnTo>
                    <a:pt x="24" y="109"/>
                  </a:lnTo>
                  <a:lnTo>
                    <a:pt x="34" y="91"/>
                  </a:lnTo>
                  <a:lnTo>
                    <a:pt x="47" y="75"/>
                  </a:lnTo>
                  <a:lnTo>
                    <a:pt x="60" y="61"/>
                  </a:lnTo>
                  <a:lnTo>
                    <a:pt x="75" y="47"/>
                  </a:lnTo>
                  <a:lnTo>
                    <a:pt x="91" y="36"/>
                  </a:lnTo>
                  <a:lnTo>
                    <a:pt x="108" y="25"/>
                  </a:lnTo>
                  <a:lnTo>
                    <a:pt x="126" y="16"/>
                  </a:lnTo>
                  <a:lnTo>
                    <a:pt x="146" y="9"/>
                  </a:lnTo>
                  <a:lnTo>
                    <a:pt x="165" y="5"/>
                  </a:lnTo>
                  <a:lnTo>
                    <a:pt x="186" y="1"/>
                  </a:lnTo>
                  <a:lnTo>
                    <a:pt x="207" y="0"/>
                  </a:lnTo>
                  <a:close/>
                </a:path>
              </a:pathLst>
            </a:custGeom>
            <a:gradFill flip="none" rotWithShape="1">
              <a:gsLst>
                <a:gs pos="0">
                  <a:schemeClr val="bg1">
                    <a:lumMod val="75000"/>
                    <a:tint val="66000"/>
                    <a:satMod val="160000"/>
                  </a:schemeClr>
                </a:gs>
                <a:gs pos="50000">
                  <a:schemeClr val="bg1">
                    <a:lumMod val="75000"/>
                    <a:tint val="44500"/>
                    <a:satMod val="160000"/>
                  </a:schemeClr>
                </a:gs>
                <a:gs pos="100000">
                  <a:schemeClr val="bg1">
                    <a:lumMod val="75000"/>
                    <a:tint val="23500"/>
                    <a:satMod val="160000"/>
                  </a:schemeClr>
                </a:gs>
              </a:gsLst>
              <a:lin ang="16200000" scaled="1"/>
            </a:gradFill>
            <a:ln>
              <a:noFill/>
            </a:ln>
          </p:spPr>
          <p:txBody>
            <a:bodyPr anchor="t" anchorCtr="0" bIns="45720" compatLnSpc="1" lIns="91440" numCol="1" rIns="91440" tIns="45720" vert="horz" wrap="square">
              <a:prstTxWarp prst="textNoShape">
                <a:avLst/>
              </a:prstTxWarp>
            </a:bodyPr>
            <a:lstStyle/>
            <a:p>
              <a:endParaRPr lang="en-US" sz="1351"/>
            </a:p>
          </p:txBody>
        </p:sp>
        <p:sp>
          <p:nvSpPr>
            <p:cNvPr id="99" name="Freeform 9">
              <a:extLst>
                <a:ext uri="{FF2B5EF4-FFF2-40B4-BE49-F238E27FC236}">
                  <a16:creationId xmlns:a16="http://schemas.microsoft.com/office/drawing/2014/main" id="{8BD063F3-E1C1-4D31-B23A-30FF6F82FF92}"/>
                </a:ext>
              </a:extLst>
            </p:cNvPr>
            <p:cNvSpPr/>
            <p:nvPr/>
          </p:nvSpPr>
          <p:spPr bwMode="auto">
            <a:xfrm>
              <a:off x="2598058" y="1838449"/>
              <a:ext cx="3947886" cy="2381757"/>
            </a:xfrm>
            <a:custGeom>
              <a:gdLst>
                <a:gd fmla="*/ 207 w 10666" name="T0"/>
                <a:gd fmla="*/ 0 h 6436" name="T1"/>
                <a:gd fmla="*/ 10459 w 10666" name="T2"/>
                <a:gd fmla="*/ 0 h 6436" name="T3"/>
                <a:gd fmla="*/ 10480 w 10666" name="T4"/>
                <a:gd fmla="*/ 1 h 6436" name="T5"/>
                <a:gd fmla="*/ 10500 w 10666" name="T6"/>
                <a:gd fmla="*/ 5 h 6436" name="T7"/>
                <a:gd fmla="*/ 10520 w 10666" name="T8"/>
                <a:gd fmla="*/ 9 h 6436" name="T9"/>
                <a:gd fmla="*/ 10539 w 10666" name="T10"/>
                <a:gd fmla="*/ 16 h 6436" name="T11"/>
                <a:gd fmla="*/ 10557 w 10666" name="T12"/>
                <a:gd fmla="*/ 25 h 6436" name="T13"/>
                <a:gd fmla="*/ 10575 w 10666" name="T14"/>
                <a:gd fmla="*/ 36 h 6436" name="T15"/>
                <a:gd fmla="*/ 10591 w 10666" name="T16"/>
                <a:gd fmla="*/ 47 h 6436" name="T17"/>
                <a:gd fmla="*/ 10605 w 10666" name="T18"/>
                <a:gd fmla="*/ 61 h 6436" name="T19"/>
                <a:gd fmla="*/ 10619 w 10666" name="T20"/>
                <a:gd fmla="*/ 75 h 6436" name="T21"/>
                <a:gd fmla="*/ 10630 w 10666" name="T22"/>
                <a:gd fmla="*/ 91 h 6436" name="T23"/>
                <a:gd fmla="*/ 10641 w 10666" name="T24"/>
                <a:gd fmla="*/ 109 h 6436" name="T25"/>
                <a:gd fmla="*/ 10650 w 10666" name="T26"/>
                <a:gd fmla="*/ 127 h 6436" name="T27"/>
                <a:gd fmla="*/ 10657 w 10666" name="T28"/>
                <a:gd fmla="*/ 146 h 6436" name="T29"/>
                <a:gd fmla="*/ 10661 w 10666" name="T30"/>
                <a:gd fmla="*/ 166 h 6436" name="T31"/>
                <a:gd fmla="*/ 10665 w 10666" name="T32"/>
                <a:gd fmla="*/ 186 h 6436" name="T33"/>
                <a:gd fmla="*/ 10666 w 10666" name="T34"/>
                <a:gd fmla="*/ 207 h 6436" name="T35"/>
                <a:gd fmla="*/ 10666 w 10666" name="T36"/>
                <a:gd fmla="*/ 6436 h 6436" name="T37"/>
                <a:gd fmla="*/ 0 w 10666" name="T38"/>
                <a:gd fmla="*/ 6436 h 6436" name="T39"/>
                <a:gd fmla="*/ 0 w 10666" name="T40"/>
                <a:gd fmla="*/ 207 h 6436" name="T41"/>
                <a:gd fmla="*/ 1 w 10666" name="T42"/>
                <a:gd fmla="*/ 186 h 6436" name="T43"/>
                <a:gd fmla="*/ 3 w 10666" name="T44"/>
                <a:gd fmla="*/ 166 h 6436" name="T45"/>
                <a:gd fmla="*/ 9 w 10666" name="T46"/>
                <a:gd fmla="*/ 146 h 6436" name="T47"/>
                <a:gd fmla="*/ 16 w 10666" name="T48"/>
                <a:gd fmla="*/ 127 h 6436" name="T49"/>
                <a:gd fmla="*/ 24 w 10666" name="T50"/>
                <a:gd fmla="*/ 109 h 6436" name="T51"/>
                <a:gd fmla="*/ 34 w 10666" name="T52"/>
                <a:gd fmla="*/ 91 h 6436" name="T53"/>
                <a:gd fmla="*/ 47 w 10666" name="T54"/>
                <a:gd fmla="*/ 75 h 6436" name="T55"/>
                <a:gd fmla="*/ 60 w 10666" name="T56"/>
                <a:gd fmla="*/ 61 h 6436" name="T57"/>
                <a:gd fmla="*/ 75 w 10666" name="T58"/>
                <a:gd fmla="*/ 47 h 6436" name="T59"/>
                <a:gd fmla="*/ 91 w 10666" name="T60"/>
                <a:gd fmla="*/ 36 h 6436" name="T61"/>
                <a:gd fmla="*/ 108 w 10666" name="T62"/>
                <a:gd fmla="*/ 25 h 6436" name="T63"/>
                <a:gd fmla="*/ 126 w 10666" name="T64"/>
                <a:gd fmla="*/ 16 h 6436" name="T65"/>
                <a:gd fmla="*/ 146 w 10666" name="T66"/>
                <a:gd fmla="*/ 9 h 6436" name="T67"/>
                <a:gd fmla="*/ 165 w 10666" name="T68"/>
                <a:gd fmla="*/ 5 h 6436" name="T69"/>
                <a:gd fmla="*/ 186 w 10666" name="T70"/>
                <a:gd fmla="*/ 1 h 6436" name="T71"/>
                <a:gd fmla="*/ 207 w 10666" name="T72"/>
                <a:gd fmla="*/ 0 h 6436" name="T7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b="b" l="0" r="r" t="0"/>
              <a:pathLst>
                <a:path h="6436" w="10666">
                  <a:moveTo>
                    <a:pt x="207" y="0"/>
                  </a:moveTo>
                  <a:lnTo>
                    <a:pt x="10459" y="0"/>
                  </a:lnTo>
                  <a:lnTo>
                    <a:pt x="10480" y="1"/>
                  </a:lnTo>
                  <a:lnTo>
                    <a:pt x="10500" y="5"/>
                  </a:lnTo>
                  <a:lnTo>
                    <a:pt x="10520" y="9"/>
                  </a:lnTo>
                  <a:lnTo>
                    <a:pt x="10539" y="16"/>
                  </a:lnTo>
                  <a:lnTo>
                    <a:pt x="10557" y="25"/>
                  </a:lnTo>
                  <a:lnTo>
                    <a:pt x="10575" y="36"/>
                  </a:lnTo>
                  <a:lnTo>
                    <a:pt x="10591" y="47"/>
                  </a:lnTo>
                  <a:lnTo>
                    <a:pt x="10605" y="61"/>
                  </a:lnTo>
                  <a:lnTo>
                    <a:pt x="10619" y="75"/>
                  </a:lnTo>
                  <a:lnTo>
                    <a:pt x="10630" y="91"/>
                  </a:lnTo>
                  <a:lnTo>
                    <a:pt x="10641" y="109"/>
                  </a:lnTo>
                  <a:lnTo>
                    <a:pt x="10650" y="127"/>
                  </a:lnTo>
                  <a:lnTo>
                    <a:pt x="10657" y="146"/>
                  </a:lnTo>
                  <a:lnTo>
                    <a:pt x="10661" y="166"/>
                  </a:lnTo>
                  <a:lnTo>
                    <a:pt x="10665" y="186"/>
                  </a:lnTo>
                  <a:lnTo>
                    <a:pt x="10666" y="207"/>
                  </a:lnTo>
                  <a:lnTo>
                    <a:pt x="10666" y="6436"/>
                  </a:lnTo>
                  <a:lnTo>
                    <a:pt x="0" y="6436"/>
                  </a:lnTo>
                  <a:lnTo>
                    <a:pt x="0" y="207"/>
                  </a:lnTo>
                  <a:lnTo>
                    <a:pt x="1" y="186"/>
                  </a:lnTo>
                  <a:lnTo>
                    <a:pt x="3" y="166"/>
                  </a:lnTo>
                  <a:lnTo>
                    <a:pt x="9" y="146"/>
                  </a:lnTo>
                  <a:lnTo>
                    <a:pt x="16" y="127"/>
                  </a:lnTo>
                  <a:lnTo>
                    <a:pt x="24" y="109"/>
                  </a:lnTo>
                  <a:lnTo>
                    <a:pt x="34" y="91"/>
                  </a:lnTo>
                  <a:lnTo>
                    <a:pt x="47" y="75"/>
                  </a:lnTo>
                  <a:lnTo>
                    <a:pt x="60" y="61"/>
                  </a:lnTo>
                  <a:lnTo>
                    <a:pt x="75" y="47"/>
                  </a:lnTo>
                  <a:lnTo>
                    <a:pt x="91" y="36"/>
                  </a:lnTo>
                  <a:lnTo>
                    <a:pt x="108" y="25"/>
                  </a:lnTo>
                  <a:lnTo>
                    <a:pt x="126" y="16"/>
                  </a:lnTo>
                  <a:lnTo>
                    <a:pt x="146" y="9"/>
                  </a:lnTo>
                  <a:lnTo>
                    <a:pt x="165" y="5"/>
                  </a:lnTo>
                  <a:lnTo>
                    <a:pt x="186" y="1"/>
                  </a:lnTo>
                  <a:lnTo>
                    <a:pt x="207" y="0"/>
                  </a:lnTo>
                  <a:close/>
                </a:path>
              </a:pathLst>
            </a:custGeom>
            <a:solidFill>
              <a:schemeClr val="tx1">
                <a:lumMod val="95000"/>
                <a:lumOff val="5000"/>
              </a:schemeClr>
            </a:solidFill>
            <a:ln>
              <a:noFill/>
            </a:ln>
          </p:spPr>
          <p:txBody>
            <a:bodyPr anchor="t" anchorCtr="0" bIns="45720" compatLnSpc="1" lIns="91440" numCol="1" rIns="91440" tIns="45720" vert="horz" wrap="square">
              <a:prstTxWarp prst="textNoShape">
                <a:avLst/>
              </a:prstTxWarp>
            </a:bodyPr>
            <a:lstStyle/>
            <a:p>
              <a:endParaRPr lang="en-US" sz="1351"/>
            </a:p>
          </p:txBody>
        </p:sp>
        <p:sp>
          <p:nvSpPr>
            <p:cNvPr id="100" name="Rectangle 10">
              <a:extLst>
                <a:ext uri="{FF2B5EF4-FFF2-40B4-BE49-F238E27FC236}">
                  <a16:creationId xmlns:a16="http://schemas.microsoft.com/office/drawing/2014/main" id="{456DBB14-60B1-418D-A3BC-ED9A9A545636}"/>
                </a:ext>
              </a:extLst>
            </p:cNvPr>
            <p:cNvSpPr>
              <a:spLocks noChangeArrowheads="1"/>
            </p:cNvSpPr>
            <p:nvPr/>
          </p:nvSpPr>
          <p:spPr bwMode="auto">
            <a:xfrm>
              <a:off x="2743125" y="1992397"/>
              <a:ext cx="3659232" cy="2073861"/>
            </a:xfrm>
            <a:prstGeom prst="rect">
              <a:avLst/>
            </a:prstGeom>
            <a:solidFill>
              <a:schemeClr val="bg1">
                <a:lumMod val="95000"/>
              </a:schemeClr>
            </a:solidFill>
            <a:ln>
              <a:noFill/>
            </a:ln>
          </p:spPr>
          <p:txBody>
            <a:bodyPr anchor="t" anchorCtr="0" bIns="45720" compatLnSpc="1" lIns="91440" numCol="1" rIns="91440" tIns="45720" vert="horz" wrap="square">
              <a:prstTxWarp prst="textNoShape">
                <a:avLst/>
              </a:prstTxWarp>
            </a:bodyPr>
            <a:lstStyle/>
            <a:p>
              <a:endParaRPr lang="en-US" sz="1351"/>
            </a:p>
          </p:txBody>
        </p:sp>
        <p:sp>
          <p:nvSpPr>
            <p:cNvPr id="101" name="Rectangle 11">
              <a:extLst>
                <a:ext uri="{FF2B5EF4-FFF2-40B4-BE49-F238E27FC236}">
                  <a16:creationId xmlns:a16="http://schemas.microsoft.com/office/drawing/2014/main" id="{8A932A24-5798-402D-8194-EBF690679380}"/>
                </a:ext>
              </a:extLst>
            </p:cNvPr>
            <p:cNvSpPr>
              <a:spLocks noChangeArrowheads="1"/>
            </p:cNvSpPr>
            <p:nvPr/>
          </p:nvSpPr>
          <p:spPr bwMode="auto">
            <a:xfrm>
              <a:off x="2743125" y="1992397"/>
              <a:ext cx="3659232" cy="38487"/>
            </a:xfrm>
            <a:prstGeom prst="rect">
              <a:avLst/>
            </a:prstGeom>
            <a:solidFill>
              <a:schemeClr val="bg1">
                <a:lumMod val="65000"/>
              </a:schemeClr>
            </a:solidFill>
            <a:ln>
              <a:noFill/>
            </a:ln>
          </p:spPr>
          <p:txBody>
            <a:bodyPr anchor="t" anchorCtr="0" bIns="45720" compatLnSpc="1" lIns="91440" numCol="1" rIns="91440" tIns="45720" vert="horz" wrap="square">
              <a:prstTxWarp prst="textNoShape">
                <a:avLst/>
              </a:prstTxWarp>
            </a:bodyPr>
            <a:lstStyle/>
            <a:p>
              <a:endParaRPr lang="en-US" sz="1351"/>
            </a:p>
          </p:txBody>
        </p:sp>
        <p:sp>
          <p:nvSpPr>
            <p:cNvPr id="102" name="Freeform 24">
              <a:extLst>
                <a:ext uri="{FF2B5EF4-FFF2-40B4-BE49-F238E27FC236}">
                  <a16:creationId xmlns:a16="http://schemas.microsoft.com/office/drawing/2014/main" id="{6D354209-7592-45F6-8B11-0231C48AB320}"/>
                </a:ext>
              </a:extLst>
            </p:cNvPr>
            <p:cNvSpPr/>
            <p:nvPr/>
          </p:nvSpPr>
          <p:spPr bwMode="auto">
            <a:xfrm>
              <a:off x="4356621" y="1862133"/>
              <a:ext cx="2170079" cy="2334389"/>
            </a:xfrm>
            <a:custGeom>
              <a:gdLst>
                <a:gd fmla="*/ 3815 w 5865" name="T0"/>
                <a:gd fmla="*/ 0 h 6311" name="T1"/>
                <a:gd fmla="*/ 5660 w 5865" name="T2"/>
                <a:gd fmla="*/ 0 h 6311" name="T3"/>
                <a:gd fmla="*/ 5681 w 5865" name="T4"/>
                <a:gd fmla="*/ 1 h 6311" name="T5"/>
                <a:gd fmla="*/ 5702 w 5865" name="T6"/>
                <a:gd fmla="*/ 4 h 6311" name="T7"/>
                <a:gd fmla="*/ 5721 w 5865" name="T8"/>
                <a:gd fmla="*/ 9 h 6311" name="T9"/>
                <a:gd fmla="*/ 5740 w 5865" name="T10"/>
                <a:gd fmla="*/ 16 h 6311" name="T11"/>
                <a:gd fmla="*/ 5758 w 5865" name="T12"/>
                <a:gd fmla="*/ 24 h 6311" name="T13"/>
                <a:gd fmla="*/ 5775 w 5865" name="T14"/>
                <a:gd fmla="*/ 34 h 6311" name="T15"/>
                <a:gd fmla="*/ 5791 w 5865" name="T16"/>
                <a:gd fmla="*/ 46 h 6311" name="T17"/>
                <a:gd fmla="*/ 5805 w 5865" name="T18"/>
                <a:gd fmla="*/ 60 h 6311" name="T19"/>
                <a:gd fmla="*/ 5819 w 5865" name="T20"/>
                <a:gd fmla="*/ 74 h 6311" name="T21"/>
                <a:gd fmla="*/ 5830 w 5865" name="T22"/>
                <a:gd fmla="*/ 90 h 6311" name="T23"/>
                <a:gd fmla="*/ 5841 w 5865" name="T24"/>
                <a:gd fmla="*/ 106 h 6311" name="T25"/>
                <a:gd fmla="*/ 5849 w 5865" name="T26"/>
                <a:gd fmla="*/ 125 h 6311" name="T27"/>
                <a:gd fmla="*/ 5856 w 5865" name="T28"/>
                <a:gd fmla="*/ 143 h 6311" name="T29"/>
                <a:gd fmla="*/ 5861 w 5865" name="T30"/>
                <a:gd fmla="*/ 163 h 6311" name="T31"/>
                <a:gd fmla="*/ 5864 w 5865" name="T32"/>
                <a:gd fmla="*/ 182 h 6311" name="T33"/>
                <a:gd fmla="*/ 5865 w 5865" name="T34"/>
                <a:gd fmla="*/ 203 h 6311" name="T35"/>
                <a:gd fmla="*/ 5865 w 5865" name="T36"/>
                <a:gd fmla="*/ 6311 h 6311" name="T37"/>
                <a:gd fmla="*/ 0 w 5865" name="T38"/>
                <a:gd fmla="*/ 6311 h 6311" name="T39"/>
                <a:gd fmla="*/ 3815 w 5865" name="T40"/>
                <a:gd fmla="*/ 0 h 6311" name="T4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b="b" l="0" r="r" t="0"/>
              <a:pathLst>
                <a:path h="6311" w="5865">
                  <a:moveTo>
                    <a:pt x="3815" y="0"/>
                  </a:moveTo>
                  <a:lnTo>
                    <a:pt x="5660" y="0"/>
                  </a:lnTo>
                  <a:lnTo>
                    <a:pt x="5681" y="1"/>
                  </a:lnTo>
                  <a:lnTo>
                    <a:pt x="5702" y="4"/>
                  </a:lnTo>
                  <a:lnTo>
                    <a:pt x="5721" y="9"/>
                  </a:lnTo>
                  <a:lnTo>
                    <a:pt x="5740" y="16"/>
                  </a:lnTo>
                  <a:lnTo>
                    <a:pt x="5758" y="24"/>
                  </a:lnTo>
                  <a:lnTo>
                    <a:pt x="5775" y="34"/>
                  </a:lnTo>
                  <a:lnTo>
                    <a:pt x="5791" y="46"/>
                  </a:lnTo>
                  <a:lnTo>
                    <a:pt x="5805" y="60"/>
                  </a:lnTo>
                  <a:lnTo>
                    <a:pt x="5819" y="74"/>
                  </a:lnTo>
                  <a:lnTo>
                    <a:pt x="5830" y="90"/>
                  </a:lnTo>
                  <a:lnTo>
                    <a:pt x="5841" y="106"/>
                  </a:lnTo>
                  <a:lnTo>
                    <a:pt x="5849" y="125"/>
                  </a:lnTo>
                  <a:lnTo>
                    <a:pt x="5856" y="143"/>
                  </a:lnTo>
                  <a:lnTo>
                    <a:pt x="5861" y="163"/>
                  </a:lnTo>
                  <a:lnTo>
                    <a:pt x="5864" y="182"/>
                  </a:lnTo>
                  <a:lnTo>
                    <a:pt x="5865" y="203"/>
                  </a:lnTo>
                  <a:lnTo>
                    <a:pt x="5865" y="6311"/>
                  </a:lnTo>
                  <a:lnTo>
                    <a:pt x="0" y="6311"/>
                  </a:lnTo>
                  <a:lnTo>
                    <a:pt x="3815" y="0"/>
                  </a:lnTo>
                  <a:close/>
                </a:path>
              </a:pathLst>
            </a:custGeom>
            <a:gradFill>
              <a:gsLst>
                <a:gs pos="0">
                  <a:schemeClr val="bg1">
                    <a:alpha val="36000"/>
                  </a:schemeClr>
                </a:gs>
                <a:gs pos="50000">
                  <a:schemeClr val="bg1">
                    <a:alpha val="13000"/>
                  </a:schemeClr>
                </a:gs>
                <a:gs pos="100000">
                  <a:schemeClr val="accent1">
                    <a:tint val="23500"/>
                    <a:satMod val="160000"/>
                    <a:alpha val="0"/>
                  </a:schemeClr>
                </a:gs>
              </a:gsLst>
              <a:lin ang="5400000" scaled="0"/>
            </a:gradFill>
            <a:ln>
              <a:noFill/>
            </a:ln>
          </p:spPr>
          <p:txBody>
            <a:bodyPr anchor="t" anchorCtr="0" bIns="45720" compatLnSpc="1" lIns="91440" numCol="1" rIns="91440" tIns="45720" vert="horz" wrap="square">
              <a:prstTxWarp prst="textNoShape">
                <a:avLst/>
              </a:prstTxWarp>
            </a:bodyPr>
            <a:lstStyle/>
            <a:p>
              <a:endParaRPr lang="en-US" sz="1351"/>
            </a:p>
          </p:txBody>
        </p:sp>
        <p:graphicFrame>
          <p:nvGraphicFramePr>
            <p:cNvPr id="103" name="Chart 40">
              <a:extLst>
                <a:ext uri="{FF2B5EF4-FFF2-40B4-BE49-F238E27FC236}">
                  <a16:creationId xmlns:a16="http://schemas.microsoft.com/office/drawing/2014/main" id="{8F87BEF8-7C08-46EB-A5F7-D0D1FEA670EB}"/>
                </a:ext>
              </a:extLst>
            </p:cNvPr>
            <p:cNvGraphicFramePr/>
            <p:nvPr>
              <p:extLst>
                <p:ext uri="{D42A27DB-BD31-4B8C-83A1-F6EECF244321}">
                  <p14:modId val="1953095269"/>
                </p:ext>
              </p:extLst>
            </p:nvPr>
          </p:nvGraphicFramePr>
          <p:xfrm>
            <a:off x="2743125" y="1992397"/>
            <a:ext cx="3596716" cy="2011690"/>
          </p:xfrm>
          <a:graphic>
            <a:graphicData uri="http://schemas.openxmlformats.org/drawingml/2006/chart">
              <c:chart xmlns:c="http://schemas.openxmlformats.org/drawingml/2006/chart" r:id="rId8"/>
            </a:graphicData>
          </a:graphic>
        </p:graphicFrame>
      </p:grpSp>
      <p:sp>
        <p:nvSpPr>
          <p:cNvPr id="104" name="iṣ1íďé">
            <a:extLst>
              <a:ext uri="{FF2B5EF4-FFF2-40B4-BE49-F238E27FC236}">
                <a16:creationId xmlns:a16="http://schemas.microsoft.com/office/drawing/2014/main" id="{C49E648A-E465-400C-8F8C-CF841315D459}"/>
              </a:ext>
            </a:extLst>
          </p:cNvPr>
          <p:cNvSpPr/>
          <p:nvPr/>
        </p:nvSpPr>
        <p:spPr bwMode="auto">
          <a:xfrm>
            <a:off x="7705727" y="1589044"/>
            <a:ext cx="2527300" cy="2522538"/>
          </a:xfrm>
          <a:custGeom>
            <a:gdLst>
              <a:gd fmla="*/ 740 w 1480" name="T0"/>
              <a:gd fmla="*/ 1472 h 1480" name="T1"/>
              <a:gd fmla="*/ 789 w 1480" name="T2"/>
              <a:gd fmla="*/ 1478 h 1480" name="T3"/>
              <a:gd fmla="*/ 789 w 1480" name="T4"/>
              <a:gd fmla="*/ 1478 h 1480" name="T5"/>
              <a:gd fmla="*/ 645 w 1480" name="T6"/>
              <a:gd fmla="*/ 1466 h 1480" name="T7"/>
              <a:gd fmla="*/ 930 w 1480" name="T8"/>
              <a:gd fmla="*/ 1447 h 1480" name="T9"/>
              <a:gd fmla="*/ 503 w 1480" name="T10"/>
              <a:gd fmla="*/ 1441 h 1480" name="T11"/>
              <a:gd fmla="*/ 979 w 1480" name="T12"/>
              <a:gd fmla="*/ 1441 h 1480" name="T13"/>
              <a:gd fmla="*/ 979 w 1480" name="T14"/>
              <a:gd fmla="*/ 1441 h 1480" name="T15"/>
              <a:gd fmla="*/ 461 w 1480" name="T16"/>
              <a:gd fmla="*/ 1417 h 1480" name="T17"/>
              <a:gd fmla="*/ 1107 w 1480" name="T18"/>
              <a:gd fmla="*/ 1374 h 1480" name="T19"/>
              <a:gd fmla="*/ 330 w 1480" name="T20"/>
              <a:gd fmla="*/ 1356 h 1480" name="T21"/>
              <a:gd fmla="*/ 1152 w 1480" name="T22"/>
              <a:gd fmla="*/ 1355 h 1480" name="T23"/>
              <a:gd fmla="*/ 1152 w 1480" name="T24"/>
              <a:gd fmla="*/ 1355 h 1480" name="T25"/>
              <a:gd fmla="*/ 295 w 1480" name="T26"/>
              <a:gd fmla="*/ 1321 h 1480" name="T27"/>
              <a:gd fmla="*/ 1258 w 1480" name="T28"/>
              <a:gd fmla="*/ 1258 h 1480" name="T29"/>
              <a:gd fmla="*/ 184 w 1480" name="T30"/>
              <a:gd fmla="*/ 1228 h 1480" name="T31"/>
              <a:gd fmla="*/ 1297 w 1480" name="T32"/>
              <a:gd fmla="*/ 1228 h 1480" name="T33"/>
              <a:gd fmla="*/ 1297 w 1480" name="T34"/>
              <a:gd fmla="*/ 1228 h 1480" name="T35"/>
              <a:gd fmla="*/ 160 w 1480" name="T36"/>
              <a:gd fmla="*/ 1186 h 1480" name="T37"/>
              <a:gd fmla="*/ 1374 w 1480" name="T38"/>
              <a:gd fmla="*/ 1106 h 1480" name="T39"/>
              <a:gd fmla="*/ 77 w 1480" name="T40"/>
              <a:gd fmla="*/ 1068 h 1480" name="T41"/>
              <a:gd fmla="*/ 1404 w 1480" name="T42"/>
              <a:gd fmla="*/ 1067 h 1480" name="T43"/>
              <a:gd fmla="*/ 1404 w 1480" name="T44"/>
              <a:gd fmla="*/ 1067 h 1480" name="T45"/>
              <a:gd fmla="*/ 64 w 1480" name="T46"/>
              <a:gd fmla="*/ 1021 h 1480" name="T47"/>
              <a:gd fmla="*/ 1448 w 1480" name="T48"/>
              <a:gd fmla="*/ 929 h 1480" name="T49"/>
              <a:gd fmla="*/ 15 w 1480" name="T50"/>
              <a:gd fmla="*/ 885 h 1480" name="T51"/>
              <a:gd fmla="*/ 1466 w 1480" name="T52"/>
              <a:gd fmla="*/ 884 h 1480" name="T53"/>
              <a:gd fmla="*/ 1466 w 1480" name="T54"/>
              <a:gd fmla="*/ 884 h 1480" name="T55"/>
              <a:gd fmla="*/ 15 w 1480" name="T56"/>
              <a:gd fmla="*/ 836 h 1480" name="T57"/>
              <a:gd fmla="*/ 1472 w 1480" name="T58"/>
              <a:gd fmla="*/ 740 h 1480" name="T59"/>
              <a:gd fmla="*/ 1479 w 1480" name="T60"/>
              <a:gd fmla="*/ 788 h 1480" name="T61"/>
              <a:gd fmla="*/ 2 w 1480" name="T62"/>
              <a:gd fmla="*/ 693 h 1480" name="T63"/>
              <a:gd fmla="*/ 1471 w 1480" name="T64"/>
              <a:gd fmla="*/ 690 h 1480" name="T65"/>
              <a:gd fmla="*/ 1471 w 1480" name="T66"/>
              <a:gd fmla="*/ 690 h 1480" name="T67"/>
              <a:gd fmla="*/ 22 w 1480" name="T68"/>
              <a:gd fmla="*/ 598 h 1480" name="T69"/>
              <a:gd fmla="*/ 1455 w 1480" name="T70"/>
              <a:gd fmla="*/ 547 h 1480" name="T71"/>
              <a:gd fmla="*/ 25 w 1480" name="T72"/>
              <a:gd fmla="*/ 549 h 1480" name="T73"/>
              <a:gd fmla="*/ 1433 w 1480" name="T74"/>
              <a:gd fmla="*/ 503 h 1480" name="T75"/>
              <a:gd fmla="*/ 1433 w 1480" name="T76"/>
              <a:gd fmla="*/ 503 h 1480" name="T77"/>
              <a:gd fmla="*/ 83 w 1480" name="T78"/>
              <a:gd fmla="*/ 417 h 1480" name="T79"/>
              <a:gd fmla="*/ 1381 w 1480" name="T80"/>
              <a:gd fmla="*/ 369 h 1480" name="T81"/>
              <a:gd fmla="*/ 99 w 1480" name="T82"/>
              <a:gd fmla="*/ 371 h 1480" name="T83"/>
              <a:gd fmla="*/ 1348 w 1480" name="T84"/>
              <a:gd fmla="*/ 332 h 1480" name="T85"/>
              <a:gd fmla="*/ 1348 w 1480" name="T86"/>
              <a:gd fmla="*/ 332 h 1480" name="T87"/>
              <a:gd fmla="*/ 189 w 1480" name="T88"/>
              <a:gd fmla="*/ 258 h 1480" name="T89"/>
              <a:gd fmla="*/ 1263 w 1480" name="T90"/>
              <a:gd fmla="*/ 216 h 1480" name="T91"/>
              <a:gd fmla="*/ 216 w 1480" name="T92"/>
              <a:gd fmla="*/ 217 h 1480" name="T93"/>
              <a:gd fmla="*/ 1222 w 1480" name="T94"/>
              <a:gd fmla="*/ 189 h 1480" name="T95"/>
              <a:gd fmla="*/ 1222 w 1480" name="T96"/>
              <a:gd fmla="*/ 189 h 1480" name="T97"/>
              <a:gd fmla="*/ 333 w 1480" name="T98"/>
              <a:gd fmla="*/ 132 h 1480" name="T99"/>
              <a:gd fmla="*/ 1109 w 1480" name="T100"/>
              <a:gd fmla="*/ 98 h 1480" name="T101"/>
              <a:gd fmla="*/ 369 w 1480" name="T102"/>
              <a:gd fmla="*/ 100 h 1480" name="T103"/>
              <a:gd fmla="*/ 1063 w 1480" name="T104"/>
              <a:gd fmla="*/ 83 h 1480" name="T105"/>
              <a:gd fmla="*/ 1063 w 1480" name="T106"/>
              <a:gd fmla="*/ 83 h 1480" name="T107"/>
              <a:gd fmla="*/ 504 w 1480" name="T108"/>
              <a:gd fmla="*/ 47 h 1480" name="T109"/>
              <a:gd fmla="*/ 930 w 1480" name="T110"/>
              <a:gd fmla="*/ 25 h 1480" name="T111"/>
              <a:gd fmla="*/ 548 w 1480" name="T112"/>
              <a:gd fmla="*/ 25 h 1480" name="T113"/>
              <a:gd fmla="*/ 882 w 1480" name="T114"/>
              <a:gd fmla="*/ 22 h 1480" name="T115"/>
              <a:gd fmla="*/ 882 w 1480" name="T116"/>
              <a:gd fmla="*/ 22 h 1480" name="T117"/>
              <a:gd fmla="*/ 691 w 1480" name="T118"/>
              <a:gd fmla="*/ 10 h 1480" name="T119"/>
              <a:gd fmla="*/ 739 w 1480" name="T120"/>
              <a:gd fmla="*/ 8 h 1480" name="T121"/>
              <a:gd fmla="*/ 787 w 1480" name="T122"/>
              <a:gd fmla="*/ 9 h 1480" name="T12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b="b" l="0" r="r" t="0"/>
            <a:pathLst>
              <a:path h="1480" w="1480">
                <a:moveTo>
                  <a:pt x="740" y="1480"/>
                </a:moveTo>
                <a:cubicBezTo>
                  <a:pt x="724" y="1480"/>
                  <a:pt x="708" y="1479"/>
                  <a:pt x="692" y="1478"/>
                </a:cubicBezTo>
                <a:cubicBezTo>
                  <a:pt x="693" y="1470"/>
                  <a:pt x="693" y="1470"/>
                  <a:pt x="693" y="1470"/>
                </a:cubicBezTo>
                <a:cubicBezTo>
                  <a:pt x="709" y="1471"/>
                  <a:pt x="725" y="1472"/>
                  <a:pt x="740" y="1472"/>
                </a:cubicBezTo>
                <a:cubicBezTo>
                  <a:pt x="741" y="1472"/>
                  <a:pt x="741" y="1472"/>
                  <a:pt x="741" y="1472"/>
                </a:cubicBezTo>
                <a:cubicBezTo>
                  <a:pt x="741" y="1480"/>
                  <a:pt x="741" y="1480"/>
                  <a:pt x="741" y="1480"/>
                </a:cubicBezTo>
                <a:cubicBezTo>
                  <a:pt x="740" y="1480"/>
                  <a:pt x="740" y="1480"/>
                  <a:pt x="740" y="1480"/>
                </a:cubicBezTo>
                <a:close/>
                <a:moveTo>
                  <a:pt x="789" y="1478"/>
                </a:moveTo>
                <a:cubicBezTo>
                  <a:pt x="789" y="1470"/>
                  <a:pt x="789" y="1470"/>
                  <a:pt x="789" y="1470"/>
                </a:cubicBezTo>
                <a:cubicBezTo>
                  <a:pt x="805" y="1469"/>
                  <a:pt x="821" y="1468"/>
                  <a:pt x="836" y="1466"/>
                </a:cubicBezTo>
                <a:cubicBezTo>
                  <a:pt x="837" y="1474"/>
                  <a:pt x="837" y="1474"/>
                  <a:pt x="837" y="1474"/>
                </a:cubicBezTo>
                <a:cubicBezTo>
                  <a:pt x="822" y="1476"/>
                  <a:pt x="805" y="1477"/>
                  <a:pt x="789" y="1478"/>
                </a:cubicBezTo>
                <a:close/>
                <a:moveTo>
                  <a:pt x="644" y="1474"/>
                </a:moveTo>
                <a:cubicBezTo>
                  <a:pt x="628" y="1472"/>
                  <a:pt x="612" y="1469"/>
                  <a:pt x="597" y="1466"/>
                </a:cubicBezTo>
                <a:cubicBezTo>
                  <a:pt x="598" y="1458"/>
                  <a:pt x="598" y="1458"/>
                  <a:pt x="598" y="1458"/>
                </a:cubicBezTo>
                <a:cubicBezTo>
                  <a:pt x="614" y="1461"/>
                  <a:pt x="630" y="1464"/>
                  <a:pt x="645" y="1466"/>
                </a:cubicBezTo>
                <a:lnTo>
                  <a:pt x="644" y="1474"/>
                </a:lnTo>
                <a:close/>
                <a:moveTo>
                  <a:pt x="885" y="1466"/>
                </a:moveTo>
                <a:cubicBezTo>
                  <a:pt x="884" y="1458"/>
                  <a:pt x="884" y="1458"/>
                  <a:pt x="884" y="1458"/>
                </a:cubicBezTo>
                <a:cubicBezTo>
                  <a:pt x="899" y="1455"/>
                  <a:pt x="915" y="1451"/>
                  <a:pt x="930" y="1447"/>
                </a:cubicBezTo>
                <a:cubicBezTo>
                  <a:pt x="932" y="1455"/>
                  <a:pt x="932" y="1455"/>
                  <a:pt x="932" y="1455"/>
                </a:cubicBezTo>
                <a:cubicBezTo>
                  <a:pt x="917" y="1459"/>
                  <a:pt x="901" y="1463"/>
                  <a:pt x="885" y="1466"/>
                </a:cubicBezTo>
                <a:close/>
                <a:moveTo>
                  <a:pt x="549" y="1455"/>
                </a:moveTo>
                <a:cubicBezTo>
                  <a:pt x="534" y="1451"/>
                  <a:pt x="518" y="1446"/>
                  <a:pt x="503" y="1441"/>
                </a:cubicBezTo>
                <a:cubicBezTo>
                  <a:pt x="506" y="1434"/>
                  <a:pt x="506" y="1434"/>
                  <a:pt x="506" y="1434"/>
                </a:cubicBezTo>
                <a:cubicBezTo>
                  <a:pt x="521" y="1439"/>
                  <a:pt x="536" y="1443"/>
                  <a:pt x="551" y="1447"/>
                </a:cubicBezTo>
                <a:lnTo>
                  <a:pt x="549" y="1455"/>
                </a:lnTo>
                <a:close/>
                <a:moveTo>
                  <a:pt x="979" y="1441"/>
                </a:moveTo>
                <a:cubicBezTo>
                  <a:pt x="976" y="1433"/>
                  <a:pt x="976" y="1433"/>
                  <a:pt x="976" y="1433"/>
                </a:cubicBezTo>
                <a:cubicBezTo>
                  <a:pt x="991" y="1428"/>
                  <a:pt x="1006" y="1422"/>
                  <a:pt x="1021" y="1416"/>
                </a:cubicBezTo>
                <a:cubicBezTo>
                  <a:pt x="1024" y="1424"/>
                  <a:pt x="1024" y="1424"/>
                  <a:pt x="1024" y="1424"/>
                </a:cubicBezTo>
                <a:cubicBezTo>
                  <a:pt x="1009" y="1430"/>
                  <a:pt x="994" y="1436"/>
                  <a:pt x="979" y="1441"/>
                </a:cubicBezTo>
                <a:close/>
                <a:moveTo>
                  <a:pt x="458" y="1424"/>
                </a:moveTo>
                <a:cubicBezTo>
                  <a:pt x="443" y="1418"/>
                  <a:pt x="428" y="1411"/>
                  <a:pt x="413" y="1404"/>
                </a:cubicBezTo>
                <a:cubicBezTo>
                  <a:pt x="417" y="1397"/>
                  <a:pt x="417" y="1397"/>
                  <a:pt x="417" y="1397"/>
                </a:cubicBezTo>
                <a:cubicBezTo>
                  <a:pt x="431" y="1404"/>
                  <a:pt x="446" y="1411"/>
                  <a:pt x="461" y="1417"/>
                </a:cubicBezTo>
                <a:lnTo>
                  <a:pt x="458" y="1424"/>
                </a:lnTo>
                <a:close/>
                <a:moveTo>
                  <a:pt x="1068" y="1404"/>
                </a:moveTo>
                <a:cubicBezTo>
                  <a:pt x="1064" y="1397"/>
                  <a:pt x="1064" y="1397"/>
                  <a:pt x="1064" y="1397"/>
                </a:cubicBezTo>
                <a:cubicBezTo>
                  <a:pt x="1079" y="1390"/>
                  <a:pt x="1093" y="1382"/>
                  <a:pt x="1107" y="1374"/>
                </a:cubicBezTo>
                <a:cubicBezTo>
                  <a:pt x="1111" y="1381"/>
                  <a:pt x="1111" y="1381"/>
                  <a:pt x="1111" y="1381"/>
                </a:cubicBezTo>
                <a:cubicBezTo>
                  <a:pt x="1097" y="1389"/>
                  <a:pt x="1082" y="1397"/>
                  <a:pt x="1068" y="1404"/>
                </a:cubicBezTo>
                <a:close/>
                <a:moveTo>
                  <a:pt x="371" y="1381"/>
                </a:moveTo>
                <a:cubicBezTo>
                  <a:pt x="357" y="1373"/>
                  <a:pt x="343" y="1365"/>
                  <a:pt x="330" y="1356"/>
                </a:cubicBezTo>
                <a:cubicBezTo>
                  <a:pt x="334" y="1349"/>
                  <a:pt x="334" y="1349"/>
                  <a:pt x="334" y="1349"/>
                </a:cubicBezTo>
                <a:cubicBezTo>
                  <a:pt x="347" y="1358"/>
                  <a:pt x="361" y="1366"/>
                  <a:pt x="375" y="1374"/>
                </a:cubicBezTo>
                <a:lnTo>
                  <a:pt x="371" y="1381"/>
                </a:lnTo>
                <a:close/>
                <a:moveTo>
                  <a:pt x="1152" y="1355"/>
                </a:moveTo>
                <a:cubicBezTo>
                  <a:pt x="1147" y="1349"/>
                  <a:pt x="1147" y="1349"/>
                  <a:pt x="1147" y="1349"/>
                </a:cubicBezTo>
                <a:cubicBezTo>
                  <a:pt x="1160" y="1340"/>
                  <a:pt x="1173" y="1330"/>
                  <a:pt x="1186" y="1321"/>
                </a:cubicBezTo>
                <a:cubicBezTo>
                  <a:pt x="1191" y="1327"/>
                  <a:pt x="1191" y="1327"/>
                  <a:pt x="1191" y="1327"/>
                </a:cubicBezTo>
                <a:cubicBezTo>
                  <a:pt x="1178" y="1337"/>
                  <a:pt x="1165" y="1346"/>
                  <a:pt x="1152" y="1355"/>
                </a:cubicBezTo>
                <a:close/>
                <a:moveTo>
                  <a:pt x="290" y="1327"/>
                </a:moveTo>
                <a:cubicBezTo>
                  <a:pt x="278" y="1318"/>
                  <a:pt x="265" y="1307"/>
                  <a:pt x="253" y="1297"/>
                </a:cubicBezTo>
                <a:cubicBezTo>
                  <a:pt x="258" y="1291"/>
                  <a:pt x="258" y="1291"/>
                  <a:pt x="258" y="1291"/>
                </a:cubicBezTo>
                <a:cubicBezTo>
                  <a:pt x="270" y="1301"/>
                  <a:pt x="283" y="1311"/>
                  <a:pt x="295" y="1321"/>
                </a:cubicBezTo>
                <a:lnTo>
                  <a:pt x="290" y="1327"/>
                </a:lnTo>
                <a:close/>
                <a:moveTo>
                  <a:pt x="1228" y="1296"/>
                </a:moveTo>
                <a:cubicBezTo>
                  <a:pt x="1223" y="1290"/>
                  <a:pt x="1223" y="1290"/>
                  <a:pt x="1223" y="1290"/>
                </a:cubicBezTo>
                <a:cubicBezTo>
                  <a:pt x="1235" y="1280"/>
                  <a:pt x="1247" y="1269"/>
                  <a:pt x="1258" y="1258"/>
                </a:cubicBezTo>
                <a:cubicBezTo>
                  <a:pt x="1264" y="1263"/>
                  <a:pt x="1264" y="1263"/>
                  <a:pt x="1264" y="1263"/>
                </a:cubicBezTo>
                <a:cubicBezTo>
                  <a:pt x="1252" y="1275"/>
                  <a:pt x="1240" y="1286"/>
                  <a:pt x="1228" y="1296"/>
                </a:cubicBezTo>
                <a:close/>
                <a:moveTo>
                  <a:pt x="217" y="1264"/>
                </a:moveTo>
                <a:cubicBezTo>
                  <a:pt x="206" y="1252"/>
                  <a:pt x="195" y="1240"/>
                  <a:pt x="184" y="1228"/>
                </a:cubicBezTo>
                <a:cubicBezTo>
                  <a:pt x="190" y="1223"/>
                  <a:pt x="190" y="1223"/>
                  <a:pt x="190" y="1223"/>
                </a:cubicBezTo>
                <a:cubicBezTo>
                  <a:pt x="201" y="1235"/>
                  <a:pt x="212" y="1247"/>
                  <a:pt x="223" y="1258"/>
                </a:cubicBezTo>
                <a:lnTo>
                  <a:pt x="217" y="1264"/>
                </a:lnTo>
                <a:close/>
                <a:moveTo>
                  <a:pt x="1297" y="1228"/>
                </a:moveTo>
                <a:cubicBezTo>
                  <a:pt x="1291" y="1223"/>
                  <a:pt x="1291" y="1223"/>
                  <a:pt x="1291" y="1223"/>
                </a:cubicBezTo>
                <a:cubicBezTo>
                  <a:pt x="1301" y="1211"/>
                  <a:pt x="1311" y="1198"/>
                  <a:pt x="1321" y="1186"/>
                </a:cubicBezTo>
                <a:cubicBezTo>
                  <a:pt x="1327" y="1190"/>
                  <a:pt x="1327" y="1190"/>
                  <a:pt x="1327" y="1190"/>
                </a:cubicBezTo>
                <a:cubicBezTo>
                  <a:pt x="1318" y="1203"/>
                  <a:pt x="1307" y="1216"/>
                  <a:pt x="1297" y="1228"/>
                </a:cubicBezTo>
                <a:close/>
                <a:moveTo>
                  <a:pt x="154" y="1191"/>
                </a:moveTo>
                <a:cubicBezTo>
                  <a:pt x="144" y="1178"/>
                  <a:pt x="134" y="1165"/>
                  <a:pt x="125" y="1152"/>
                </a:cubicBezTo>
                <a:cubicBezTo>
                  <a:pt x="132" y="1147"/>
                  <a:pt x="132" y="1147"/>
                  <a:pt x="132" y="1147"/>
                </a:cubicBezTo>
                <a:cubicBezTo>
                  <a:pt x="141" y="1160"/>
                  <a:pt x="150" y="1173"/>
                  <a:pt x="160" y="1186"/>
                </a:cubicBezTo>
                <a:lnTo>
                  <a:pt x="154" y="1191"/>
                </a:lnTo>
                <a:close/>
                <a:moveTo>
                  <a:pt x="1356" y="1151"/>
                </a:moveTo>
                <a:cubicBezTo>
                  <a:pt x="1349" y="1147"/>
                  <a:pt x="1349" y="1147"/>
                  <a:pt x="1349" y="1147"/>
                </a:cubicBezTo>
                <a:cubicBezTo>
                  <a:pt x="1358" y="1133"/>
                  <a:pt x="1366" y="1120"/>
                  <a:pt x="1374" y="1106"/>
                </a:cubicBezTo>
                <a:cubicBezTo>
                  <a:pt x="1381" y="1110"/>
                  <a:pt x="1381" y="1110"/>
                  <a:pt x="1381" y="1110"/>
                </a:cubicBezTo>
                <a:cubicBezTo>
                  <a:pt x="1373" y="1124"/>
                  <a:pt x="1365" y="1138"/>
                  <a:pt x="1356" y="1151"/>
                </a:cubicBezTo>
                <a:close/>
                <a:moveTo>
                  <a:pt x="100" y="1111"/>
                </a:moveTo>
                <a:cubicBezTo>
                  <a:pt x="92" y="1097"/>
                  <a:pt x="84" y="1082"/>
                  <a:pt x="77" y="1068"/>
                </a:cubicBezTo>
                <a:cubicBezTo>
                  <a:pt x="84" y="1064"/>
                  <a:pt x="84" y="1064"/>
                  <a:pt x="84" y="1064"/>
                </a:cubicBezTo>
                <a:cubicBezTo>
                  <a:pt x="91" y="1079"/>
                  <a:pt x="99" y="1093"/>
                  <a:pt x="107" y="1107"/>
                </a:cubicBezTo>
                <a:lnTo>
                  <a:pt x="100" y="1111"/>
                </a:lnTo>
                <a:close/>
                <a:moveTo>
                  <a:pt x="1404" y="1067"/>
                </a:moveTo>
                <a:cubicBezTo>
                  <a:pt x="1397" y="1064"/>
                  <a:pt x="1397" y="1064"/>
                  <a:pt x="1397" y="1064"/>
                </a:cubicBezTo>
                <a:cubicBezTo>
                  <a:pt x="1404" y="1050"/>
                  <a:pt x="1411" y="1035"/>
                  <a:pt x="1417" y="1020"/>
                </a:cubicBezTo>
                <a:cubicBezTo>
                  <a:pt x="1424" y="1023"/>
                  <a:pt x="1424" y="1023"/>
                  <a:pt x="1424" y="1023"/>
                </a:cubicBezTo>
                <a:cubicBezTo>
                  <a:pt x="1418" y="1038"/>
                  <a:pt x="1411" y="1053"/>
                  <a:pt x="1404" y="1067"/>
                </a:cubicBezTo>
                <a:close/>
                <a:moveTo>
                  <a:pt x="57" y="1024"/>
                </a:moveTo>
                <a:cubicBezTo>
                  <a:pt x="51" y="1009"/>
                  <a:pt x="45" y="994"/>
                  <a:pt x="40" y="979"/>
                </a:cubicBezTo>
                <a:cubicBezTo>
                  <a:pt x="47" y="976"/>
                  <a:pt x="47" y="976"/>
                  <a:pt x="47" y="976"/>
                </a:cubicBezTo>
                <a:cubicBezTo>
                  <a:pt x="52" y="991"/>
                  <a:pt x="58" y="1006"/>
                  <a:pt x="64" y="1021"/>
                </a:cubicBezTo>
                <a:lnTo>
                  <a:pt x="57" y="1024"/>
                </a:lnTo>
                <a:close/>
                <a:moveTo>
                  <a:pt x="1441" y="978"/>
                </a:moveTo>
                <a:cubicBezTo>
                  <a:pt x="1434" y="975"/>
                  <a:pt x="1434" y="975"/>
                  <a:pt x="1434" y="975"/>
                </a:cubicBezTo>
                <a:cubicBezTo>
                  <a:pt x="1439" y="960"/>
                  <a:pt x="1444" y="945"/>
                  <a:pt x="1448" y="929"/>
                </a:cubicBezTo>
                <a:cubicBezTo>
                  <a:pt x="1455" y="931"/>
                  <a:pt x="1455" y="931"/>
                  <a:pt x="1455" y="931"/>
                </a:cubicBezTo>
                <a:cubicBezTo>
                  <a:pt x="1451" y="947"/>
                  <a:pt x="1447" y="963"/>
                  <a:pt x="1441" y="978"/>
                </a:cubicBezTo>
                <a:close/>
                <a:moveTo>
                  <a:pt x="26" y="932"/>
                </a:moveTo>
                <a:cubicBezTo>
                  <a:pt x="21" y="917"/>
                  <a:pt x="18" y="901"/>
                  <a:pt x="15" y="885"/>
                </a:cubicBezTo>
                <a:cubicBezTo>
                  <a:pt x="22" y="884"/>
                  <a:pt x="22" y="884"/>
                  <a:pt x="22" y="884"/>
                </a:cubicBezTo>
                <a:cubicBezTo>
                  <a:pt x="26" y="899"/>
                  <a:pt x="29" y="915"/>
                  <a:pt x="33" y="930"/>
                </a:cubicBezTo>
                <a:lnTo>
                  <a:pt x="26" y="932"/>
                </a:lnTo>
                <a:close/>
                <a:moveTo>
                  <a:pt x="1466" y="884"/>
                </a:moveTo>
                <a:cubicBezTo>
                  <a:pt x="1458" y="883"/>
                  <a:pt x="1458" y="883"/>
                  <a:pt x="1458" y="883"/>
                </a:cubicBezTo>
                <a:cubicBezTo>
                  <a:pt x="1462" y="867"/>
                  <a:pt x="1464" y="851"/>
                  <a:pt x="1466" y="835"/>
                </a:cubicBezTo>
                <a:cubicBezTo>
                  <a:pt x="1474" y="837"/>
                  <a:pt x="1474" y="837"/>
                  <a:pt x="1474" y="837"/>
                </a:cubicBezTo>
                <a:cubicBezTo>
                  <a:pt x="1472" y="852"/>
                  <a:pt x="1469" y="869"/>
                  <a:pt x="1466" y="884"/>
                </a:cubicBezTo>
                <a:close/>
                <a:moveTo>
                  <a:pt x="7" y="837"/>
                </a:moveTo>
                <a:cubicBezTo>
                  <a:pt x="5" y="822"/>
                  <a:pt x="3" y="805"/>
                  <a:pt x="2" y="789"/>
                </a:cubicBezTo>
                <a:cubicBezTo>
                  <a:pt x="10" y="789"/>
                  <a:pt x="10" y="789"/>
                  <a:pt x="10" y="789"/>
                </a:cubicBezTo>
                <a:cubicBezTo>
                  <a:pt x="11" y="805"/>
                  <a:pt x="13" y="821"/>
                  <a:pt x="15" y="836"/>
                </a:cubicBezTo>
                <a:lnTo>
                  <a:pt x="7" y="837"/>
                </a:lnTo>
                <a:close/>
                <a:moveTo>
                  <a:pt x="1479" y="788"/>
                </a:moveTo>
                <a:cubicBezTo>
                  <a:pt x="1471" y="788"/>
                  <a:pt x="1471" y="788"/>
                  <a:pt x="1471" y="788"/>
                </a:cubicBezTo>
                <a:cubicBezTo>
                  <a:pt x="1472" y="772"/>
                  <a:pt x="1472" y="756"/>
                  <a:pt x="1472" y="740"/>
                </a:cubicBezTo>
                <a:cubicBezTo>
                  <a:pt x="1472" y="738"/>
                  <a:pt x="1472" y="738"/>
                  <a:pt x="1472" y="738"/>
                </a:cubicBezTo>
                <a:cubicBezTo>
                  <a:pt x="1480" y="738"/>
                  <a:pt x="1480" y="738"/>
                  <a:pt x="1480" y="738"/>
                </a:cubicBezTo>
                <a:cubicBezTo>
                  <a:pt x="1480" y="740"/>
                  <a:pt x="1480" y="740"/>
                  <a:pt x="1480" y="740"/>
                </a:cubicBezTo>
                <a:cubicBezTo>
                  <a:pt x="1480" y="756"/>
                  <a:pt x="1480" y="772"/>
                  <a:pt x="1479" y="788"/>
                </a:cubicBezTo>
                <a:close/>
                <a:moveTo>
                  <a:pt x="8" y="741"/>
                </a:moveTo>
                <a:cubicBezTo>
                  <a:pt x="0" y="741"/>
                  <a:pt x="0" y="741"/>
                  <a:pt x="0" y="741"/>
                </a:cubicBezTo>
                <a:cubicBezTo>
                  <a:pt x="0" y="740"/>
                  <a:pt x="0" y="740"/>
                  <a:pt x="0" y="740"/>
                </a:cubicBezTo>
                <a:cubicBezTo>
                  <a:pt x="0" y="724"/>
                  <a:pt x="1" y="708"/>
                  <a:pt x="2" y="693"/>
                </a:cubicBezTo>
                <a:cubicBezTo>
                  <a:pt x="10" y="693"/>
                  <a:pt x="10" y="693"/>
                  <a:pt x="10" y="693"/>
                </a:cubicBezTo>
                <a:cubicBezTo>
                  <a:pt x="9" y="709"/>
                  <a:pt x="8" y="724"/>
                  <a:pt x="8" y="740"/>
                </a:cubicBezTo>
                <a:lnTo>
                  <a:pt x="8" y="741"/>
                </a:lnTo>
                <a:close/>
                <a:moveTo>
                  <a:pt x="1471" y="690"/>
                </a:moveTo>
                <a:cubicBezTo>
                  <a:pt x="1470" y="674"/>
                  <a:pt x="1468" y="658"/>
                  <a:pt x="1466" y="643"/>
                </a:cubicBezTo>
                <a:cubicBezTo>
                  <a:pt x="1474" y="642"/>
                  <a:pt x="1474" y="642"/>
                  <a:pt x="1474" y="642"/>
                </a:cubicBezTo>
                <a:cubicBezTo>
                  <a:pt x="1476" y="657"/>
                  <a:pt x="1478" y="674"/>
                  <a:pt x="1479" y="690"/>
                </a:cubicBezTo>
                <a:lnTo>
                  <a:pt x="1471" y="690"/>
                </a:lnTo>
                <a:close/>
                <a:moveTo>
                  <a:pt x="14" y="645"/>
                </a:moveTo>
                <a:cubicBezTo>
                  <a:pt x="7" y="644"/>
                  <a:pt x="7" y="644"/>
                  <a:pt x="7" y="644"/>
                </a:cubicBezTo>
                <a:cubicBezTo>
                  <a:pt x="9" y="628"/>
                  <a:pt x="11" y="612"/>
                  <a:pt x="14" y="597"/>
                </a:cubicBezTo>
                <a:cubicBezTo>
                  <a:pt x="22" y="598"/>
                  <a:pt x="22" y="598"/>
                  <a:pt x="22" y="598"/>
                </a:cubicBezTo>
                <a:cubicBezTo>
                  <a:pt x="19" y="614"/>
                  <a:pt x="16" y="630"/>
                  <a:pt x="14" y="645"/>
                </a:cubicBezTo>
                <a:close/>
                <a:moveTo>
                  <a:pt x="1458" y="595"/>
                </a:moveTo>
                <a:cubicBezTo>
                  <a:pt x="1455" y="580"/>
                  <a:pt x="1451" y="564"/>
                  <a:pt x="1447" y="549"/>
                </a:cubicBezTo>
                <a:cubicBezTo>
                  <a:pt x="1455" y="547"/>
                  <a:pt x="1455" y="547"/>
                  <a:pt x="1455" y="547"/>
                </a:cubicBezTo>
                <a:cubicBezTo>
                  <a:pt x="1459" y="562"/>
                  <a:pt x="1463" y="578"/>
                  <a:pt x="1466" y="594"/>
                </a:cubicBezTo>
                <a:lnTo>
                  <a:pt x="1458" y="595"/>
                </a:lnTo>
                <a:close/>
                <a:moveTo>
                  <a:pt x="33" y="551"/>
                </a:moveTo>
                <a:cubicBezTo>
                  <a:pt x="25" y="549"/>
                  <a:pt x="25" y="549"/>
                  <a:pt x="25" y="549"/>
                </a:cubicBezTo>
                <a:cubicBezTo>
                  <a:pt x="29" y="534"/>
                  <a:pt x="34" y="518"/>
                  <a:pt x="39" y="503"/>
                </a:cubicBezTo>
                <a:cubicBezTo>
                  <a:pt x="47" y="506"/>
                  <a:pt x="47" y="506"/>
                  <a:pt x="47" y="506"/>
                </a:cubicBezTo>
                <a:cubicBezTo>
                  <a:pt x="42" y="521"/>
                  <a:pt x="37" y="536"/>
                  <a:pt x="33" y="551"/>
                </a:cubicBezTo>
                <a:close/>
                <a:moveTo>
                  <a:pt x="1433" y="503"/>
                </a:moveTo>
                <a:cubicBezTo>
                  <a:pt x="1428" y="488"/>
                  <a:pt x="1422" y="473"/>
                  <a:pt x="1416" y="458"/>
                </a:cubicBezTo>
                <a:cubicBezTo>
                  <a:pt x="1424" y="455"/>
                  <a:pt x="1424" y="455"/>
                  <a:pt x="1424" y="455"/>
                </a:cubicBezTo>
                <a:cubicBezTo>
                  <a:pt x="1430" y="470"/>
                  <a:pt x="1436" y="485"/>
                  <a:pt x="1441" y="500"/>
                </a:cubicBezTo>
                <a:lnTo>
                  <a:pt x="1433" y="503"/>
                </a:lnTo>
                <a:close/>
                <a:moveTo>
                  <a:pt x="64" y="461"/>
                </a:moveTo>
                <a:cubicBezTo>
                  <a:pt x="56" y="458"/>
                  <a:pt x="56" y="458"/>
                  <a:pt x="56" y="458"/>
                </a:cubicBezTo>
                <a:cubicBezTo>
                  <a:pt x="62" y="443"/>
                  <a:pt x="69" y="428"/>
                  <a:pt x="76" y="414"/>
                </a:cubicBezTo>
                <a:cubicBezTo>
                  <a:pt x="83" y="417"/>
                  <a:pt x="83" y="417"/>
                  <a:pt x="83" y="417"/>
                </a:cubicBezTo>
                <a:cubicBezTo>
                  <a:pt x="76" y="431"/>
                  <a:pt x="70" y="446"/>
                  <a:pt x="64" y="461"/>
                </a:cubicBezTo>
                <a:close/>
                <a:moveTo>
                  <a:pt x="1396" y="415"/>
                </a:moveTo>
                <a:cubicBezTo>
                  <a:pt x="1389" y="401"/>
                  <a:pt x="1382" y="386"/>
                  <a:pt x="1374" y="373"/>
                </a:cubicBezTo>
                <a:cubicBezTo>
                  <a:pt x="1381" y="369"/>
                  <a:pt x="1381" y="369"/>
                  <a:pt x="1381" y="369"/>
                </a:cubicBezTo>
                <a:cubicBezTo>
                  <a:pt x="1389" y="383"/>
                  <a:pt x="1396" y="397"/>
                  <a:pt x="1404" y="411"/>
                </a:cubicBezTo>
                <a:lnTo>
                  <a:pt x="1396" y="415"/>
                </a:lnTo>
                <a:close/>
                <a:moveTo>
                  <a:pt x="106" y="375"/>
                </a:moveTo>
                <a:cubicBezTo>
                  <a:pt x="99" y="371"/>
                  <a:pt x="99" y="371"/>
                  <a:pt x="99" y="371"/>
                </a:cubicBezTo>
                <a:cubicBezTo>
                  <a:pt x="107" y="357"/>
                  <a:pt x="116" y="343"/>
                  <a:pt x="125" y="330"/>
                </a:cubicBezTo>
                <a:cubicBezTo>
                  <a:pt x="131" y="334"/>
                  <a:pt x="131" y="334"/>
                  <a:pt x="131" y="334"/>
                </a:cubicBezTo>
                <a:cubicBezTo>
                  <a:pt x="122" y="347"/>
                  <a:pt x="114" y="361"/>
                  <a:pt x="106" y="375"/>
                </a:cubicBezTo>
                <a:close/>
                <a:moveTo>
                  <a:pt x="1348" y="332"/>
                </a:moveTo>
                <a:cubicBezTo>
                  <a:pt x="1339" y="319"/>
                  <a:pt x="1330" y="306"/>
                  <a:pt x="1320" y="293"/>
                </a:cubicBezTo>
                <a:cubicBezTo>
                  <a:pt x="1327" y="288"/>
                  <a:pt x="1327" y="288"/>
                  <a:pt x="1327" y="288"/>
                </a:cubicBezTo>
                <a:cubicBezTo>
                  <a:pt x="1336" y="301"/>
                  <a:pt x="1346" y="314"/>
                  <a:pt x="1355" y="328"/>
                </a:cubicBezTo>
                <a:lnTo>
                  <a:pt x="1348" y="332"/>
                </a:lnTo>
                <a:close/>
                <a:moveTo>
                  <a:pt x="159" y="295"/>
                </a:moveTo>
                <a:cubicBezTo>
                  <a:pt x="153" y="290"/>
                  <a:pt x="153" y="290"/>
                  <a:pt x="153" y="290"/>
                </a:cubicBezTo>
                <a:cubicBezTo>
                  <a:pt x="162" y="277"/>
                  <a:pt x="173" y="265"/>
                  <a:pt x="183" y="253"/>
                </a:cubicBezTo>
                <a:cubicBezTo>
                  <a:pt x="189" y="258"/>
                  <a:pt x="189" y="258"/>
                  <a:pt x="189" y="258"/>
                </a:cubicBezTo>
                <a:cubicBezTo>
                  <a:pt x="179" y="270"/>
                  <a:pt x="169" y="282"/>
                  <a:pt x="159" y="295"/>
                </a:cubicBezTo>
                <a:close/>
                <a:moveTo>
                  <a:pt x="1290" y="256"/>
                </a:moveTo>
                <a:cubicBezTo>
                  <a:pt x="1279" y="244"/>
                  <a:pt x="1268" y="233"/>
                  <a:pt x="1257" y="221"/>
                </a:cubicBezTo>
                <a:cubicBezTo>
                  <a:pt x="1263" y="216"/>
                  <a:pt x="1263" y="216"/>
                  <a:pt x="1263" y="216"/>
                </a:cubicBezTo>
                <a:cubicBezTo>
                  <a:pt x="1274" y="227"/>
                  <a:pt x="1285" y="239"/>
                  <a:pt x="1296" y="251"/>
                </a:cubicBezTo>
                <a:lnTo>
                  <a:pt x="1290" y="256"/>
                </a:lnTo>
                <a:close/>
                <a:moveTo>
                  <a:pt x="222" y="223"/>
                </a:moveTo>
                <a:cubicBezTo>
                  <a:pt x="216" y="217"/>
                  <a:pt x="216" y="217"/>
                  <a:pt x="216" y="217"/>
                </a:cubicBezTo>
                <a:cubicBezTo>
                  <a:pt x="228" y="206"/>
                  <a:pt x="240" y="195"/>
                  <a:pt x="252" y="184"/>
                </a:cubicBezTo>
                <a:cubicBezTo>
                  <a:pt x="257" y="190"/>
                  <a:pt x="257" y="190"/>
                  <a:pt x="257" y="190"/>
                </a:cubicBezTo>
                <a:cubicBezTo>
                  <a:pt x="245" y="201"/>
                  <a:pt x="233" y="212"/>
                  <a:pt x="222" y="223"/>
                </a:cubicBezTo>
                <a:close/>
                <a:moveTo>
                  <a:pt x="1222" y="189"/>
                </a:moveTo>
                <a:cubicBezTo>
                  <a:pt x="1210" y="178"/>
                  <a:pt x="1198" y="168"/>
                  <a:pt x="1185" y="158"/>
                </a:cubicBezTo>
                <a:cubicBezTo>
                  <a:pt x="1190" y="152"/>
                  <a:pt x="1190" y="152"/>
                  <a:pt x="1190" y="152"/>
                </a:cubicBezTo>
                <a:cubicBezTo>
                  <a:pt x="1203" y="162"/>
                  <a:pt x="1215" y="172"/>
                  <a:pt x="1227" y="183"/>
                </a:cubicBezTo>
                <a:lnTo>
                  <a:pt x="1222" y="189"/>
                </a:lnTo>
                <a:close/>
                <a:moveTo>
                  <a:pt x="294" y="160"/>
                </a:moveTo>
                <a:cubicBezTo>
                  <a:pt x="289" y="153"/>
                  <a:pt x="289" y="153"/>
                  <a:pt x="289" y="153"/>
                </a:cubicBezTo>
                <a:cubicBezTo>
                  <a:pt x="302" y="144"/>
                  <a:pt x="315" y="134"/>
                  <a:pt x="328" y="125"/>
                </a:cubicBezTo>
                <a:cubicBezTo>
                  <a:pt x="333" y="132"/>
                  <a:pt x="333" y="132"/>
                  <a:pt x="333" y="132"/>
                </a:cubicBezTo>
                <a:cubicBezTo>
                  <a:pt x="320" y="141"/>
                  <a:pt x="307" y="150"/>
                  <a:pt x="294" y="160"/>
                </a:cubicBezTo>
                <a:close/>
                <a:moveTo>
                  <a:pt x="1146" y="130"/>
                </a:moveTo>
                <a:cubicBezTo>
                  <a:pt x="1133" y="122"/>
                  <a:pt x="1119" y="113"/>
                  <a:pt x="1105" y="105"/>
                </a:cubicBezTo>
                <a:cubicBezTo>
                  <a:pt x="1109" y="98"/>
                  <a:pt x="1109" y="98"/>
                  <a:pt x="1109" y="98"/>
                </a:cubicBezTo>
                <a:cubicBezTo>
                  <a:pt x="1123" y="106"/>
                  <a:pt x="1137" y="115"/>
                  <a:pt x="1150" y="124"/>
                </a:cubicBezTo>
                <a:lnTo>
                  <a:pt x="1146" y="130"/>
                </a:lnTo>
                <a:close/>
                <a:moveTo>
                  <a:pt x="373" y="106"/>
                </a:moveTo>
                <a:cubicBezTo>
                  <a:pt x="369" y="100"/>
                  <a:pt x="369" y="100"/>
                  <a:pt x="369" y="100"/>
                </a:cubicBezTo>
                <a:cubicBezTo>
                  <a:pt x="383" y="91"/>
                  <a:pt x="398" y="84"/>
                  <a:pt x="412" y="77"/>
                </a:cubicBezTo>
                <a:cubicBezTo>
                  <a:pt x="416" y="84"/>
                  <a:pt x="416" y="84"/>
                  <a:pt x="416" y="84"/>
                </a:cubicBezTo>
                <a:cubicBezTo>
                  <a:pt x="401" y="91"/>
                  <a:pt x="387" y="98"/>
                  <a:pt x="373" y="106"/>
                </a:cubicBezTo>
                <a:close/>
                <a:moveTo>
                  <a:pt x="1063" y="83"/>
                </a:moveTo>
                <a:cubicBezTo>
                  <a:pt x="1049" y="76"/>
                  <a:pt x="1034" y="69"/>
                  <a:pt x="1019" y="63"/>
                </a:cubicBezTo>
                <a:cubicBezTo>
                  <a:pt x="1022" y="56"/>
                  <a:pt x="1022" y="56"/>
                  <a:pt x="1022" y="56"/>
                </a:cubicBezTo>
                <a:cubicBezTo>
                  <a:pt x="1037" y="62"/>
                  <a:pt x="1052" y="68"/>
                  <a:pt x="1066" y="75"/>
                </a:cubicBezTo>
                <a:lnTo>
                  <a:pt x="1063" y="83"/>
                </a:lnTo>
                <a:close/>
                <a:moveTo>
                  <a:pt x="459" y="64"/>
                </a:moveTo>
                <a:cubicBezTo>
                  <a:pt x="456" y="57"/>
                  <a:pt x="456" y="57"/>
                  <a:pt x="456" y="57"/>
                </a:cubicBezTo>
                <a:cubicBezTo>
                  <a:pt x="471" y="50"/>
                  <a:pt x="486" y="45"/>
                  <a:pt x="501" y="39"/>
                </a:cubicBezTo>
                <a:cubicBezTo>
                  <a:pt x="504" y="47"/>
                  <a:pt x="504" y="47"/>
                  <a:pt x="504" y="47"/>
                </a:cubicBezTo>
                <a:cubicBezTo>
                  <a:pt x="489" y="52"/>
                  <a:pt x="474" y="58"/>
                  <a:pt x="459" y="64"/>
                </a:cubicBezTo>
                <a:close/>
                <a:moveTo>
                  <a:pt x="974" y="46"/>
                </a:moveTo>
                <a:cubicBezTo>
                  <a:pt x="959" y="41"/>
                  <a:pt x="944" y="36"/>
                  <a:pt x="928" y="32"/>
                </a:cubicBezTo>
                <a:cubicBezTo>
                  <a:pt x="930" y="25"/>
                  <a:pt x="930" y="25"/>
                  <a:pt x="930" y="25"/>
                </a:cubicBezTo>
                <a:cubicBezTo>
                  <a:pt x="946" y="29"/>
                  <a:pt x="962" y="33"/>
                  <a:pt x="977" y="39"/>
                </a:cubicBezTo>
                <a:lnTo>
                  <a:pt x="974" y="46"/>
                </a:lnTo>
                <a:close/>
                <a:moveTo>
                  <a:pt x="550" y="33"/>
                </a:moveTo>
                <a:cubicBezTo>
                  <a:pt x="548" y="25"/>
                  <a:pt x="548" y="25"/>
                  <a:pt x="548" y="25"/>
                </a:cubicBezTo>
                <a:cubicBezTo>
                  <a:pt x="563" y="21"/>
                  <a:pt x="579" y="17"/>
                  <a:pt x="595" y="14"/>
                </a:cubicBezTo>
                <a:cubicBezTo>
                  <a:pt x="596" y="22"/>
                  <a:pt x="596" y="22"/>
                  <a:pt x="596" y="22"/>
                </a:cubicBezTo>
                <a:cubicBezTo>
                  <a:pt x="581" y="25"/>
                  <a:pt x="565" y="29"/>
                  <a:pt x="550" y="33"/>
                </a:cubicBezTo>
                <a:close/>
                <a:moveTo>
                  <a:pt x="882" y="22"/>
                </a:moveTo>
                <a:cubicBezTo>
                  <a:pt x="866" y="19"/>
                  <a:pt x="850" y="16"/>
                  <a:pt x="835" y="14"/>
                </a:cubicBezTo>
                <a:cubicBezTo>
                  <a:pt x="836" y="6"/>
                  <a:pt x="836" y="6"/>
                  <a:pt x="836" y="6"/>
                </a:cubicBezTo>
                <a:cubicBezTo>
                  <a:pt x="851" y="8"/>
                  <a:pt x="868" y="11"/>
                  <a:pt x="883" y="14"/>
                </a:cubicBezTo>
                <a:lnTo>
                  <a:pt x="882" y="22"/>
                </a:lnTo>
                <a:close/>
                <a:moveTo>
                  <a:pt x="643" y="14"/>
                </a:moveTo>
                <a:cubicBezTo>
                  <a:pt x="642" y="6"/>
                  <a:pt x="642" y="6"/>
                  <a:pt x="642" y="6"/>
                </a:cubicBezTo>
                <a:cubicBezTo>
                  <a:pt x="658" y="4"/>
                  <a:pt x="674" y="3"/>
                  <a:pt x="691" y="2"/>
                </a:cubicBezTo>
                <a:cubicBezTo>
                  <a:pt x="691" y="10"/>
                  <a:pt x="691" y="10"/>
                  <a:pt x="691" y="10"/>
                </a:cubicBezTo>
                <a:cubicBezTo>
                  <a:pt x="675" y="11"/>
                  <a:pt x="659" y="12"/>
                  <a:pt x="643" y="14"/>
                </a:cubicBezTo>
                <a:close/>
                <a:moveTo>
                  <a:pt x="787" y="9"/>
                </a:moveTo>
                <a:cubicBezTo>
                  <a:pt x="771" y="8"/>
                  <a:pt x="756" y="8"/>
                  <a:pt x="740" y="8"/>
                </a:cubicBezTo>
                <a:cubicBezTo>
                  <a:pt x="739" y="8"/>
                  <a:pt x="739" y="8"/>
                  <a:pt x="739" y="8"/>
                </a:cubicBezTo>
                <a:cubicBezTo>
                  <a:pt x="739" y="0"/>
                  <a:pt x="739" y="0"/>
                  <a:pt x="739" y="0"/>
                </a:cubicBezTo>
                <a:cubicBezTo>
                  <a:pt x="740" y="0"/>
                  <a:pt x="740" y="0"/>
                  <a:pt x="740" y="0"/>
                </a:cubicBezTo>
                <a:cubicBezTo>
                  <a:pt x="756" y="0"/>
                  <a:pt x="772" y="0"/>
                  <a:pt x="787" y="1"/>
                </a:cubicBezTo>
                <a:lnTo>
                  <a:pt x="787" y="9"/>
                </a:lnTo>
                <a:close/>
              </a:path>
            </a:pathLst>
          </a:custGeom>
          <a:solidFill>
            <a:srgbClr val="E6E6E6"/>
          </a:solidFill>
          <a:ln>
            <a:noFill/>
          </a:ln>
          <a:extLst>
            <a:ext uri="{91240B29-F687-4F45-9708-019B960494DF}">
              <a14:hiddenLine w="9525">
                <a:solidFill>
                  <a:srgbClr val="000000"/>
                </a:solidFill>
                <a:round/>
                <a:headEnd/>
                <a:tailEnd/>
              </a14:hiddenLine>
            </a:ext>
          </a:extLst>
        </p:spPr>
        <p:txBody>
          <a:bodyPr anchor="ctr"/>
          <a:lstStyle/>
          <a:p>
            <a:pPr algn="ctr"/>
            <a:endParaRPr/>
          </a:p>
        </p:txBody>
      </p:sp>
      <p:sp>
        <p:nvSpPr>
          <p:cNvPr id="121" name="Title 20">
            <a:extLst>
              <a:ext uri="{FF2B5EF4-FFF2-40B4-BE49-F238E27FC236}">
                <a16:creationId xmlns:a16="http://schemas.microsoft.com/office/drawing/2014/main" id="{34BDE0BF-A628-455A-BB7D-C8A102BA69A9}"/>
              </a:ext>
            </a:extLst>
          </p:cNvPr>
          <p:cNvSpPr txBox="1"/>
          <p:nvPr/>
        </p:nvSpPr>
        <p:spPr>
          <a:xfrm>
            <a:off x="1583313" y="2986862"/>
            <a:ext cx="2545581" cy="985482"/>
          </a:xfrm>
          <a:prstGeom prst="rect">
            <a:avLst/>
          </a:prstGeom>
        </p:spPr>
        <p:txBody>
          <a:bodyPr anchor="t" bIns="81261" lIns="162524" rIns="162524" rtlCol="0" tIns="81261" vert="horz" wrap="square">
            <a:spAutoFit/>
          </a:bodyPr>
          <a:lstStyle>
            <a:lvl1pPr algn="ctr" defTabSz="457200" eaLnBrk="1" hangingPunct="1" latinLnBrk="0" rtl="0">
              <a:spcBef>
                <a:spcPct val="0"/>
              </a:spcBef>
              <a:buNone/>
              <a:defRPr kern="1200" sz="2900">
                <a:solidFill>
                  <a:schemeClr val="accent6"/>
                </a:solidFill>
                <a:latin typeface="Source Sans Pro ExtraLight"/>
                <a:ea typeface="+mj-ea"/>
                <a:cs typeface="Source Sans Pro ExtraLight"/>
              </a:defRPr>
            </a:lvl1pPr>
          </a:lstStyle>
          <a:p>
            <a:pPr algn="l">
              <a:lnSpc>
                <a:spcPct val="150000"/>
              </a:lnSpc>
            </a:pPr>
            <a:r>
              <a:rPr altLang="en-US" lang="zh-CN" sz="1200">
                <a:solidFill>
                  <a:schemeClr val="tx1">
                    <a:lumMod val="75000"/>
                    <a:lumOff val="25000"/>
                  </a:schemeClr>
                </a:solidFill>
                <a:latin typeface="+mn-ea"/>
                <a:ea typeface="+mn-ea"/>
              </a:rPr>
              <a:t>这里可以添加主要内容这里可以添加主要内容</a:t>
            </a:r>
          </a:p>
          <a:p>
            <a:pPr algn="l">
              <a:lnSpc>
                <a:spcPct val="150000"/>
              </a:lnSpc>
            </a:pPr>
            <a:r>
              <a:rPr altLang="en-US" lang="zh-CN" sz="1200">
                <a:solidFill>
                  <a:schemeClr val="tx1">
                    <a:lumMod val="75000"/>
                    <a:lumOff val="25000"/>
                  </a:schemeClr>
                </a:solidFill>
                <a:latin typeface="+mn-ea"/>
                <a:ea typeface="+mn-ea"/>
              </a:rPr>
              <a:t>……</a:t>
            </a:r>
          </a:p>
        </p:txBody>
      </p:sp>
      <p:sp>
        <p:nvSpPr>
          <p:cNvPr id="122" name="Title 20">
            <a:extLst>
              <a:ext uri="{FF2B5EF4-FFF2-40B4-BE49-F238E27FC236}">
                <a16:creationId xmlns:a16="http://schemas.microsoft.com/office/drawing/2014/main" id="{D2F9CD8E-3F8C-4B3C-8F76-7BE4B000422B}"/>
              </a:ext>
            </a:extLst>
          </p:cNvPr>
          <p:cNvSpPr txBox="1"/>
          <p:nvPr/>
        </p:nvSpPr>
        <p:spPr>
          <a:xfrm>
            <a:off x="1583313" y="2578452"/>
            <a:ext cx="2397733" cy="406451"/>
          </a:xfrm>
          <a:prstGeom prst="rect">
            <a:avLst/>
          </a:prstGeom>
        </p:spPr>
        <p:txBody>
          <a:bodyPr anchor="ctr" bIns="0" lIns="162524" rIns="162524" rtlCol="0" tIns="0" vert="horz" wrap="square">
            <a:spAutoFit/>
          </a:bodyPr>
          <a:lstStyle>
            <a:defPPr>
              <a:defRPr lang="zh-CN"/>
            </a:defPPr>
            <a:lvl1pPr defTabSz="457200">
              <a:spcBef>
                <a:spcPct val="0"/>
              </a:spcBef>
              <a:buNone/>
              <a:defRPr b="1">
                <a:solidFill>
                  <a:srgbClr val="424B58"/>
                </a:solidFill>
                <a:latin typeface="+mn-ea"/>
                <a:cs typeface="Lato Regular"/>
              </a:defRPr>
            </a:lvl1pPr>
          </a:lstStyle>
          <a:p>
            <a:r>
              <a:rPr altLang="en-US" lang="zh-CN" sz="2667">
                <a:solidFill>
                  <a:schemeClr val="tx1">
                    <a:lumMod val="85000"/>
                    <a:lumOff val="15000"/>
                  </a:schemeClr>
                </a:solidFill>
              </a:rPr>
              <a:t>标题文本</a:t>
            </a:r>
          </a:p>
        </p:txBody>
      </p:sp>
      <p:grpSp>
        <p:nvGrpSpPr>
          <p:cNvPr id="137" name="组合 136">
            <a:extLst>
              <a:ext uri="{FF2B5EF4-FFF2-40B4-BE49-F238E27FC236}">
                <a16:creationId xmlns:a16="http://schemas.microsoft.com/office/drawing/2014/main" id="{8E8EDFA1-0E99-4DF4-8A97-D5FBEFBC3E17}"/>
              </a:ext>
            </a:extLst>
          </p:cNvPr>
          <p:cNvGrpSpPr/>
          <p:nvPr/>
        </p:nvGrpSpPr>
        <p:grpSpPr>
          <a:xfrm>
            <a:off x="4753052" y="2532925"/>
            <a:ext cx="1795463" cy="1022350"/>
            <a:chOff x="4753052" y="2532925"/>
            <a:chExt cx="1795463" cy="1022350"/>
          </a:xfrm>
        </p:grpSpPr>
        <p:sp>
          <p:nvSpPr>
            <p:cNvPr id="73" name="ï$ḷíḋé">
              <a:extLst>
                <a:ext uri="{FF2B5EF4-FFF2-40B4-BE49-F238E27FC236}">
                  <a16:creationId xmlns:a16="http://schemas.microsoft.com/office/drawing/2014/main" id="{C34D95A9-B8A5-4238-9978-E461B84BABC2}"/>
                </a:ext>
              </a:extLst>
            </p:cNvPr>
            <p:cNvSpPr/>
            <p:nvPr/>
          </p:nvSpPr>
          <p:spPr bwMode="auto">
            <a:xfrm>
              <a:off x="4759402" y="2539275"/>
              <a:ext cx="1782763" cy="1009650"/>
            </a:xfrm>
            <a:prstGeom prst="rect">
              <a:avLst/>
            </a:prstGeom>
            <a:solidFill>
              <a:srgbClr val="F2F2F2"/>
            </a:solidFill>
            <a:ln>
              <a:noFill/>
            </a:ln>
            <a:extLst>
              <a:ext uri="{91240B29-F687-4F45-9708-019B960494DF}">
                <a14:hiddenLine w="9525">
                  <a:solidFill>
                    <a:srgbClr val="000000"/>
                  </a:solidFill>
                  <a:miter lim="800000"/>
                  <a:headEnd/>
                  <a:tailEnd/>
                </a14:hiddenLine>
              </a:ext>
            </a:extLst>
          </p:spPr>
          <p:txBody>
            <a:bodyPr anchor="ctr"/>
            <a:lstStyle/>
            <a:p>
              <a:pPr algn="ctr"/>
              <a:endParaRPr/>
            </a:p>
          </p:txBody>
        </p:sp>
        <p:sp>
          <p:nvSpPr>
            <p:cNvPr id="74" name="ïṥľîḋè">
              <a:extLst>
                <a:ext uri="{FF2B5EF4-FFF2-40B4-BE49-F238E27FC236}">
                  <a16:creationId xmlns:a16="http://schemas.microsoft.com/office/drawing/2014/main" id="{CBF77564-9691-451B-AFB2-1914FD071BAC}"/>
                </a:ext>
              </a:extLst>
            </p:cNvPr>
            <p:cNvSpPr/>
            <p:nvPr/>
          </p:nvSpPr>
          <p:spPr bwMode="auto">
            <a:xfrm>
              <a:off x="4829579" y="2607537"/>
              <a:ext cx="328613" cy="327025"/>
            </a:xfrm>
            <a:prstGeom prst="ellipse">
              <a:avLst/>
            </a:prstGeom>
            <a:solidFill>
              <a:srgbClr val="FFFFFF"/>
            </a:solidFill>
            <a:ln>
              <a:noFill/>
            </a:ln>
            <a:extLst>
              <a:ext uri="{91240B29-F687-4F45-9708-019B960494DF}">
                <a14:hiddenLine w="9525">
                  <a:solidFill>
                    <a:srgbClr val="000000"/>
                  </a:solidFill>
                  <a:round/>
                  <a:headEnd/>
                  <a:tailEnd/>
                </a14:hiddenLine>
              </a:ext>
            </a:extLst>
          </p:spPr>
          <p:txBody>
            <a:bodyPr anchor="ctr"/>
            <a:lstStyle/>
            <a:p>
              <a:pPr algn="ctr"/>
              <a:endParaRPr/>
            </a:p>
          </p:txBody>
        </p:sp>
        <p:sp>
          <p:nvSpPr>
            <p:cNvPr id="81" name="ïŝ1iḑe">
              <a:extLst>
                <a:ext uri="{FF2B5EF4-FFF2-40B4-BE49-F238E27FC236}">
                  <a16:creationId xmlns:a16="http://schemas.microsoft.com/office/drawing/2014/main" id="{BDA72C98-EA4D-4050-94B2-C474B7E8938C}"/>
                </a:ext>
              </a:extLst>
            </p:cNvPr>
            <p:cNvSpPr/>
            <p:nvPr/>
          </p:nvSpPr>
          <p:spPr bwMode="auto">
            <a:xfrm>
              <a:off x="4753052" y="2532925"/>
              <a:ext cx="1795463" cy="1022350"/>
            </a:xfrm>
            <a:custGeom>
              <a:gdLst>
                <a:gd fmla="*/ 724 w 1131" name="T0"/>
                <a:gd fmla="*/ 644 h 644" name="T1"/>
                <a:gd fmla="*/ 0 w 1131" name="T2"/>
                <a:gd fmla="*/ 644 h 644" name="T3"/>
                <a:gd fmla="*/ 0 w 1131" name="T4"/>
                <a:gd fmla="*/ 0 h 644" name="T5"/>
                <a:gd fmla="*/ 1131 w 1131" name="T6"/>
                <a:gd fmla="*/ 0 h 644" name="T7"/>
                <a:gd fmla="*/ 1131 w 1131" name="T8"/>
                <a:gd fmla="*/ 253 h 644" name="T9"/>
                <a:gd fmla="*/ 1122 w 1131" name="T10"/>
                <a:gd fmla="*/ 253 h 644" name="T11"/>
                <a:gd fmla="*/ 1122 w 1131" name="T12"/>
                <a:gd fmla="*/ 9 h 644" name="T13"/>
                <a:gd fmla="*/ 8 w 1131" name="T14"/>
                <a:gd fmla="*/ 9 h 644" name="T15"/>
                <a:gd fmla="*/ 8 w 1131" name="T16"/>
                <a:gd fmla="*/ 636 h 644" name="T17"/>
                <a:gd fmla="*/ 724 w 1131" name="T18"/>
                <a:gd fmla="*/ 636 h 644" name="T19"/>
                <a:gd fmla="*/ 724 w 1131" name="T20"/>
                <a:gd fmla="*/ 644 h 644" name="T2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b="b" l="0" r="r" t="0"/>
              <a:pathLst>
                <a:path h="644" w="1131">
                  <a:moveTo>
                    <a:pt x="724" y="644"/>
                  </a:moveTo>
                  <a:lnTo>
                    <a:pt x="0" y="644"/>
                  </a:lnTo>
                  <a:lnTo>
                    <a:pt x="0" y="0"/>
                  </a:lnTo>
                  <a:lnTo>
                    <a:pt x="1131" y="0"/>
                  </a:lnTo>
                  <a:lnTo>
                    <a:pt x="1131" y="253"/>
                  </a:lnTo>
                  <a:lnTo>
                    <a:pt x="1122" y="253"/>
                  </a:lnTo>
                  <a:lnTo>
                    <a:pt x="1122" y="9"/>
                  </a:lnTo>
                  <a:lnTo>
                    <a:pt x="8" y="9"/>
                  </a:lnTo>
                  <a:lnTo>
                    <a:pt x="8" y="636"/>
                  </a:lnTo>
                  <a:lnTo>
                    <a:pt x="724" y="636"/>
                  </a:lnTo>
                  <a:lnTo>
                    <a:pt x="724" y="644"/>
                  </a:lnTo>
                  <a:close/>
                </a:path>
              </a:pathLst>
            </a:custGeom>
            <a:solidFill>
              <a:srgbClr val="3F3D56"/>
            </a:solidFill>
            <a:ln>
              <a:noFill/>
            </a:ln>
            <a:extLst>
              <a:ext uri="{91240B29-F687-4F45-9708-019B960494DF}">
                <a14:hiddenLine w="9525">
                  <a:solidFill>
                    <a:srgbClr val="000000"/>
                  </a:solidFill>
                  <a:round/>
                  <a:headEnd/>
                  <a:tailEnd/>
                </a14:hiddenLine>
              </a:ext>
            </a:extLst>
          </p:spPr>
          <p:txBody>
            <a:bodyPr anchor="ctr"/>
            <a:lstStyle/>
            <a:p>
              <a:pPr algn="ctr"/>
              <a:endParaRPr/>
            </a:p>
          </p:txBody>
        </p:sp>
        <p:sp>
          <p:nvSpPr>
            <p:cNvPr id="120" name="ïsḷiḍê">
              <a:extLst>
                <a:ext uri="{FF2B5EF4-FFF2-40B4-BE49-F238E27FC236}">
                  <a16:creationId xmlns:a16="http://schemas.microsoft.com/office/drawing/2014/main" id="{09640623-6ACC-49D6-A1A5-29F1ADE9065A}"/>
                </a:ext>
              </a:extLst>
            </p:cNvPr>
            <p:cNvSpPr/>
            <p:nvPr/>
          </p:nvSpPr>
          <p:spPr bwMode="auto">
            <a:xfrm>
              <a:off x="5241216" y="2907976"/>
              <a:ext cx="941388" cy="53975"/>
            </a:xfrm>
            <a:prstGeom prst="rect">
              <a:avLst/>
            </a:prstGeom>
            <a:solidFill>
              <a:srgbClr val="FFFFFF"/>
            </a:solidFill>
            <a:ln>
              <a:noFill/>
            </a:ln>
            <a:extLst>
              <a:ext uri="{91240B29-F687-4F45-9708-019B960494DF}">
                <a14:hiddenLine w="9525">
                  <a:solidFill>
                    <a:srgbClr val="000000"/>
                  </a:solidFill>
                  <a:miter lim="800000"/>
                  <a:headEnd/>
                  <a:tailEnd/>
                </a14:hiddenLine>
              </a:ext>
            </a:extLst>
          </p:spPr>
          <p:txBody>
            <a:bodyPr anchor="ctr"/>
            <a:lstStyle/>
            <a:p>
              <a:pPr algn="ctr"/>
              <a:endParaRPr/>
            </a:p>
          </p:txBody>
        </p:sp>
        <p:grpSp>
          <p:nvGrpSpPr>
            <p:cNvPr id="124" name="Group 9">
              <a:extLst>
                <a:ext uri="{FF2B5EF4-FFF2-40B4-BE49-F238E27FC236}">
                  <a16:creationId xmlns:a16="http://schemas.microsoft.com/office/drawing/2014/main" id="{6A2D8854-974B-4EBB-9D37-93472AFB88A5}"/>
                </a:ext>
              </a:extLst>
            </p:cNvPr>
            <p:cNvGrpSpPr/>
            <p:nvPr/>
          </p:nvGrpSpPr>
          <p:grpSpPr>
            <a:xfrm>
              <a:off x="4925502" y="2635221"/>
              <a:ext cx="1517472" cy="719877"/>
              <a:chOff x="1102018" y="2458905"/>
              <a:chExt cx="1517472" cy="719879"/>
            </a:xfrm>
          </p:grpSpPr>
          <p:sp>
            <p:nvSpPr>
              <p:cNvPr id="125" name="TextBox 56">
                <a:extLst>
                  <a:ext uri="{FF2B5EF4-FFF2-40B4-BE49-F238E27FC236}">
                    <a16:creationId xmlns:a16="http://schemas.microsoft.com/office/drawing/2014/main" id="{AD782B48-8D29-4940-B073-68AE75D6CEC9}"/>
                  </a:ext>
                </a:extLst>
              </p:cNvPr>
              <p:cNvSpPr txBox="1"/>
              <p:nvPr/>
            </p:nvSpPr>
            <p:spPr>
              <a:xfrm>
                <a:off x="1464515" y="2458905"/>
                <a:ext cx="792480" cy="274320"/>
              </a:xfrm>
              <a:prstGeom prst="rect">
                <a:avLst/>
              </a:prstGeom>
              <a:noFill/>
            </p:spPr>
            <p:txBody>
              <a:bodyPr rtlCol="0" wrap="none">
                <a:spAutoFit/>
              </a:bodyPr>
              <a:lstStyle/>
              <a:p>
                <a:pPr algn="ctr" defTabSz="1219110"/>
                <a:r>
                  <a:rPr altLang="en-US" b="1" lang="zh-CN" sz="1200">
                    <a:solidFill>
                      <a:schemeClr val="tx1">
                        <a:lumMod val="75000"/>
                        <a:lumOff val="25000"/>
                      </a:schemeClr>
                    </a:solidFill>
                    <a:latin panose="020f0502020204030204" typeface="等线"/>
                  </a:rPr>
                  <a:t>标题文本</a:t>
                </a:r>
              </a:p>
            </p:txBody>
          </p:sp>
          <p:sp>
            <p:nvSpPr>
              <p:cNvPr id="126" name="Rectangle 58">
                <a:extLst>
                  <a:ext uri="{FF2B5EF4-FFF2-40B4-BE49-F238E27FC236}">
                    <a16:creationId xmlns:a16="http://schemas.microsoft.com/office/drawing/2014/main" id="{29D55C2C-F260-4C10-9FA8-EE05C7595F4A}"/>
                  </a:ext>
                </a:extLst>
              </p:cNvPr>
              <p:cNvSpPr/>
              <p:nvPr/>
            </p:nvSpPr>
            <p:spPr>
              <a:xfrm>
                <a:off x="1102018" y="2735905"/>
                <a:ext cx="1517472" cy="457200"/>
              </a:xfrm>
              <a:prstGeom prst="rect">
                <a:avLst/>
              </a:prstGeom>
            </p:spPr>
            <p:txBody>
              <a:bodyPr wrap="square">
                <a:spAutoFit/>
              </a:bodyPr>
              <a:lstStyle/>
              <a:p>
                <a:pPr algn="ctr">
                  <a:lnSpc>
                    <a:spcPct val="150000"/>
                  </a:lnSpc>
                </a:pPr>
                <a:r>
                  <a:rPr altLang="en-US" lang="zh-CN" sz="800">
                    <a:solidFill>
                      <a:schemeClr val="tx1">
                        <a:lumMod val="75000"/>
                        <a:lumOff val="25000"/>
                      </a:schemeClr>
                    </a:solidFill>
                    <a:latin typeface="+mn-ea"/>
                  </a:rPr>
                  <a:t>这里可以添加主要内容这里可以添加主要内容</a:t>
                </a:r>
              </a:p>
            </p:txBody>
          </p:sp>
        </p:grpSp>
      </p:grpSp>
      <p:grpSp>
        <p:nvGrpSpPr>
          <p:cNvPr id="138" name="组合 137">
            <a:extLst>
              <a:ext uri="{FF2B5EF4-FFF2-40B4-BE49-F238E27FC236}">
                <a16:creationId xmlns:a16="http://schemas.microsoft.com/office/drawing/2014/main" id="{D4EAD990-91F8-41A5-9462-6567B1C98BA3}"/>
              </a:ext>
            </a:extLst>
          </p:cNvPr>
          <p:cNvGrpSpPr/>
          <p:nvPr/>
        </p:nvGrpSpPr>
        <p:grpSpPr>
          <a:xfrm>
            <a:off x="7211621" y="2091150"/>
            <a:ext cx="1795463" cy="1022350"/>
            <a:chOff x="7211621" y="2091150"/>
            <a:chExt cx="1795463" cy="1022350"/>
          </a:xfrm>
        </p:grpSpPr>
        <p:sp>
          <p:nvSpPr>
            <p:cNvPr id="116" name="ï$ḷíḋé">
              <a:extLst>
                <a:ext uri="{FF2B5EF4-FFF2-40B4-BE49-F238E27FC236}">
                  <a16:creationId xmlns:a16="http://schemas.microsoft.com/office/drawing/2014/main" id="{95BCA19D-40FF-4BD5-8A0E-2D2308503BD4}"/>
                </a:ext>
              </a:extLst>
            </p:cNvPr>
            <p:cNvSpPr/>
            <p:nvPr/>
          </p:nvSpPr>
          <p:spPr bwMode="auto">
            <a:xfrm>
              <a:off x="7217971" y="2097500"/>
              <a:ext cx="1782763" cy="1009650"/>
            </a:xfrm>
            <a:prstGeom prst="rect">
              <a:avLst/>
            </a:prstGeom>
            <a:solidFill>
              <a:srgbClr val="F2F2F2"/>
            </a:solidFill>
            <a:ln>
              <a:noFill/>
            </a:ln>
            <a:extLst>
              <a:ext uri="{91240B29-F687-4F45-9708-019B960494DF}">
                <a14:hiddenLine w="9525">
                  <a:solidFill>
                    <a:srgbClr val="000000"/>
                  </a:solidFill>
                  <a:miter lim="800000"/>
                  <a:headEnd/>
                  <a:tailEnd/>
                </a14:hiddenLine>
              </a:ext>
            </a:extLst>
          </p:spPr>
          <p:txBody>
            <a:bodyPr anchor="ctr"/>
            <a:lstStyle/>
            <a:p>
              <a:pPr algn="ctr"/>
              <a:endParaRPr/>
            </a:p>
          </p:txBody>
        </p:sp>
        <p:sp>
          <p:nvSpPr>
            <p:cNvPr id="117" name="ïŝ1iḑe">
              <a:extLst>
                <a:ext uri="{FF2B5EF4-FFF2-40B4-BE49-F238E27FC236}">
                  <a16:creationId xmlns:a16="http://schemas.microsoft.com/office/drawing/2014/main" id="{F7E46452-FED3-450C-8C48-642E943E5FAD}"/>
                </a:ext>
              </a:extLst>
            </p:cNvPr>
            <p:cNvSpPr/>
            <p:nvPr/>
          </p:nvSpPr>
          <p:spPr bwMode="auto">
            <a:xfrm>
              <a:off x="7211621" y="2091150"/>
              <a:ext cx="1795463" cy="1022350"/>
            </a:xfrm>
            <a:custGeom>
              <a:gdLst>
                <a:gd fmla="*/ 724 w 1131" name="T0"/>
                <a:gd fmla="*/ 644 h 644" name="T1"/>
                <a:gd fmla="*/ 0 w 1131" name="T2"/>
                <a:gd fmla="*/ 644 h 644" name="T3"/>
                <a:gd fmla="*/ 0 w 1131" name="T4"/>
                <a:gd fmla="*/ 0 h 644" name="T5"/>
                <a:gd fmla="*/ 1131 w 1131" name="T6"/>
                <a:gd fmla="*/ 0 h 644" name="T7"/>
                <a:gd fmla="*/ 1131 w 1131" name="T8"/>
                <a:gd fmla="*/ 253 h 644" name="T9"/>
                <a:gd fmla="*/ 1122 w 1131" name="T10"/>
                <a:gd fmla="*/ 253 h 644" name="T11"/>
                <a:gd fmla="*/ 1122 w 1131" name="T12"/>
                <a:gd fmla="*/ 9 h 644" name="T13"/>
                <a:gd fmla="*/ 8 w 1131" name="T14"/>
                <a:gd fmla="*/ 9 h 644" name="T15"/>
                <a:gd fmla="*/ 8 w 1131" name="T16"/>
                <a:gd fmla="*/ 636 h 644" name="T17"/>
                <a:gd fmla="*/ 724 w 1131" name="T18"/>
                <a:gd fmla="*/ 636 h 644" name="T19"/>
                <a:gd fmla="*/ 724 w 1131" name="T20"/>
                <a:gd fmla="*/ 644 h 644" name="T2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b="b" l="0" r="r" t="0"/>
              <a:pathLst>
                <a:path h="644" w="1131">
                  <a:moveTo>
                    <a:pt x="724" y="644"/>
                  </a:moveTo>
                  <a:lnTo>
                    <a:pt x="0" y="644"/>
                  </a:lnTo>
                  <a:lnTo>
                    <a:pt x="0" y="0"/>
                  </a:lnTo>
                  <a:lnTo>
                    <a:pt x="1131" y="0"/>
                  </a:lnTo>
                  <a:lnTo>
                    <a:pt x="1131" y="253"/>
                  </a:lnTo>
                  <a:lnTo>
                    <a:pt x="1122" y="253"/>
                  </a:lnTo>
                  <a:lnTo>
                    <a:pt x="1122" y="9"/>
                  </a:lnTo>
                  <a:lnTo>
                    <a:pt x="8" y="9"/>
                  </a:lnTo>
                  <a:lnTo>
                    <a:pt x="8" y="636"/>
                  </a:lnTo>
                  <a:lnTo>
                    <a:pt x="724" y="636"/>
                  </a:lnTo>
                  <a:lnTo>
                    <a:pt x="724" y="644"/>
                  </a:lnTo>
                  <a:close/>
                </a:path>
              </a:pathLst>
            </a:custGeom>
            <a:solidFill>
              <a:srgbClr val="3F3D56"/>
            </a:solidFill>
            <a:ln>
              <a:noFill/>
            </a:ln>
            <a:extLst>
              <a:ext uri="{91240B29-F687-4F45-9708-019B960494DF}">
                <a14:hiddenLine w="9525">
                  <a:solidFill>
                    <a:srgbClr val="000000"/>
                  </a:solidFill>
                  <a:round/>
                  <a:headEnd/>
                  <a:tailEnd/>
                </a14:hiddenLine>
              </a:ext>
            </a:extLst>
          </p:spPr>
          <p:txBody>
            <a:bodyPr anchor="ctr"/>
            <a:lstStyle/>
            <a:p>
              <a:pPr algn="ctr"/>
              <a:endParaRPr/>
            </a:p>
          </p:txBody>
        </p:sp>
        <p:sp>
          <p:nvSpPr>
            <p:cNvPr id="118" name="ïṥľîḋè">
              <a:extLst>
                <a:ext uri="{FF2B5EF4-FFF2-40B4-BE49-F238E27FC236}">
                  <a16:creationId xmlns:a16="http://schemas.microsoft.com/office/drawing/2014/main" id="{187F2053-4F7A-42BD-9DA6-B78B29FB86AC}"/>
                </a:ext>
              </a:extLst>
            </p:cNvPr>
            <p:cNvSpPr/>
            <p:nvPr/>
          </p:nvSpPr>
          <p:spPr bwMode="auto">
            <a:xfrm>
              <a:off x="7327138" y="2179098"/>
              <a:ext cx="328613" cy="327025"/>
            </a:xfrm>
            <a:prstGeom prst="ellipse">
              <a:avLst/>
            </a:prstGeom>
            <a:solidFill>
              <a:srgbClr val="FFFFFF"/>
            </a:solidFill>
            <a:ln>
              <a:noFill/>
            </a:ln>
            <a:extLst>
              <a:ext uri="{91240B29-F687-4F45-9708-019B960494DF}">
                <a14:hiddenLine w="9525">
                  <a:solidFill>
                    <a:srgbClr val="000000"/>
                  </a:solidFill>
                  <a:round/>
                  <a:headEnd/>
                  <a:tailEnd/>
                </a14:hiddenLine>
              </a:ext>
            </a:extLst>
          </p:spPr>
          <p:txBody>
            <a:bodyPr anchor="ctr"/>
            <a:lstStyle/>
            <a:p>
              <a:pPr algn="ctr"/>
              <a:endParaRPr/>
            </a:p>
          </p:txBody>
        </p:sp>
        <p:sp>
          <p:nvSpPr>
            <p:cNvPr id="119" name="ïsḷiḍê">
              <a:extLst>
                <a:ext uri="{FF2B5EF4-FFF2-40B4-BE49-F238E27FC236}">
                  <a16:creationId xmlns:a16="http://schemas.microsoft.com/office/drawing/2014/main" id="{E5962FD8-89D4-4F5C-92B2-467CFD7C282D}"/>
                </a:ext>
              </a:extLst>
            </p:cNvPr>
            <p:cNvSpPr/>
            <p:nvPr/>
          </p:nvSpPr>
          <p:spPr bwMode="auto">
            <a:xfrm>
              <a:off x="7675623" y="2486753"/>
              <a:ext cx="941388" cy="53975"/>
            </a:xfrm>
            <a:prstGeom prst="rect">
              <a:avLst/>
            </a:prstGeom>
            <a:solidFill>
              <a:srgbClr val="FFFFFF"/>
            </a:solidFill>
            <a:ln>
              <a:noFill/>
            </a:ln>
            <a:extLst>
              <a:ext uri="{91240B29-F687-4F45-9708-019B960494DF}">
                <a14:hiddenLine w="9525">
                  <a:solidFill>
                    <a:srgbClr val="000000"/>
                  </a:solidFill>
                  <a:miter lim="800000"/>
                  <a:headEnd/>
                  <a:tailEnd/>
                </a14:hiddenLine>
              </a:ext>
            </a:extLst>
          </p:spPr>
          <p:txBody>
            <a:bodyPr anchor="ctr"/>
            <a:lstStyle/>
            <a:p>
              <a:pPr algn="ctr"/>
              <a:endParaRPr/>
            </a:p>
          </p:txBody>
        </p:sp>
        <p:grpSp>
          <p:nvGrpSpPr>
            <p:cNvPr id="127" name="Group 9">
              <a:extLst>
                <a:ext uri="{FF2B5EF4-FFF2-40B4-BE49-F238E27FC236}">
                  <a16:creationId xmlns:a16="http://schemas.microsoft.com/office/drawing/2014/main" id="{28A534BE-CB3F-42A1-9399-033CD4A12829}"/>
                </a:ext>
              </a:extLst>
            </p:cNvPr>
            <p:cNvGrpSpPr/>
            <p:nvPr/>
          </p:nvGrpSpPr>
          <p:grpSpPr>
            <a:xfrm>
              <a:off x="7395866" y="2214446"/>
              <a:ext cx="1517472" cy="719877"/>
              <a:chOff x="1102018" y="2458905"/>
              <a:chExt cx="1517472" cy="719879"/>
            </a:xfrm>
          </p:grpSpPr>
          <p:sp>
            <p:nvSpPr>
              <p:cNvPr id="128" name="TextBox 56">
                <a:extLst>
                  <a:ext uri="{FF2B5EF4-FFF2-40B4-BE49-F238E27FC236}">
                    <a16:creationId xmlns:a16="http://schemas.microsoft.com/office/drawing/2014/main" id="{20738A9B-F76F-40B4-B254-EF978317CE55}"/>
                  </a:ext>
                </a:extLst>
              </p:cNvPr>
              <p:cNvSpPr txBox="1"/>
              <p:nvPr/>
            </p:nvSpPr>
            <p:spPr>
              <a:xfrm>
                <a:off x="1464514" y="2458906"/>
                <a:ext cx="792480" cy="274320"/>
              </a:xfrm>
              <a:prstGeom prst="rect">
                <a:avLst/>
              </a:prstGeom>
              <a:noFill/>
            </p:spPr>
            <p:txBody>
              <a:bodyPr rtlCol="0" wrap="none">
                <a:spAutoFit/>
              </a:bodyPr>
              <a:lstStyle/>
              <a:p>
                <a:pPr algn="ctr" defTabSz="1219110"/>
                <a:r>
                  <a:rPr altLang="en-US" b="1" lang="zh-CN" sz="1200">
                    <a:solidFill>
                      <a:schemeClr val="tx1">
                        <a:lumMod val="75000"/>
                        <a:lumOff val="25000"/>
                      </a:schemeClr>
                    </a:solidFill>
                    <a:latin panose="020f0502020204030204" typeface="等线"/>
                  </a:rPr>
                  <a:t>标题文本</a:t>
                </a:r>
              </a:p>
            </p:txBody>
          </p:sp>
          <p:sp>
            <p:nvSpPr>
              <p:cNvPr id="129" name="Rectangle 58">
                <a:extLst>
                  <a:ext uri="{FF2B5EF4-FFF2-40B4-BE49-F238E27FC236}">
                    <a16:creationId xmlns:a16="http://schemas.microsoft.com/office/drawing/2014/main" id="{68E39FAB-0DD4-4C38-A801-79C10592B6A1}"/>
                  </a:ext>
                </a:extLst>
              </p:cNvPr>
              <p:cNvSpPr/>
              <p:nvPr/>
            </p:nvSpPr>
            <p:spPr>
              <a:xfrm>
                <a:off x="1102018" y="2735905"/>
                <a:ext cx="1517472" cy="457200"/>
              </a:xfrm>
              <a:prstGeom prst="rect">
                <a:avLst/>
              </a:prstGeom>
            </p:spPr>
            <p:txBody>
              <a:bodyPr wrap="square">
                <a:spAutoFit/>
              </a:bodyPr>
              <a:lstStyle/>
              <a:p>
                <a:pPr algn="ctr">
                  <a:lnSpc>
                    <a:spcPct val="150000"/>
                  </a:lnSpc>
                </a:pPr>
                <a:r>
                  <a:rPr altLang="en-US" lang="zh-CN" sz="800">
                    <a:solidFill>
                      <a:schemeClr val="tx1">
                        <a:lumMod val="75000"/>
                        <a:lumOff val="25000"/>
                      </a:schemeClr>
                    </a:solidFill>
                    <a:latin typeface="+mn-ea"/>
                  </a:rPr>
                  <a:t>这里可以添加主要内容这里可以添加主要内容</a:t>
                </a:r>
              </a:p>
            </p:txBody>
          </p:sp>
        </p:grpSp>
      </p:grpSp>
      <p:grpSp>
        <p:nvGrpSpPr>
          <p:cNvPr id="140" name="组合 139">
            <a:extLst>
              <a:ext uri="{FF2B5EF4-FFF2-40B4-BE49-F238E27FC236}">
                <a16:creationId xmlns:a16="http://schemas.microsoft.com/office/drawing/2014/main" id="{895C3078-9A29-40C0-AF96-A055698E1993}"/>
              </a:ext>
            </a:extLst>
          </p:cNvPr>
          <p:cNvGrpSpPr/>
          <p:nvPr/>
        </p:nvGrpSpPr>
        <p:grpSpPr>
          <a:xfrm>
            <a:off x="8732045" y="3346581"/>
            <a:ext cx="1795463" cy="1022350"/>
            <a:chOff x="8732045" y="3346581"/>
            <a:chExt cx="1795463" cy="1022350"/>
          </a:xfrm>
        </p:grpSpPr>
        <p:sp>
          <p:nvSpPr>
            <p:cNvPr id="105" name="ï$ḷíḋé">
              <a:extLst>
                <a:ext uri="{FF2B5EF4-FFF2-40B4-BE49-F238E27FC236}">
                  <a16:creationId xmlns:a16="http://schemas.microsoft.com/office/drawing/2014/main" id="{FD385ADE-6496-4151-9C4D-774E6F765C5D}"/>
                </a:ext>
              </a:extLst>
            </p:cNvPr>
            <p:cNvSpPr/>
            <p:nvPr/>
          </p:nvSpPr>
          <p:spPr bwMode="auto">
            <a:xfrm>
              <a:off x="8738395" y="3352931"/>
              <a:ext cx="1782763" cy="1009650"/>
            </a:xfrm>
            <a:prstGeom prst="rect">
              <a:avLst/>
            </a:prstGeom>
            <a:solidFill>
              <a:srgbClr val="F2F2F2"/>
            </a:solidFill>
            <a:ln>
              <a:noFill/>
            </a:ln>
            <a:extLst>
              <a:ext uri="{91240B29-F687-4F45-9708-019B960494DF}">
                <a14:hiddenLine w="9525">
                  <a:solidFill>
                    <a:srgbClr val="000000"/>
                  </a:solidFill>
                  <a:miter lim="800000"/>
                  <a:headEnd/>
                  <a:tailEnd/>
                </a14:hiddenLine>
              </a:ext>
            </a:extLst>
          </p:spPr>
          <p:txBody>
            <a:bodyPr anchor="ctr"/>
            <a:lstStyle/>
            <a:p>
              <a:pPr algn="ctr"/>
              <a:endParaRPr/>
            </a:p>
          </p:txBody>
        </p:sp>
        <p:sp>
          <p:nvSpPr>
            <p:cNvPr id="106" name="ïṥľîḋè">
              <a:extLst>
                <a:ext uri="{FF2B5EF4-FFF2-40B4-BE49-F238E27FC236}">
                  <a16:creationId xmlns:a16="http://schemas.microsoft.com/office/drawing/2014/main" id="{6C50F9DC-E837-4D5A-8B6E-CD9E14E8ABF7}"/>
                </a:ext>
              </a:extLst>
            </p:cNvPr>
            <p:cNvSpPr/>
            <p:nvPr/>
          </p:nvSpPr>
          <p:spPr bwMode="auto">
            <a:xfrm>
              <a:off x="8808572" y="3421193"/>
              <a:ext cx="328613" cy="327025"/>
            </a:xfrm>
            <a:prstGeom prst="ellipse">
              <a:avLst/>
            </a:prstGeom>
            <a:solidFill>
              <a:srgbClr val="FFFFFF"/>
            </a:solidFill>
            <a:ln>
              <a:noFill/>
            </a:ln>
            <a:extLst>
              <a:ext uri="{91240B29-F687-4F45-9708-019B960494DF}">
                <a14:hiddenLine w="9525">
                  <a:solidFill>
                    <a:srgbClr val="000000"/>
                  </a:solidFill>
                  <a:round/>
                  <a:headEnd/>
                  <a:tailEnd/>
                </a14:hiddenLine>
              </a:ext>
            </a:extLst>
          </p:spPr>
          <p:txBody>
            <a:bodyPr anchor="ctr"/>
            <a:lstStyle/>
            <a:p>
              <a:pPr algn="ctr"/>
              <a:endParaRPr/>
            </a:p>
          </p:txBody>
        </p:sp>
        <p:sp>
          <p:nvSpPr>
            <p:cNvPr id="108" name="ïsḷiḍê">
              <a:extLst>
                <a:ext uri="{FF2B5EF4-FFF2-40B4-BE49-F238E27FC236}">
                  <a16:creationId xmlns:a16="http://schemas.microsoft.com/office/drawing/2014/main" id="{D33BF95C-02B7-484B-ACC3-3BD2A5ABBBD3}"/>
                </a:ext>
              </a:extLst>
            </p:cNvPr>
            <p:cNvSpPr/>
            <p:nvPr/>
          </p:nvSpPr>
          <p:spPr bwMode="auto">
            <a:xfrm>
              <a:off x="9232434" y="3694243"/>
              <a:ext cx="941388" cy="53975"/>
            </a:xfrm>
            <a:prstGeom prst="rect">
              <a:avLst/>
            </a:prstGeom>
            <a:solidFill>
              <a:srgbClr val="FFFFFF"/>
            </a:solidFill>
            <a:ln>
              <a:noFill/>
            </a:ln>
            <a:extLst>
              <a:ext uri="{91240B29-F687-4F45-9708-019B960494DF}">
                <a14:hiddenLine w="9525">
                  <a:solidFill>
                    <a:srgbClr val="000000"/>
                  </a:solidFill>
                  <a:miter lim="800000"/>
                  <a:headEnd/>
                  <a:tailEnd/>
                </a14:hiddenLine>
              </a:ext>
            </a:extLst>
          </p:spPr>
          <p:txBody>
            <a:bodyPr anchor="ctr"/>
            <a:lstStyle/>
            <a:p>
              <a:pPr algn="ctr"/>
              <a:endParaRPr/>
            </a:p>
          </p:txBody>
        </p:sp>
        <p:sp>
          <p:nvSpPr>
            <p:cNvPr id="113" name="ïŝ1iḑe">
              <a:extLst>
                <a:ext uri="{FF2B5EF4-FFF2-40B4-BE49-F238E27FC236}">
                  <a16:creationId xmlns:a16="http://schemas.microsoft.com/office/drawing/2014/main" id="{B94669DF-60CE-487B-8DC7-6DF01253E688}"/>
                </a:ext>
              </a:extLst>
            </p:cNvPr>
            <p:cNvSpPr/>
            <p:nvPr/>
          </p:nvSpPr>
          <p:spPr bwMode="auto">
            <a:xfrm>
              <a:off x="8732045" y="3346581"/>
              <a:ext cx="1795463" cy="1022350"/>
            </a:xfrm>
            <a:custGeom>
              <a:gdLst>
                <a:gd fmla="*/ 724 w 1131" name="T0"/>
                <a:gd fmla="*/ 644 h 644" name="T1"/>
                <a:gd fmla="*/ 0 w 1131" name="T2"/>
                <a:gd fmla="*/ 644 h 644" name="T3"/>
                <a:gd fmla="*/ 0 w 1131" name="T4"/>
                <a:gd fmla="*/ 0 h 644" name="T5"/>
                <a:gd fmla="*/ 1131 w 1131" name="T6"/>
                <a:gd fmla="*/ 0 h 644" name="T7"/>
                <a:gd fmla="*/ 1131 w 1131" name="T8"/>
                <a:gd fmla="*/ 253 h 644" name="T9"/>
                <a:gd fmla="*/ 1122 w 1131" name="T10"/>
                <a:gd fmla="*/ 253 h 644" name="T11"/>
                <a:gd fmla="*/ 1122 w 1131" name="T12"/>
                <a:gd fmla="*/ 9 h 644" name="T13"/>
                <a:gd fmla="*/ 8 w 1131" name="T14"/>
                <a:gd fmla="*/ 9 h 644" name="T15"/>
                <a:gd fmla="*/ 8 w 1131" name="T16"/>
                <a:gd fmla="*/ 636 h 644" name="T17"/>
                <a:gd fmla="*/ 724 w 1131" name="T18"/>
                <a:gd fmla="*/ 636 h 644" name="T19"/>
                <a:gd fmla="*/ 724 w 1131" name="T20"/>
                <a:gd fmla="*/ 644 h 644" name="T2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b="b" l="0" r="r" t="0"/>
              <a:pathLst>
                <a:path h="644" w="1131">
                  <a:moveTo>
                    <a:pt x="724" y="644"/>
                  </a:moveTo>
                  <a:lnTo>
                    <a:pt x="0" y="644"/>
                  </a:lnTo>
                  <a:lnTo>
                    <a:pt x="0" y="0"/>
                  </a:lnTo>
                  <a:lnTo>
                    <a:pt x="1131" y="0"/>
                  </a:lnTo>
                  <a:lnTo>
                    <a:pt x="1131" y="253"/>
                  </a:lnTo>
                  <a:lnTo>
                    <a:pt x="1122" y="253"/>
                  </a:lnTo>
                  <a:lnTo>
                    <a:pt x="1122" y="9"/>
                  </a:lnTo>
                  <a:lnTo>
                    <a:pt x="8" y="9"/>
                  </a:lnTo>
                  <a:lnTo>
                    <a:pt x="8" y="636"/>
                  </a:lnTo>
                  <a:lnTo>
                    <a:pt x="724" y="636"/>
                  </a:lnTo>
                  <a:lnTo>
                    <a:pt x="724" y="644"/>
                  </a:lnTo>
                  <a:close/>
                </a:path>
              </a:pathLst>
            </a:custGeom>
            <a:solidFill>
              <a:srgbClr val="3F3D56"/>
            </a:solidFill>
            <a:ln>
              <a:noFill/>
            </a:ln>
            <a:extLst>
              <a:ext uri="{91240B29-F687-4F45-9708-019B960494DF}">
                <a14:hiddenLine w="9525">
                  <a:solidFill>
                    <a:srgbClr val="000000"/>
                  </a:solidFill>
                  <a:round/>
                  <a:headEnd/>
                  <a:tailEnd/>
                </a14:hiddenLine>
              </a:ext>
            </a:extLst>
          </p:spPr>
          <p:txBody>
            <a:bodyPr anchor="ctr"/>
            <a:lstStyle/>
            <a:p>
              <a:pPr algn="ctr"/>
              <a:endParaRPr/>
            </a:p>
          </p:txBody>
        </p:sp>
        <p:grpSp>
          <p:nvGrpSpPr>
            <p:cNvPr id="130" name="Group 9">
              <a:extLst>
                <a:ext uri="{FF2B5EF4-FFF2-40B4-BE49-F238E27FC236}">
                  <a16:creationId xmlns:a16="http://schemas.microsoft.com/office/drawing/2014/main" id="{238DAA88-5597-4007-AD4E-C7C7CD85DA5E}"/>
                </a:ext>
              </a:extLst>
            </p:cNvPr>
            <p:cNvGrpSpPr/>
            <p:nvPr/>
          </p:nvGrpSpPr>
          <p:grpSpPr>
            <a:xfrm>
              <a:off x="8965588" y="3457332"/>
              <a:ext cx="1517472" cy="719877"/>
              <a:chOff x="1102018" y="2458905"/>
              <a:chExt cx="1517472" cy="719879"/>
            </a:xfrm>
          </p:grpSpPr>
          <p:sp>
            <p:nvSpPr>
              <p:cNvPr id="131" name="TextBox 56">
                <a:extLst>
                  <a:ext uri="{FF2B5EF4-FFF2-40B4-BE49-F238E27FC236}">
                    <a16:creationId xmlns:a16="http://schemas.microsoft.com/office/drawing/2014/main" id="{C7F0C659-EC69-4CE2-8CD6-8893AFC8978F}"/>
                  </a:ext>
                </a:extLst>
              </p:cNvPr>
              <p:cNvSpPr txBox="1"/>
              <p:nvPr/>
            </p:nvSpPr>
            <p:spPr>
              <a:xfrm>
                <a:off x="1464515" y="2458905"/>
                <a:ext cx="792480" cy="274320"/>
              </a:xfrm>
              <a:prstGeom prst="rect">
                <a:avLst/>
              </a:prstGeom>
              <a:noFill/>
            </p:spPr>
            <p:txBody>
              <a:bodyPr rtlCol="0" wrap="none">
                <a:spAutoFit/>
              </a:bodyPr>
              <a:lstStyle/>
              <a:p>
                <a:pPr algn="ctr" defTabSz="1219110"/>
                <a:r>
                  <a:rPr altLang="en-US" b="1" lang="zh-CN" sz="1200">
                    <a:solidFill>
                      <a:schemeClr val="tx1">
                        <a:lumMod val="75000"/>
                        <a:lumOff val="25000"/>
                      </a:schemeClr>
                    </a:solidFill>
                    <a:latin panose="020f0502020204030204" typeface="等线"/>
                  </a:rPr>
                  <a:t>标题文本</a:t>
                </a:r>
              </a:p>
            </p:txBody>
          </p:sp>
          <p:sp>
            <p:nvSpPr>
              <p:cNvPr id="132" name="Rectangle 58">
                <a:extLst>
                  <a:ext uri="{FF2B5EF4-FFF2-40B4-BE49-F238E27FC236}">
                    <a16:creationId xmlns:a16="http://schemas.microsoft.com/office/drawing/2014/main" id="{1257683C-852B-42CB-8A15-E28D0671CE9A}"/>
                  </a:ext>
                </a:extLst>
              </p:cNvPr>
              <p:cNvSpPr/>
              <p:nvPr/>
            </p:nvSpPr>
            <p:spPr>
              <a:xfrm>
                <a:off x="1102019" y="2735905"/>
                <a:ext cx="1517472" cy="457200"/>
              </a:xfrm>
              <a:prstGeom prst="rect">
                <a:avLst/>
              </a:prstGeom>
            </p:spPr>
            <p:txBody>
              <a:bodyPr wrap="square">
                <a:spAutoFit/>
              </a:bodyPr>
              <a:lstStyle/>
              <a:p>
                <a:pPr algn="ctr">
                  <a:lnSpc>
                    <a:spcPct val="150000"/>
                  </a:lnSpc>
                </a:pPr>
                <a:r>
                  <a:rPr altLang="en-US" lang="zh-CN" sz="800">
                    <a:solidFill>
                      <a:schemeClr val="tx1">
                        <a:lumMod val="75000"/>
                        <a:lumOff val="25000"/>
                      </a:schemeClr>
                    </a:solidFill>
                    <a:latin typeface="+mn-ea"/>
                  </a:rPr>
                  <a:t>这里可以添加主要内容这里可以添加主要内容</a:t>
                </a:r>
              </a:p>
            </p:txBody>
          </p:sp>
        </p:grpSp>
      </p:grpSp>
      <p:sp>
        <p:nvSpPr>
          <p:cNvPr id="133" name="Title 20">
            <a:extLst>
              <a:ext uri="{FF2B5EF4-FFF2-40B4-BE49-F238E27FC236}">
                <a16:creationId xmlns:a16="http://schemas.microsoft.com/office/drawing/2014/main" id="{B93BF5E6-7799-4BDA-ADD2-C3C31840E93C}"/>
              </a:ext>
            </a:extLst>
          </p:cNvPr>
          <p:cNvSpPr txBox="1"/>
          <p:nvPr/>
        </p:nvSpPr>
        <p:spPr>
          <a:xfrm>
            <a:off x="5802813" y="4760277"/>
            <a:ext cx="2397733" cy="812902"/>
          </a:xfrm>
          <a:prstGeom prst="rect">
            <a:avLst/>
          </a:prstGeom>
        </p:spPr>
        <p:txBody>
          <a:bodyPr anchor="ctr" bIns="0" lIns="162524" rIns="162524" rtlCol="0" tIns="0" vert="horz" wrap="square">
            <a:spAutoFit/>
          </a:bodyPr>
          <a:lstStyle>
            <a:defPPr>
              <a:defRPr lang="zh-CN"/>
            </a:defPPr>
            <a:lvl1pPr defTabSz="457200">
              <a:spcBef>
                <a:spcPct val="0"/>
              </a:spcBef>
              <a:buNone/>
              <a:defRPr b="1">
                <a:solidFill>
                  <a:srgbClr val="424B58"/>
                </a:solidFill>
                <a:latin typeface="+mn-ea"/>
                <a:cs typeface="Lato Regular"/>
              </a:defRPr>
            </a:lvl1pPr>
          </a:lstStyle>
          <a:p>
            <a:r>
              <a:rPr altLang="en-US" lang="zh-CN" sz="2667">
                <a:solidFill>
                  <a:schemeClr val="tx1">
                    <a:lumMod val="85000"/>
                    <a:lumOff val="15000"/>
                  </a:schemeClr>
                </a:solidFill>
              </a:rPr>
              <a:t>业绩同期增长</a:t>
            </a:r>
          </a:p>
          <a:p>
            <a:r>
              <a:rPr altLang="en-US" lang="zh-CN" sz="2667">
                <a:solidFill>
                  <a:schemeClr val="tx1">
                    <a:lumMod val="85000"/>
                    <a:lumOff val="15000"/>
                  </a:schemeClr>
                </a:solidFill>
              </a:rPr>
              <a:t>80%</a:t>
            </a:r>
          </a:p>
        </p:txBody>
      </p:sp>
      <p:grpSp>
        <p:nvGrpSpPr>
          <p:cNvPr id="141" name="组合 140">
            <a:extLst>
              <a:ext uri="{FF2B5EF4-FFF2-40B4-BE49-F238E27FC236}">
                <a16:creationId xmlns:a16="http://schemas.microsoft.com/office/drawing/2014/main" id="{18F16D57-EB70-43EC-9588-1C3419759E64}"/>
              </a:ext>
            </a:extLst>
          </p:cNvPr>
          <p:cNvGrpSpPr/>
          <p:nvPr/>
        </p:nvGrpSpPr>
        <p:grpSpPr>
          <a:xfrm>
            <a:off x="5189888" y="5017886"/>
            <a:ext cx="393590" cy="329544"/>
            <a:chOff x="5189888" y="5017886"/>
            <a:chExt cx="393590" cy="329544"/>
          </a:xfrm>
        </p:grpSpPr>
        <p:sp>
          <p:nvSpPr>
            <p:cNvPr id="135" name="箭头: V 形 134">
              <a:extLst>
                <a:ext uri="{FF2B5EF4-FFF2-40B4-BE49-F238E27FC236}">
                  <a16:creationId xmlns:a16="http://schemas.microsoft.com/office/drawing/2014/main" id="{49BD6900-EFB5-4D7C-BF32-A414038BEB39}"/>
                </a:ext>
              </a:extLst>
            </p:cNvPr>
            <p:cNvSpPr/>
            <p:nvPr/>
          </p:nvSpPr>
          <p:spPr>
            <a:xfrm>
              <a:off x="5189888" y="5017886"/>
              <a:ext cx="194129" cy="329544"/>
            </a:xfrm>
            <a:prstGeom prst="chevron">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solidFill>
                  <a:schemeClr val="tx1"/>
                </a:solidFill>
              </a:endParaRPr>
            </a:p>
          </p:txBody>
        </p:sp>
        <p:sp>
          <p:nvSpPr>
            <p:cNvPr id="136" name="箭头: V 形 135">
              <a:extLst>
                <a:ext uri="{FF2B5EF4-FFF2-40B4-BE49-F238E27FC236}">
                  <a16:creationId xmlns:a16="http://schemas.microsoft.com/office/drawing/2014/main" id="{44EE46D5-400D-444B-A4A7-354182472CDE}"/>
                </a:ext>
              </a:extLst>
            </p:cNvPr>
            <p:cNvSpPr/>
            <p:nvPr/>
          </p:nvSpPr>
          <p:spPr>
            <a:xfrm>
              <a:off x="5389349" y="5017886"/>
              <a:ext cx="194129" cy="329544"/>
            </a:xfrm>
            <a:prstGeom prst="chevron">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solidFill>
                  <a:schemeClr val="tx1"/>
                </a:solidFill>
              </a:endParaRPr>
            </a:p>
          </p:txBody>
        </p:sp>
      </p:grpSp>
      <p:grpSp>
        <p:nvGrpSpPr>
          <p:cNvPr id="4" name="组合 3">
            <a:extLst>
              <a:ext uri="{FF2B5EF4-FFF2-40B4-BE49-F238E27FC236}">
                <a16:creationId xmlns:a16="http://schemas.microsoft.com/office/drawing/2014/main" id="{A00C1E39-1FCC-4C31-A858-43B6A0E87312}"/>
              </a:ext>
            </a:extLst>
          </p:cNvPr>
          <p:cNvGrpSpPr/>
          <p:nvPr/>
        </p:nvGrpSpPr>
        <p:grpSpPr>
          <a:xfrm>
            <a:off x="6377065" y="3377475"/>
            <a:ext cx="273050" cy="273050"/>
            <a:chOff x="6419512" y="3501036"/>
            <a:chExt cx="273050" cy="273050"/>
          </a:xfrm>
        </p:grpSpPr>
        <p:sp>
          <p:nvSpPr>
            <p:cNvPr id="91" name="ïSľíḍé">
              <a:extLst>
                <a:ext uri="{FF2B5EF4-FFF2-40B4-BE49-F238E27FC236}">
                  <a16:creationId xmlns:a16="http://schemas.microsoft.com/office/drawing/2014/main" id="{E7BFF9BE-61B6-45DB-BF3F-570529335BA6}"/>
                </a:ext>
              </a:extLst>
            </p:cNvPr>
            <p:cNvSpPr/>
            <p:nvPr/>
          </p:nvSpPr>
          <p:spPr bwMode="auto">
            <a:xfrm>
              <a:off x="6419512" y="3501036"/>
              <a:ext cx="273050" cy="273050"/>
            </a:xfrm>
            <a:prstGeom prst="ellipse">
              <a:avLst/>
            </a:prstGeom>
            <a:solidFill>
              <a:srgbClr val="60A8AF"/>
            </a:solidFill>
            <a:ln>
              <a:noFill/>
            </a:ln>
            <a:extLst>
              <a:ext uri="{91240B29-F687-4F45-9708-019B960494DF}">
                <a14:hiddenLine w="9525">
                  <a:solidFill>
                    <a:srgbClr val="000000"/>
                  </a:solidFill>
                  <a:round/>
                  <a:headEnd/>
                  <a:tailEnd/>
                </a14:hiddenLine>
              </a:ext>
            </a:extLst>
          </p:spPr>
          <p:txBody>
            <a:bodyPr anchor="ctr"/>
            <a:lstStyle/>
            <a:p>
              <a:pPr algn="ctr"/>
              <a:endParaRPr/>
            </a:p>
          </p:txBody>
        </p:sp>
        <p:sp>
          <p:nvSpPr>
            <p:cNvPr id="92" name="išḷïdè">
              <a:extLst>
                <a:ext uri="{FF2B5EF4-FFF2-40B4-BE49-F238E27FC236}">
                  <a16:creationId xmlns:a16="http://schemas.microsoft.com/office/drawing/2014/main" id="{CE082BBA-819C-4FBC-97B0-231FDAF10876}"/>
                </a:ext>
              </a:extLst>
            </p:cNvPr>
            <p:cNvSpPr/>
            <p:nvPr/>
          </p:nvSpPr>
          <p:spPr bwMode="auto">
            <a:xfrm>
              <a:off x="6463962" y="3545486"/>
              <a:ext cx="184150" cy="184150"/>
            </a:xfrm>
            <a:custGeom>
              <a:gdLst>
                <a:gd fmla="*/ 116 w 116" name="T0"/>
                <a:gd fmla="*/ 53 h 116" name="T1"/>
                <a:gd fmla="*/ 64 w 116" name="T2"/>
                <a:gd fmla="*/ 53 h 116" name="T3"/>
                <a:gd fmla="*/ 64 w 116" name="T4"/>
                <a:gd fmla="*/ 0 h 116" name="T5"/>
                <a:gd fmla="*/ 53 w 116" name="T6"/>
                <a:gd fmla="*/ 0 h 116" name="T7"/>
                <a:gd fmla="*/ 53 w 116" name="T8"/>
                <a:gd fmla="*/ 53 h 116" name="T9"/>
                <a:gd fmla="*/ 0 w 116" name="T10"/>
                <a:gd fmla="*/ 53 h 116" name="T11"/>
                <a:gd fmla="*/ 0 w 116" name="T12"/>
                <a:gd fmla="*/ 64 h 116" name="T13"/>
                <a:gd fmla="*/ 53 w 116" name="T14"/>
                <a:gd fmla="*/ 64 h 116" name="T15"/>
                <a:gd fmla="*/ 53 w 116" name="T16"/>
                <a:gd fmla="*/ 116 h 116" name="T17"/>
                <a:gd fmla="*/ 64 w 116" name="T18"/>
                <a:gd fmla="*/ 116 h 116" name="T19"/>
                <a:gd fmla="*/ 64 w 116" name="T20"/>
                <a:gd fmla="*/ 64 h 116" name="T21"/>
                <a:gd fmla="*/ 116 w 116" name="T22"/>
                <a:gd fmla="*/ 64 h 116" name="T23"/>
                <a:gd fmla="*/ 116 w 116" name="T24"/>
                <a:gd fmla="*/ 53 h 116" name="T2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b="b" l="0" r="r" t="0"/>
              <a:pathLst>
                <a:path h="115" w="115">
                  <a:moveTo>
                    <a:pt x="116" y="53"/>
                  </a:moveTo>
                  <a:lnTo>
                    <a:pt x="64" y="53"/>
                  </a:lnTo>
                  <a:lnTo>
                    <a:pt x="64" y="0"/>
                  </a:lnTo>
                  <a:lnTo>
                    <a:pt x="53" y="0"/>
                  </a:lnTo>
                  <a:lnTo>
                    <a:pt x="53" y="53"/>
                  </a:lnTo>
                  <a:lnTo>
                    <a:pt x="0" y="53"/>
                  </a:lnTo>
                  <a:lnTo>
                    <a:pt x="0" y="64"/>
                  </a:lnTo>
                  <a:lnTo>
                    <a:pt x="53" y="64"/>
                  </a:lnTo>
                  <a:lnTo>
                    <a:pt x="53" y="116"/>
                  </a:lnTo>
                  <a:lnTo>
                    <a:pt x="64" y="116"/>
                  </a:lnTo>
                  <a:lnTo>
                    <a:pt x="64" y="64"/>
                  </a:lnTo>
                  <a:lnTo>
                    <a:pt x="116" y="64"/>
                  </a:lnTo>
                  <a:lnTo>
                    <a:pt x="116" y="53"/>
                  </a:lnTo>
                  <a:close/>
                </a:path>
              </a:pathLst>
            </a:custGeom>
            <a:solidFill>
              <a:srgbClr val="FFFFFF"/>
            </a:solidFill>
            <a:ln>
              <a:noFill/>
            </a:ln>
            <a:extLst>
              <a:ext uri="{91240B29-F687-4F45-9708-019B960494DF}">
                <a14:hiddenLine w="9525">
                  <a:solidFill>
                    <a:srgbClr val="000000"/>
                  </a:solidFill>
                  <a:round/>
                  <a:headEnd/>
                  <a:tailEnd/>
                </a14:hiddenLine>
              </a:ext>
            </a:extLst>
          </p:spPr>
          <p:txBody>
            <a:bodyPr anchor="ctr"/>
            <a:lstStyle/>
            <a:p>
              <a:pPr algn="ctr"/>
              <a:endParaRPr/>
            </a:p>
          </p:txBody>
        </p:sp>
      </p:grpSp>
      <p:grpSp>
        <p:nvGrpSpPr>
          <p:cNvPr id="8" name="组合 7">
            <a:extLst>
              <a:ext uri="{FF2B5EF4-FFF2-40B4-BE49-F238E27FC236}">
                <a16:creationId xmlns:a16="http://schemas.microsoft.com/office/drawing/2014/main" id="{30C78BAE-FDDA-442E-9692-28AEF26DFAFE}"/>
              </a:ext>
            </a:extLst>
          </p:cNvPr>
          <p:cNvGrpSpPr/>
          <p:nvPr/>
        </p:nvGrpSpPr>
        <p:grpSpPr>
          <a:xfrm>
            <a:off x="10356058" y="4191131"/>
            <a:ext cx="273050" cy="273050"/>
            <a:chOff x="10356058" y="4191131"/>
            <a:chExt cx="273050" cy="273050"/>
          </a:xfrm>
        </p:grpSpPr>
        <p:sp>
          <p:nvSpPr>
            <p:cNvPr id="114" name="ïSľíḍé">
              <a:extLst>
                <a:ext uri="{FF2B5EF4-FFF2-40B4-BE49-F238E27FC236}">
                  <a16:creationId xmlns:a16="http://schemas.microsoft.com/office/drawing/2014/main" id="{A639A5CF-17E3-4BA9-81D1-13A904FD80DA}"/>
                </a:ext>
              </a:extLst>
            </p:cNvPr>
            <p:cNvSpPr/>
            <p:nvPr/>
          </p:nvSpPr>
          <p:spPr bwMode="auto">
            <a:xfrm>
              <a:off x="10356058" y="4191131"/>
              <a:ext cx="273050" cy="273050"/>
            </a:xfrm>
            <a:prstGeom prst="ellipse">
              <a:avLst/>
            </a:prstGeom>
            <a:solidFill>
              <a:srgbClr val="00456B"/>
            </a:solidFill>
            <a:ln>
              <a:noFill/>
            </a:ln>
            <a:extLst>
              <a:ext uri="{91240B29-F687-4F45-9708-019B960494DF}">
                <a14:hiddenLine w="9525">
                  <a:solidFill>
                    <a:srgbClr val="000000"/>
                  </a:solidFill>
                  <a:round/>
                  <a:headEnd/>
                  <a:tailEnd/>
                </a14:hiddenLine>
              </a:ext>
            </a:extLst>
          </p:spPr>
          <p:txBody>
            <a:bodyPr anchor="ctr"/>
            <a:lstStyle/>
            <a:p>
              <a:pPr algn="ctr"/>
              <a:endParaRPr/>
            </a:p>
          </p:txBody>
        </p:sp>
        <p:sp>
          <p:nvSpPr>
            <p:cNvPr id="115" name="išḷïdè">
              <a:extLst>
                <a:ext uri="{FF2B5EF4-FFF2-40B4-BE49-F238E27FC236}">
                  <a16:creationId xmlns:a16="http://schemas.microsoft.com/office/drawing/2014/main" id="{53CF723E-0A43-46C5-99BE-8402D3B77332}"/>
                </a:ext>
              </a:extLst>
            </p:cNvPr>
            <p:cNvSpPr/>
            <p:nvPr/>
          </p:nvSpPr>
          <p:spPr bwMode="auto">
            <a:xfrm>
              <a:off x="10400508" y="4235581"/>
              <a:ext cx="184150" cy="184150"/>
            </a:xfrm>
            <a:custGeom>
              <a:gdLst>
                <a:gd fmla="*/ 116 w 116" name="T0"/>
                <a:gd fmla="*/ 53 h 116" name="T1"/>
                <a:gd fmla="*/ 64 w 116" name="T2"/>
                <a:gd fmla="*/ 53 h 116" name="T3"/>
                <a:gd fmla="*/ 64 w 116" name="T4"/>
                <a:gd fmla="*/ 0 h 116" name="T5"/>
                <a:gd fmla="*/ 53 w 116" name="T6"/>
                <a:gd fmla="*/ 0 h 116" name="T7"/>
                <a:gd fmla="*/ 53 w 116" name="T8"/>
                <a:gd fmla="*/ 53 h 116" name="T9"/>
                <a:gd fmla="*/ 0 w 116" name="T10"/>
                <a:gd fmla="*/ 53 h 116" name="T11"/>
                <a:gd fmla="*/ 0 w 116" name="T12"/>
                <a:gd fmla="*/ 64 h 116" name="T13"/>
                <a:gd fmla="*/ 53 w 116" name="T14"/>
                <a:gd fmla="*/ 64 h 116" name="T15"/>
                <a:gd fmla="*/ 53 w 116" name="T16"/>
                <a:gd fmla="*/ 116 h 116" name="T17"/>
                <a:gd fmla="*/ 64 w 116" name="T18"/>
                <a:gd fmla="*/ 116 h 116" name="T19"/>
                <a:gd fmla="*/ 64 w 116" name="T20"/>
                <a:gd fmla="*/ 64 h 116" name="T21"/>
                <a:gd fmla="*/ 116 w 116" name="T22"/>
                <a:gd fmla="*/ 64 h 116" name="T23"/>
                <a:gd fmla="*/ 116 w 116" name="T24"/>
                <a:gd fmla="*/ 53 h 116" name="T2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b="b" l="0" r="r" t="0"/>
              <a:pathLst>
                <a:path h="115" w="115">
                  <a:moveTo>
                    <a:pt x="116" y="53"/>
                  </a:moveTo>
                  <a:lnTo>
                    <a:pt x="64" y="53"/>
                  </a:lnTo>
                  <a:lnTo>
                    <a:pt x="64" y="0"/>
                  </a:lnTo>
                  <a:lnTo>
                    <a:pt x="53" y="0"/>
                  </a:lnTo>
                  <a:lnTo>
                    <a:pt x="53" y="53"/>
                  </a:lnTo>
                  <a:lnTo>
                    <a:pt x="0" y="53"/>
                  </a:lnTo>
                  <a:lnTo>
                    <a:pt x="0" y="64"/>
                  </a:lnTo>
                  <a:lnTo>
                    <a:pt x="53" y="64"/>
                  </a:lnTo>
                  <a:lnTo>
                    <a:pt x="53" y="116"/>
                  </a:lnTo>
                  <a:lnTo>
                    <a:pt x="64" y="116"/>
                  </a:lnTo>
                  <a:lnTo>
                    <a:pt x="64" y="64"/>
                  </a:lnTo>
                  <a:lnTo>
                    <a:pt x="116" y="64"/>
                  </a:lnTo>
                  <a:lnTo>
                    <a:pt x="116" y="53"/>
                  </a:lnTo>
                  <a:close/>
                </a:path>
              </a:pathLst>
            </a:custGeom>
            <a:solidFill>
              <a:srgbClr val="FFFFFF"/>
            </a:solidFill>
            <a:ln>
              <a:noFill/>
            </a:ln>
            <a:extLst>
              <a:ext uri="{91240B29-F687-4F45-9708-019B960494DF}">
                <a14:hiddenLine w="9525">
                  <a:solidFill>
                    <a:srgbClr val="000000"/>
                  </a:solidFill>
                  <a:round/>
                  <a:headEnd/>
                  <a:tailEnd/>
                </a14:hiddenLine>
              </a:ext>
            </a:extLst>
          </p:spPr>
          <p:txBody>
            <a:bodyPr anchor="ctr"/>
            <a:lstStyle/>
            <a:p>
              <a:pPr algn="ctr"/>
              <a:endParaRPr/>
            </a:p>
          </p:txBody>
        </p:sp>
      </p:grpSp>
      <p:grpSp>
        <p:nvGrpSpPr>
          <p:cNvPr id="6" name="组合 5">
            <a:extLst>
              <a:ext uri="{FF2B5EF4-FFF2-40B4-BE49-F238E27FC236}">
                <a16:creationId xmlns:a16="http://schemas.microsoft.com/office/drawing/2014/main" id="{EE169CEF-4168-4D87-AB28-909ADA488F07}"/>
              </a:ext>
            </a:extLst>
          </p:cNvPr>
          <p:cNvGrpSpPr/>
          <p:nvPr/>
        </p:nvGrpSpPr>
        <p:grpSpPr>
          <a:xfrm>
            <a:off x="8864209" y="2924457"/>
            <a:ext cx="273050" cy="273050"/>
            <a:chOff x="7277895" y="2449600"/>
            <a:chExt cx="273050" cy="273050"/>
          </a:xfrm>
        </p:grpSpPr>
        <p:sp>
          <p:nvSpPr>
            <p:cNvPr id="93" name="ïṧḻïḑê">
              <a:extLst>
                <a:ext uri="{FF2B5EF4-FFF2-40B4-BE49-F238E27FC236}">
                  <a16:creationId xmlns:a16="http://schemas.microsoft.com/office/drawing/2014/main" id="{8F322B14-F6FB-4FB4-9335-F3C179167126}"/>
                </a:ext>
              </a:extLst>
            </p:cNvPr>
            <p:cNvSpPr/>
            <p:nvPr/>
          </p:nvSpPr>
          <p:spPr bwMode="auto">
            <a:xfrm>
              <a:off x="7277895" y="2449600"/>
              <a:ext cx="273050" cy="273050"/>
            </a:xfrm>
            <a:prstGeom prst="ellipse">
              <a:avLst/>
            </a:prstGeom>
            <a:solidFill>
              <a:srgbClr val="FF626C"/>
            </a:solidFill>
            <a:ln>
              <a:noFill/>
            </a:ln>
            <a:extLst>
              <a:ext uri="{91240B29-F687-4F45-9708-019B960494DF}">
                <a14:hiddenLine w="9525">
                  <a:solidFill>
                    <a:srgbClr val="000000"/>
                  </a:solidFill>
                  <a:round/>
                  <a:headEnd/>
                  <a:tailEnd/>
                </a14:hiddenLine>
              </a:ext>
            </a:extLst>
          </p:spPr>
          <p:txBody>
            <a:bodyPr anchor="ctr"/>
            <a:lstStyle/>
            <a:p>
              <a:pPr algn="ctr"/>
              <a:endParaRPr/>
            </a:p>
          </p:txBody>
        </p:sp>
        <p:sp>
          <p:nvSpPr>
            <p:cNvPr id="94" name="iṥļîḍè">
              <a:extLst>
                <a:ext uri="{FF2B5EF4-FFF2-40B4-BE49-F238E27FC236}">
                  <a16:creationId xmlns:a16="http://schemas.microsoft.com/office/drawing/2014/main" id="{60E9EE19-538B-47EC-AAFE-C0F1BDD3D6A8}"/>
                </a:ext>
              </a:extLst>
            </p:cNvPr>
            <p:cNvSpPr/>
            <p:nvPr/>
          </p:nvSpPr>
          <p:spPr bwMode="auto">
            <a:xfrm>
              <a:off x="7322345" y="2494050"/>
              <a:ext cx="184150" cy="184150"/>
            </a:xfrm>
            <a:custGeom>
              <a:gdLst>
                <a:gd fmla="*/ 116 w 116" name="T0"/>
                <a:gd fmla="*/ 52 h 116" name="T1"/>
                <a:gd fmla="*/ 63 w 116" name="T2"/>
                <a:gd fmla="*/ 52 h 116" name="T3"/>
                <a:gd fmla="*/ 63 w 116" name="T4"/>
                <a:gd fmla="*/ 0 h 116" name="T5"/>
                <a:gd fmla="*/ 52 w 116" name="T6"/>
                <a:gd fmla="*/ 0 h 116" name="T7"/>
                <a:gd fmla="*/ 52 w 116" name="T8"/>
                <a:gd fmla="*/ 52 h 116" name="T9"/>
                <a:gd fmla="*/ 0 w 116" name="T10"/>
                <a:gd fmla="*/ 52 h 116" name="T11"/>
                <a:gd fmla="*/ 0 w 116" name="T12"/>
                <a:gd fmla="*/ 63 h 116" name="T13"/>
                <a:gd fmla="*/ 52 w 116" name="T14"/>
                <a:gd fmla="*/ 63 h 116" name="T15"/>
                <a:gd fmla="*/ 52 w 116" name="T16"/>
                <a:gd fmla="*/ 116 h 116" name="T17"/>
                <a:gd fmla="*/ 63 w 116" name="T18"/>
                <a:gd fmla="*/ 116 h 116" name="T19"/>
                <a:gd fmla="*/ 63 w 116" name="T20"/>
                <a:gd fmla="*/ 63 h 116" name="T21"/>
                <a:gd fmla="*/ 116 w 116" name="T22"/>
                <a:gd fmla="*/ 63 h 116" name="T23"/>
                <a:gd fmla="*/ 116 w 116" name="T24"/>
                <a:gd fmla="*/ 52 h 116" name="T2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b="b" l="0" r="r" t="0"/>
              <a:pathLst>
                <a:path h="115" w="115">
                  <a:moveTo>
                    <a:pt x="116" y="52"/>
                  </a:moveTo>
                  <a:lnTo>
                    <a:pt x="63" y="52"/>
                  </a:lnTo>
                  <a:lnTo>
                    <a:pt x="63" y="0"/>
                  </a:lnTo>
                  <a:lnTo>
                    <a:pt x="52" y="0"/>
                  </a:lnTo>
                  <a:lnTo>
                    <a:pt x="52" y="52"/>
                  </a:lnTo>
                  <a:lnTo>
                    <a:pt x="0" y="52"/>
                  </a:lnTo>
                  <a:lnTo>
                    <a:pt x="0" y="63"/>
                  </a:lnTo>
                  <a:lnTo>
                    <a:pt x="52" y="63"/>
                  </a:lnTo>
                  <a:lnTo>
                    <a:pt x="52" y="116"/>
                  </a:lnTo>
                  <a:lnTo>
                    <a:pt x="63" y="116"/>
                  </a:lnTo>
                  <a:lnTo>
                    <a:pt x="63" y="63"/>
                  </a:lnTo>
                  <a:lnTo>
                    <a:pt x="116" y="63"/>
                  </a:lnTo>
                  <a:lnTo>
                    <a:pt x="116" y="52"/>
                  </a:lnTo>
                  <a:close/>
                </a:path>
              </a:pathLst>
            </a:custGeom>
            <a:solidFill>
              <a:srgbClr val="FFFFFF"/>
            </a:solidFill>
            <a:ln>
              <a:noFill/>
            </a:ln>
            <a:extLst>
              <a:ext uri="{91240B29-F687-4F45-9708-019B960494DF}">
                <a14:hiddenLine w="9525">
                  <a:solidFill>
                    <a:srgbClr val="000000"/>
                  </a:solidFill>
                  <a:round/>
                  <a:headEnd/>
                  <a:tailEnd/>
                </a14:hiddenLine>
              </a:ext>
            </a:extLst>
          </p:spPr>
          <p:txBody>
            <a:bodyPr anchor="ctr"/>
            <a:lstStyle/>
            <a:p>
              <a:pPr algn="ctr"/>
              <a:endParaRPr/>
            </a:p>
          </p:txBody>
        </p:sp>
      </p:grpSp>
    </p:spTree>
    <p:extLst>
      <p:ext uri="{BB962C8B-B14F-4D97-AF65-F5344CB8AC3E}">
        <p14:creationId val="3501578249"/>
      </p:ext>
    </p:extLst>
  </p:cSld>
  <p:clrMapOvr>
    <a:masterClrMapping/>
  </p:clrMapOvr>
  <mc:AlternateContent>
    <mc:Choice Requires="p14">
      <p:transition p14:dur="1500" spd="slow">
        <p:random/>
      </p:transition>
    </mc:Choice>
    <mc:Fallback>
      <p:transition spd="slow">
        <p:random/>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decel="100000" fill="hold" grpId="0" id="5" nodeType="withEffect" presetClass="entr" presetID="50" presetSubtype="0">
                                  <p:stCondLst>
                                    <p:cond delay="0"/>
                                  </p:stCondLst>
                                  <p:childTnLst>
                                    <p:set>
                                      <p:cBhvr>
                                        <p:cTn dur="1" fill="hold" id="6">
                                          <p:stCondLst>
                                            <p:cond delay="0"/>
                                          </p:stCondLst>
                                        </p:cTn>
                                        <p:tgtEl>
                                          <p:spTgt spid="10"/>
                                        </p:tgtEl>
                                        <p:attrNameLst>
                                          <p:attrName>style.visibility</p:attrName>
                                        </p:attrNameLst>
                                      </p:cBhvr>
                                      <p:to>
                                        <p:strVal val="visible"/>
                                      </p:to>
                                    </p:set>
                                    <p:anim calcmode="lin" valueType="num">
                                      <p:cBhvr>
                                        <p:cTn dur="1000" fill="hold" id="7"/>
                                        <p:tgtEl>
                                          <p:spTgt spid="10"/>
                                        </p:tgtEl>
                                        <p:attrNameLst>
                                          <p:attrName>ppt_w</p:attrName>
                                        </p:attrNameLst>
                                      </p:cBhvr>
                                      <p:tavLst>
                                        <p:tav tm="0">
                                          <p:val>
                                            <p:strVal val="#ppt_w+.3"/>
                                          </p:val>
                                        </p:tav>
                                        <p:tav tm="100000">
                                          <p:val>
                                            <p:strVal val="#ppt_w"/>
                                          </p:val>
                                        </p:tav>
                                      </p:tavLst>
                                    </p:anim>
                                    <p:anim calcmode="lin" valueType="num">
                                      <p:cBhvr>
                                        <p:cTn dur="1000" fill="hold" id="8"/>
                                        <p:tgtEl>
                                          <p:spTgt spid="10"/>
                                        </p:tgtEl>
                                        <p:attrNameLst>
                                          <p:attrName>ppt_h</p:attrName>
                                        </p:attrNameLst>
                                      </p:cBhvr>
                                      <p:tavLst>
                                        <p:tav tm="0">
                                          <p:val>
                                            <p:strVal val="#ppt_h"/>
                                          </p:val>
                                        </p:tav>
                                        <p:tav tm="100000">
                                          <p:val>
                                            <p:strVal val="#ppt_h"/>
                                          </p:val>
                                        </p:tav>
                                      </p:tavLst>
                                    </p:anim>
                                    <p:animEffect filter="fade" transition="in">
                                      <p:cBhvr>
                                        <p:cTn dur="1000" id="9"/>
                                        <p:tgtEl>
                                          <p:spTgt spid="10"/>
                                        </p:tgtEl>
                                      </p:cBhvr>
                                    </p:animEffect>
                                  </p:childTnLst>
                                </p:cTn>
                              </p:par>
                              <p:par>
                                <p:cTn fill="hold" id="10" nodeType="withEffect" presetClass="entr" presetID="53" presetSubtype="0">
                                  <p:stCondLst>
                                    <p:cond delay="250"/>
                                  </p:stCondLst>
                                  <p:childTnLst>
                                    <p:set>
                                      <p:cBhvr>
                                        <p:cTn dur="1" fill="hold" id="11">
                                          <p:stCondLst>
                                            <p:cond delay="0"/>
                                          </p:stCondLst>
                                        </p:cTn>
                                        <p:tgtEl>
                                          <p:spTgt spid="15"/>
                                        </p:tgtEl>
                                        <p:attrNameLst>
                                          <p:attrName>style.visibility</p:attrName>
                                        </p:attrNameLst>
                                      </p:cBhvr>
                                      <p:to>
                                        <p:strVal val="visible"/>
                                      </p:to>
                                    </p:set>
                                    <p:anim calcmode="lin" valueType="num">
                                      <p:cBhvr>
                                        <p:cTn dur="500" fill="hold" id="12"/>
                                        <p:tgtEl>
                                          <p:spTgt spid="15"/>
                                        </p:tgtEl>
                                        <p:attrNameLst>
                                          <p:attrName>ppt_w</p:attrName>
                                        </p:attrNameLst>
                                      </p:cBhvr>
                                      <p:tavLst>
                                        <p:tav tm="0">
                                          <p:val>
                                            <p:fltVal val="0"/>
                                          </p:val>
                                        </p:tav>
                                        <p:tav tm="100000">
                                          <p:val>
                                            <p:strVal val="#ppt_w"/>
                                          </p:val>
                                        </p:tav>
                                      </p:tavLst>
                                    </p:anim>
                                    <p:anim calcmode="lin" valueType="num">
                                      <p:cBhvr>
                                        <p:cTn dur="500" fill="hold" id="13"/>
                                        <p:tgtEl>
                                          <p:spTgt spid="15"/>
                                        </p:tgtEl>
                                        <p:attrNameLst>
                                          <p:attrName>ppt_h</p:attrName>
                                        </p:attrNameLst>
                                      </p:cBhvr>
                                      <p:tavLst>
                                        <p:tav tm="0">
                                          <p:val>
                                            <p:fltVal val="0"/>
                                          </p:val>
                                        </p:tav>
                                        <p:tav tm="100000">
                                          <p:val>
                                            <p:strVal val="#ppt_h"/>
                                          </p:val>
                                        </p:tav>
                                      </p:tavLst>
                                    </p:anim>
                                    <p:animEffect filter="fade" transition="in">
                                      <p:cBhvr>
                                        <p:cTn dur="500" id="14"/>
                                        <p:tgtEl>
                                          <p:spTgt spid="15"/>
                                        </p:tgtEl>
                                      </p:cBhvr>
                                    </p:animEffect>
                                  </p:childTnLst>
                                </p:cTn>
                              </p:par>
                              <p:par>
                                <p:cTn fill="hold" id="15" nodeType="withEffect" presetClass="entr" presetID="53" presetSubtype="0">
                                  <p:stCondLst>
                                    <p:cond delay="250"/>
                                  </p:stCondLst>
                                  <p:childTnLst>
                                    <p:set>
                                      <p:cBhvr>
                                        <p:cTn dur="1" fill="hold" id="16">
                                          <p:stCondLst>
                                            <p:cond delay="0"/>
                                          </p:stCondLst>
                                        </p:cTn>
                                        <p:tgtEl>
                                          <p:spTgt spid="16"/>
                                        </p:tgtEl>
                                        <p:attrNameLst>
                                          <p:attrName>style.visibility</p:attrName>
                                        </p:attrNameLst>
                                      </p:cBhvr>
                                      <p:to>
                                        <p:strVal val="visible"/>
                                      </p:to>
                                    </p:set>
                                    <p:anim calcmode="lin" valueType="num">
                                      <p:cBhvr>
                                        <p:cTn dur="500" fill="hold" id="17"/>
                                        <p:tgtEl>
                                          <p:spTgt spid="16"/>
                                        </p:tgtEl>
                                        <p:attrNameLst>
                                          <p:attrName>ppt_w</p:attrName>
                                        </p:attrNameLst>
                                      </p:cBhvr>
                                      <p:tavLst>
                                        <p:tav tm="0">
                                          <p:val>
                                            <p:fltVal val="0"/>
                                          </p:val>
                                        </p:tav>
                                        <p:tav tm="100000">
                                          <p:val>
                                            <p:strVal val="#ppt_w"/>
                                          </p:val>
                                        </p:tav>
                                      </p:tavLst>
                                    </p:anim>
                                    <p:anim calcmode="lin" valueType="num">
                                      <p:cBhvr>
                                        <p:cTn dur="500" fill="hold" id="18"/>
                                        <p:tgtEl>
                                          <p:spTgt spid="16"/>
                                        </p:tgtEl>
                                        <p:attrNameLst>
                                          <p:attrName>ppt_h</p:attrName>
                                        </p:attrNameLst>
                                      </p:cBhvr>
                                      <p:tavLst>
                                        <p:tav tm="0">
                                          <p:val>
                                            <p:fltVal val="0"/>
                                          </p:val>
                                        </p:tav>
                                        <p:tav tm="100000">
                                          <p:val>
                                            <p:strVal val="#ppt_h"/>
                                          </p:val>
                                        </p:tav>
                                      </p:tavLst>
                                    </p:anim>
                                    <p:animEffect filter="fade" transition="in">
                                      <p:cBhvr>
                                        <p:cTn dur="500" id="19"/>
                                        <p:tgtEl>
                                          <p:spTgt spid="16"/>
                                        </p:tgtEl>
                                      </p:cBhvr>
                                    </p:animEffect>
                                  </p:childTnLst>
                                </p:cTn>
                              </p:par>
                              <p:par>
                                <p:cTn fill="hold" id="20" nodeType="withEffect" presetClass="entr" presetID="22" presetSubtype="8">
                                  <p:stCondLst>
                                    <p:cond delay="750"/>
                                  </p:stCondLst>
                                  <p:childTnLst>
                                    <p:set>
                                      <p:cBhvr>
                                        <p:cTn dur="1" fill="hold" id="21">
                                          <p:stCondLst>
                                            <p:cond delay="0"/>
                                          </p:stCondLst>
                                        </p:cTn>
                                        <p:tgtEl>
                                          <p:spTgt spid="13"/>
                                        </p:tgtEl>
                                        <p:attrNameLst>
                                          <p:attrName>style.visibility</p:attrName>
                                        </p:attrNameLst>
                                      </p:cBhvr>
                                      <p:to>
                                        <p:strVal val="visible"/>
                                      </p:to>
                                    </p:set>
                                    <p:animEffect filter="wipe(left)" transition="in">
                                      <p:cBhvr>
                                        <p:cTn dur="250" id="22"/>
                                        <p:tgtEl>
                                          <p:spTgt spid="13"/>
                                        </p:tgtEl>
                                      </p:cBhvr>
                                    </p:animEffect>
                                  </p:childTnLst>
                                </p:cTn>
                              </p:par>
                              <p:par>
                                <p:cTn fill="hold" id="23" nodeType="withEffect" presetClass="entr" presetID="22" presetSubtype="2">
                                  <p:stCondLst>
                                    <p:cond delay="750"/>
                                  </p:stCondLst>
                                  <p:childTnLst>
                                    <p:set>
                                      <p:cBhvr>
                                        <p:cTn dur="1" fill="hold" id="24">
                                          <p:stCondLst>
                                            <p:cond delay="0"/>
                                          </p:stCondLst>
                                        </p:cTn>
                                        <p:tgtEl>
                                          <p:spTgt spid="18"/>
                                        </p:tgtEl>
                                        <p:attrNameLst>
                                          <p:attrName>style.visibility</p:attrName>
                                        </p:attrNameLst>
                                      </p:cBhvr>
                                      <p:to>
                                        <p:strVal val="visible"/>
                                      </p:to>
                                    </p:set>
                                    <p:animEffect filter="wipe(right)" transition="in">
                                      <p:cBhvr>
                                        <p:cTn dur="250" id="25"/>
                                        <p:tgtEl>
                                          <p:spTgt spid="18"/>
                                        </p:tgtEl>
                                      </p:cBhvr>
                                    </p:animEffect>
                                  </p:childTnLst>
                                </p:cTn>
                              </p:par>
                            </p:childTnLst>
                          </p:cTn>
                        </p:par>
                        <p:par>
                          <p:cTn fill="hold" id="26" nodeType="afterGroup">
                            <p:stCondLst>
                              <p:cond delay="1000"/>
                            </p:stCondLst>
                            <p:childTnLst>
                              <p:par>
                                <p:cTn fill="hold" id="27" nodeType="afterEffect" presetClass="entr" presetID="2" presetSubtype="12">
                                  <p:stCondLst>
                                    <p:cond delay="0"/>
                                  </p:stCondLst>
                                  <p:childTnLst>
                                    <p:set>
                                      <p:cBhvr>
                                        <p:cTn dur="1" fill="hold" id="28">
                                          <p:stCondLst>
                                            <p:cond delay="0"/>
                                          </p:stCondLst>
                                        </p:cTn>
                                        <p:tgtEl>
                                          <p:spTgt spid="95"/>
                                        </p:tgtEl>
                                        <p:attrNameLst>
                                          <p:attrName>style.visibility</p:attrName>
                                        </p:attrNameLst>
                                      </p:cBhvr>
                                      <p:to>
                                        <p:strVal val="visible"/>
                                      </p:to>
                                    </p:set>
                                    <p:anim calcmode="lin" valueType="num">
                                      <p:cBhvr additive="base">
                                        <p:cTn dur="1250" fill="hold" id="29"/>
                                        <p:tgtEl>
                                          <p:spTgt spid="95"/>
                                        </p:tgtEl>
                                        <p:attrNameLst>
                                          <p:attrName>ppt_x</p:attrName>
                                        </p:attrNameLst>
                                      </p:cBhvr>
                                      <p:tavLst>
                                        <p:tav tm="0">
                                          <p:val>
                                            <p:strVal val="0-#ppt_w/2"/>
                                          </p:val>
                                        </p:tav>
                                        <p:tav tm="100000">
                                          <p:val>
                                            <p:strVal val="#ppt_x"/>
                                          </p:val>
                                        </p:tav>
                                      </p:tavLst>
                                    </p:anim>
                                    <p:anim calcmode="lin" valueType="num">
                                      <p:cBhvr additive="base">
                                        <p:cTn dur="1250" fill="hold" id="30"/>
                                        <p:tgtEl>
                                          <p:spTgt spid="95"/>
                                        </p:tgtEl>
                                        <p:attrNameLst>
                                          <p:attrName>ppt_y</p:attrName>
                                        </p:attrNameLst>
                                      </p:cBhvr>
                                      <p:tavLst>
                                        <p:tav tm="0">
                                          <p:val>
                                            <p:strVal val="1+#ppt_h/2"/>
                                          </p:val>
                                        </p:tav>
                                        <p:tav tm="100000">
                                          <p:val>
                                            <p:strVal val="#ppt_y"/>
                                          </p:val>
                                        </p:tav>
                                      </p:tavLst>
                                    </p:anim>
                                  </p:childTnLst>
                                </p:cTn>
                              </p:par>
                              <p:par>
                                <p:cTn fill="hold" grpId="0" id="31" nodeType="withEffect" presetClass="entr" presetID="42" presetSubtype="0">
                                  <p:stCondLst>
                                    <p:cond delay="0"/>
                                  </p:stCondLst>
                                  <p:childTnLst>
                                    <p:set>
                                      <p:cBhvr>
                                        <p:cTn dur="1" fill="hold" id="32">
                                          <p:stCondLst>
                                            <p:cond delay="0"/>
                                          </p:stCondLst>
                                        </p:cTn>
                                        <p:tgtEl>
                                          <p:spTgt spid="122"/>
                                        </p:tgtEl>
                                        <p:attrNameLst>
                                          <p:attrName>style.visibility</p:attrName>
                                        </p:attrNameLst>
                                      </p:cBhvr>
                                      <p:to>
                                        <p:strVal val="visible"/>
                                      </p:to>
                                    </p:set>
                                    <p:animEffect filter="fade" transition="in">
                                      <p:cBhvr>
                                        <p:cTn dur="1250" id="33"/>
                                        <p:tgtEl>
                                          <p:spTgt spid="122"/>
                                        </p:tgtEl>
                                      </p:cBhvr>
                                    </p:animEffect>
                                    <p:anim calcmode="lin" valueType="num">
                                      <p:cBhvr>
                                        <p:cTn dur="1250" fill="hold" id="34"/>
                                        <p:tgtEl>
                                          <p:spTgt spid="122"/>
                                        </p:tgtEl>
                                        <p:attrNameLst>
                                          <p:attrName>ppt_x</p:attrName>
                                        </p:attrNameLst>
                                      </p:cBhvr>
                                      <p:tavLst>
                                        <p:tav tm="0">
                                          <p:val>
                                            <p:strVal val="#ppt_x"/>
                                          </p:val>
                                        </p:tav>
                                        <p:tav tm="100000">
                                          <p:val>
                                            <p:strVal val="#ppt_x"/>
                                          </p:val>
                                        </p:tav>
                                      </p:tavLst>
                                    </p:anim>
                                    <p:anim calcmode="lin" valueType="num">
                                      <p:cBhvr>
                                        <p:cTn dur="1250" fill="hold" id="35"/>
                                        <p:tgtEl>
                                          <p:spTgt spid="122"/>
                                        </p:tgtEl>
                                        <p:attrNameLst>
                                          <p:attrName>ppt_y</p:attrName>
                                        </p:attrNameLst>
                                      </p:cBhvr>
                                      <p:tavLst>
                                        <p:tav tm="0">
                                          <p:val>
                                            <p:strVal val="#ppt_y+.1"/>
                                          </p:val>
                                        </p:tav>
                                        <p:tav tm="100000">
                                          <p:val>
                                            <p:strVal val="#ppt_y"/>
                                          </p:val>
                                        </p:tav>
                                      </p:tavLst>
                                    </p:anim>
                                  </p:childTnLst>
                                </p:cTn>
                              </p:par>
                              <p:par>
                                <p:cTn fill="hold" grpId="0" id="36" nodeType="withEffect" presetClass="entr" presetID="42" presetSubtype="0">
                                  <p:stCondLst>
                                    <p:cond delay="0"/>
                                  </p:stCondLst>
                                  <p:childTnLst>
                                    <p:set>
                                      <p:cBhvr>
                                        <p:cTn dur="1" fill="hold" id="37">
                                          <p:stCondLst>
                                            <p:cond delay="0"/>
                                          </p:stCondLst>
                                        </p:cTn>
                                        <p:tgtEl>
                                          <p:spTgt spid="121"/>
                                        </p:tgtEl>
                                        <p:attrNameLst>
                                          <p:attrName>style.visibility</p:attrName>
                                        </p:attrNameLst>
                                      </p:cBhvr>
                                      <p:to>
                                        <p:strVal val="visible"/>
                                      </p:to>
                                    </p:set>
                                    <p:animEffect filter="fade" transition="in">
                                      <p:cBhvr>
                                        <p:cTn dur="1250" id="38"/>
                                        <p:tgtEl>
                                          <p:spTgt spid="121"/>
                                        </p:tgtEl>
                                      </p:cBhvr>
                                    </p:animEffect>
                                    <p:anim calcmode="lin" valueType="num">
                                      <p:cBhvr>
                                        <p:cTn dur="1250" fill="hold" id="39"/>
                                        <p:tgtEl>
                                          <p:spTgt spid="121"/>
                                        </p:tgtEl>
                                        <p:attrNameLst>
                                          <p:attrName>ppt_x</p:attrName>
                                        </p:attrNameLst>
                                      </p:cBhvr>
                                      <p:tavLst>
                                        <p:tav tm="0">
                                          <p:val>
                                            <p:strVal val="#ppt_x"/>
                                          </p:val>
                                        </p:tav>
                                        <p:tav tm="100000">
                                          <p:val>
                                            <p:strVal val="#ppt_x"/>
                                          </p:val>
                                        </p:tav>
                                      </p:tavLst>
                                    </p:anim>
                                    <p:anim calcmode="lin" valueType="num">
                                      <p:cBhvr>
                                        <p:cTn dur="1250" fill="hold" id="40"/>
                                        <p:tgtEl>
                                          <p:spTgt spid="121"/>
                                        </p:tgtEl>
                                        <p:attrNameLst>
                                          <p:attrName>ppt_y</p:attrName>
                                        </p:attrNameLst>
                                      </p:cBhvr>
                                      <p:tavLst>
                                        <p:tav tm="0">
                                          <p:val>
                                            <p:strVal val="#ppt_y+.1"/>
                                          </p:val>
                                        </p:tav>
                                        <p:tav tm="100000">
                                          <p:val>
                                            <p:strVal val="#ppt_y"/>
                                          </p:val>
                                        </p:tav>
                                      </p:tavLst>
                                    </p:anim>
                                  </p:childTnLst>
                                </p:cTn>
                              </p:par>
                            </p:childTnLst>
                          </p:cTn>
                        </p:par>
                        <p:par>
                          <p:cTn fill="hold" id="41" nodeType="afterGroup">
                            <p:stCondLst>
                              <p:cond delay="2250"/>
                            </p:stCondLst>
                            <p:childTnLst>
                              <p:par>
                                <p:cTn fill="hold" grpId="0" id="42" nodeType="afterEffect" presetClass="entr" presetID="16" presetSubtype="21">
                                  <p:stCondLst>
                                    <p:cond delay="0"/>
                                  </p:stCondLst>
                                  <p:childTnLst>
                                    <p:set>
                                      <p:cBhvr>
                                        <p:cTn dur="1" fill="hold" id="43">
                                          <p:stCondLst>
                                            <p:cond delay="0"/>
                                          </p:stCondLst>
                                        </p:cTn>
                                        <p:tgtEl>
                                          <p:spTgt spid="71"/>
                                        </p:tgtEl>
                                        <p:attrNameLst>
                                          <p:attrName>style.visibility</p:attrName>
                                        </p:attrNameLst>
                                      </p:cBhvr>
                                      <p:to>
                                        <p:strVal val="visible"/>
                                      </p:to>
                                    </p:set>
                                    <p:animEffect filter="barn(inVertical)" transition="in">
                                      <p:cBhvr>
                                        <p:cTn dur="500" id="44"/>
                                        <p:tgtEl>
                                          <p:spTgt spid="71"/>
                                        </p:tgtEl>
                                      </p:cBhvr>
                                    </p:animEffect>
                                  </p:childTnLst>
                                </p:cTn>
                              </p:par>
                              <p:par>
                                <p:cTn fill="hold" grpId="0" id="45" nodeType="withEffect" presetClass="entr" presetID="16" presetSubtype="21">
                                  <p:stCondLst>
                                    <p:cond delay="0"/>
                                  </p:stCondLst>
                                  <p:childTnLst>
                                    <p:set>
                                      <p:cBhvr>
                                        <p:cTn dur="1" fill="hold" id="46">
                                          <p:stCondLst>
                                            <p:cond delay="0"/>
                                          </p:stCondLst>
                                        </p:cTn>
                                        <p:tgtEl>
                                          <p:spTgt spid="72"/>
                                        </p:tgtEl>
                                        <p:attrNameLst>
                                          <p:attrName>style.visibility</p:attrName>
                                        </p:attrNameLst>
                                      </p:cBhvr>
                                      <p:to>
                                        <p:strVal val="visible"/>
                                      </p:to>
                                    </p:set>
                                    <p:animEffect filter="barn(inVertical)" transition="in">
                                      <p:cBhvr>
                                        <p:cTn dur="500" id="47"/>
                                        <p:tgtEl>
                                          <p:spTgt spid="72"/>
                                        </p:tgtEl>
                                      </p:cBhvr>
                                    </p:animEffect>
                                  </p:childTnLst>
                                </p:cTn>
                              </p:par>
                              <p:par>
                                <p:cTn fill="hold" grpId="0" id="48" nodeType="withEffect" presetClass="entr" presetID="16" presetSubtype="21">
                                  <p:stCondLst>
                                    <p:cond delay="0"/>
                                  </p:stCondLst>
                                  <p:childTnLst>
                                    <p:set>
                                      <p:cBhvr>
                                        <p:cTn dur="1" fill="hold" id="49">
                                          <p:stCondLst>
                                            <p:cond delay="0"/>
                                          </p:stCondLst>
                                        </p:cTn>
                                        <p:tgtEl>
                                          <p:spTgt spid="104"/>
                                        </p:tgtEl>
                                        <p:attrNameLst>
                                          <p:attrName>style.visibility</p:attrName>
                                        </p:attrNameLst>
                                      </p:cBhvr>
                                      <p:to>
                                        <p:strVal val="visible"/>
                                      </p:to>
                                    </p:set>
                                    <p:animEffect filter="barn(inVertical)" transition="in">
                                      <p:cBhvr>
                                        <p:cTn dur="500" id="50"/>
                                        <p:tgtEl>
                                          <p:spTgt spid="104"/>
                                        </p:tgtEl>
                                      </p:cBhvr>
                                    </p:animEffect>
                                  </p:childTnLst>
                                </p:cTn>
                              </p:par>
                            </p:childTnLst>
                          </p:cTn>
                        </p:par>
                        <p:par>
                          <p:cTn fill="hold" id="51" nodeType="afterGroup">
                            <p:stCondLst>
                              <p:cond delay="2750"/>
                            </p:stCondLst>
                            <p:childTnLst>
                              <p:par>
                                <p:cTn fill="hold" id="52" nodeType="afterEffect" presetClass="entr" presetID="53" presetSubtype="0">
                                  <p:stCondLst>
                                    <p:cond delay="0"/>
                                  </p:stCondLst>
                                  <p:childTnLst>
                                    <p:set>
                                      <p:cBhvr>
                                        <p:cTn dur="1" fill="hold" id="53">
                                          <p:stCondLst>
                                            <p:cond delay="0"/>
                                          </p:stCondLst>
                                        </p:cTn>
                                        <p:tgtEl>
                                          <p:spTgt spid="4"/>
                                        </p:tgtEl>
                                        <p:attrNameLst>
                                          <p:attrName>style.visibility</p:attrName>
                                        </p:attrNameLst>
                                      </p:cBhvr>
                                      <p:to>
                                        <p:strVal val="visible"/>
                                      </p:to>
                                    </p:set>
                                    <p:anim calcmode="lin" valueType="num">
                                      <p:cBhvr>
                                        <p:cTn dur="500" fill="hold" id="54"/>
                                        <p:tgtEl>
                                          <p:spTgt spid="4"/>
                                        </p:tgtEl>
                                        <p:attrNameLst>
                                          <p:attrName>ppt_w</p:attrName>
                                        </p:attrNameLst>
                                      </p:cBhvr>
                                      <p:tavLst>
                                        <p:tav tm="0">
                                          <p:val>
                                            <p:fltVal val="0"/>
                                          </p:val>
                                        </p:tav>
                                        <p:tav tm="100000">
                                          <p:val>
                                            <p:strVal val="#ppt_w"/>
                                          </p:val>
                                        </p:tav>
                                      </p:tavLst>
                                    </p:anim>
                                    <p:anim calcmode="lin" valueType="num">
                                      <p:cBhvr>
                                        <p:cTn dur="500" fill="hold" id="55"/>
                                        <p:tgtEl>
                                          <p:spTgt spid="4"/>
                                        </p:tgtEl>
                                        <p:attrNameLst>
                                          <p:attrName>ppt_h</p:attrName>
                                        </p:attrNameLst>
                                      </p:cBhvr>
                                      <p:tavLst>
                                        <p:tav tm="0">
                                          <p:val>
                                            <p:fltVal val="0"/>
                                          </p:val>
                                        </p:tav>
                                        <p:tav tm="100000">
                                          <p:val>
                                            <p:strVal val="#ppt_h"/>
                                          </p:val>
                                        </p:tav>
                                      </p:tavLst>
                                    </p:anim>
                                    <p:animEffect filter="fade" transition="in">
                                      <p:cBhvr>
                                        <p:cTn dur="500" id="56"/>
                                        <p:tgtEl>
                                          <p:spTgt spid="4"/>
                                        </p:tgtEl>
                                      </p:cBhvr>
                                    </p:animEffect>
                                  </p:childTnLst>
                                </p:cTn>
                              </p:par>
                            </p:childTnLst>
                          </p:cTn>
                        </p:par>
                        <p:par>
                          <p:cTn fill="hold" id="57" nodeType="afterGroup">
                            <p:stCondLst>
                              <p:cond delay="3250"/>
                            </p:stCondLst>
                            <p:childTnLst>
                              <p:par>
                                <p:cTn fill="hold" id="58" nodeType="afterEffect" presetClass="entr" presetID="18" presetSubtype="9">
                                  <p:stCondLst>
                                    <p:cond delay="0"/>
                                  </p:stCondLst>
                                  <p:childTnLst>
                                    <p:set>
                                      <p:cBhvr>
                                        <p:cTn dur="1" fill="hold" id="59">
                                          <p:stCondLst>
                                            <p:cond delay="0"/>
                                          </p:stCondLst>
                                        </p:cTn>
                                        <p:tgtEl>
                                          <p:spTgt spid="137"/>
                                        </p:tgtEl>
                                        <p:attrNameLst>
                                          <p:attrName>style.visibility</p:attrName>
                                        </p:attrNameLst>
                                      </p:cBhvr>
                                      <p:to>
                                        <p:strVal val="visible"/>
                                      </p:to>
                                    </p:set>
                                    <p:animEffect filter="strips(upLeft)" transition="in">
                                      <p:cBhvr>
                                        <p:cTn dur="500" id="60"/>
                                        <p:tgtEl>
                                          <p:spTgt spid="137"/>
                                        </p:tgtEl>
                                      </p:cBhvr>
                                    </p:animEffect>
                                  </p:childTnLst>
                                </p:cTn>
                              </p:par>
                            </p:childTnLst>
                          </p:cTn>
                        </p:par>
                        <p:par>
                          <p:cTn fill="hold" id="61" nodeType="afterGroup">
                            <p:stCondLst>
                              <p:cond delay="3750"/>
                            </p:stCondLst>
                            <p:childTnLst>
                              <p:par>
                                <p:cTn fill="hold" id="62" nodeType="afterEffect" presetClass="entr" presetID="53" presetSubtype="0">
                                  <p:stCondLst>
                                    <p:cond delay="0"/>
                                  </p:stCondLst>
                                  <p:childTnLst>
                                    <p:set>
                                      <p:cBhvr>
                                        <p:cTn dur="1" fill="hold" id="63">
                                          <p:stCondLst>
                                            <p:cond delay="0"/>
                                          </p:stCondLst>
                                        </p:cTn>
                                        <p:tgtEl>
                                          <p:spTgt spid="6"/>
                                        </p:tgtEl>
                                        <p:attrNameLst>
                                          <p:attrName>style.visibility</p:attrName>
                                        </p:attrNameLst>
                                      </p:cBhvr>
                                      <p:to>
                                        <p:strVal val="visible"/>
                                      </p:to>
                                    </p:set>
                                    <p:anim calcmode="lin" valueType="num">
                                      <p:cBhvr>
                                        <p:cTn dur="500" fill="hold" id="64"/>
                                        <p:tgtEl>
                                          <p:spTgt spid="6"/>
                                        </p:tgtEl>
                                        <p:attrNameLst>
                                          <p:attrName>ppt_w</p:attrName>
                                        </p:attrNameLst>
                                      </p:cBhvr>
                                      <p:tavLst>
                                        <p:tav tm="0">
                                          <p:val>
                                            <p:fltVal val="0"/>
                                          </p:val>
                                        </p:tav>
                                        <p:tav tm="100000">
                                          <p:val>
                                            <p:strVal val="#ppt_w"/>
                                          </p:val>
                                        </p:tav>
                                      </p:tavLst>
                                    </p:anim>
                                    <p:anim calcmode="lin" valueType="num">
                                      <p:cBhvr>
                                        <p:cTn dur="500" fill="hold" id="65"/>
                                        <p:tgtEl>
                                          <p:spTgt spid="6"/>
                                        </p:tgtEl>
                                        <p:attrNameLst>
                                          <p:attrName>ppt_h</p:attrName>
                                        </p:attrNameLst>
                                      </p:cBhvr>
                                      <p:tavLst>
                                        <p:tav tm="0">
                                          <p:val>
                                            <p:fltVal val="0"/>
                                          </p:val>
                                        </p:tav>
                                        <p:tav tm="100000">
                                          <p:val>
                                            <p:strVal val="#ppt_h"/>
                                          </p:val>
                                        </p:tav>
                                      </p:tavLst>
                                    </p:anim>
                                    <p:animEffect filter="fade" transition="in">
                                      <p:cBhvr>
                                        <p:cTn dur="500" id="66"/>
                                        <p:tgtEl>
                                          <p:spTgt spid="6"/>
                                        </p:tgtEl>
                                      </p:cBhvr>
                                    </p:animEffect>
                                  </p:childTnLst>
                                </p:cTn>
                              </p:par>
                            </p:childTnLst>
                          </p:cTn>
                        </p:par>
                        <p:par>
                          <p:cTn fill="hold" id="67" nodeType="afterGroup">
                            <p:stCondLst>
                              <p:cond delay="4250"/>
                            </p:stCondLst>
                            <p:childTnLst>
                              <p:par>
                                <p:cTn fill="hold" id="68" nodeType="afterEffect" presetClass="entr" presetID="18" presetSubtype="9">
                                  <p:stCondLst>
                                    <p:cond delay="0"/>
                                  </p:stCondLst>
                                  <p:childTnLst>
                                    <p:set>
                                      <p:cBhvr>
                                        <p:cTn dur="1" fill="hold" id="69">
                                          <p:stCondLst>
                                            <p:cond delay="0"/>
                                          </p:stCondLst>
                                        </p:cTn>
                                        <p:tgtEl>
                                          <p:spTgt spid="138"/>
                                        </p:tgtEl>
                                        <p:attrNameLst>
                                          <p:attrName>style.visibility</p:attrName>
                                        </p:attrNameLst>
                                      </p:cBhvr>
                                      <p:to>
                                        <p:strVal val="visible"/>
                                      </p:to>
                                    </p:set>
                                    <p:animEffect filter="strips(upLeft)" transition="in">
                                      <p:cBhvr>
                                        <p:cTn dur="500" id="70"/>
                                        <p:tgtEl>
                                          <p:spTgt spid="138"/>
                                        </p:tgtEl>
                                      </p:cBhvr>
                                    </p:animEffect>
                                  </p:childTnLst>
                                </p:cTn>
                              </p:par>
                            </p:childTnLst>
                          </p:cTn>
                        </p:par>
                        <p:par>
                          <p:cTn fill="hold" id="71" nodeType="afterGroup">
                            <p:stCondLst>
                              <p:cond delay="4750"/>
                            </p:stCondLst>
                            <p:childTnLst>
                              <p:par>
                                <p:cTn fill="hold" id="72" nodeType="afterEffect" presetClass="entr" presetID="53" presetSubtype="0">
                                  <p:stCondLst>
                                    <p:cond delay="0"/>
                                  </p:stCondLst>
                                  <p:childTnLst>
                                    <p:set>
                                      <p:cBhvr>
                                        <p:cTn dur="1" fill="hold" id="73">
                                          <p:stCondLst>
                                            <p:cond delay="0"/>
                                          </p:stCondLst>
                                        </p:cTn>
                                        <p:tgtEl>
                                          <p:spTgt spid="8"/>
                                        </p:tgtEl>
                                        <p:attrNameLst>
                                          <p:attrName>style.visibility</p:attrName>
                                        </p:attrNameLst>
                                      </p:cBhvr>
                                      <p:to>
                                        <p:strVal val="visible"/>
                                      </p:to>
                                    </p:set>
                                    <p:anim calcmode="lin" valueType="num">
                                      <p:cBhvr>
                                        <p:cTn dur="500" fill="hold" id="74"/>
                                        <p:tgtEl>
                                          <p:spTgt spid="8"/>
                                        </p:tgtEl>
                                        <p:attrNameLst>
                                          <p:attrName>ppt_w</p:attrName>
                                        </p:attrNameLst>
                                      </p:cBhvr>
                                      <p:tavLst>
                                        <p:tav tm="0">
                                          <p:val>
                                            <p:fltVal val="0"/>
                                          </p:val>
                                        </p:tav>
                                        <p:tav tm="100000">
                                          <p:val>
                                            <p:strVal val="#ppt_w"/>
                                          </p:val>
                                        </p:tav>
                                      </p:tavLst>
                                    </p:anim>
                                    <p:anim calcmode="lin" valueType="num">
                                      <p:cBhvr>
                                        <p:cTn dur="500" fill="hold" id="75"/>
                                        <p:tgtEl>
                                          <p:spTgt spid="8"/>
                                        </p:tgtEl>
                                        <p:attrNameLst>
                                          <p:attrName>ppt_h</p:attrName>
                                        </p:attrNameLst>
                                      </p:cBhvr>
                                      <p:tavLst>
                                        <p:tav tm="0">
                                          <p:val>
                                            <p:fltVal val="0"/>
                                          </p:val>
                                        </p:tav>
                                        <p:tav tm="100000">
                                          <p:val>
                                            <p:strVal val="#ppt_h"/>
                                          </p:val>
                                        </p:tav>
                                      </p:tavLst>
                                    </p:anim>
                                    <p:animEffect filter="fade" transition="in">
                                      <p:cBhvr>
                                        <p:cTn dur="500" id="76"/>
                                        <p:tgtEl>
                                          <p:spTgt spid="8"/>
                                        </p:tgtEl>
                                      </p:cBhvr>
                                    </p:animEffect>
                                  </p:childTnLst>
                                </p:cTn>
                              </p:par>
                            </p:childTnLst>
                          </p:cTn>
                        </p:par>
                        <p:par>
                          <p:cTn fill="hold" id="77" nodeType="afterGroup">
                            <p:stCondLst>
                              <p:cond delay="5250"/>
                            </p:stCondLst>
                            <p:childTnLst>
                              <p:par>
                                <p:cTn fill="hold" id="78" nodeType="afterEffect" presetClass="entr" presetID="18" presetSubtype="9">
                                  <p:stCondLst>
                                    <p:cond delay="0"/>
                                  </p:stCondLst>
                                  <p:childTnLst>
                                    <p:set>
                                      <p:cBhvr>
                                        <p:cTn dur="1" fill="hold" id="79">
                                          <p:stCondLst>
                                            <p:cond delay="0"/>
                                          </p:stCondLst>
                                        </p:cTn>
                                        <p:tgtEl>
                                          <p:spTgt spid="140"/>
                                        </p:tgtEl>
                                        <p:attrNameLst>
                                          <p:attrName>style.visibility</p:attrName>
                                        </p:attrNameLst>
                                      </p:cBhvr>
                                      <p:to>
                                        <p:strVal val="visible"/>
                                      </p:to>
                                    </p:set>
                                    <p:animEffect filter="strips(upLeft)" transition="in">
                                      <p:cBhvr>
                                        <p:cTn dur="500" id="80"/>
                                        <p:tgtEl>
                                          <p:spTgt spid="140"/>
                                        </p:tgtEl>
                                      </p:cBhvr>
                                    </p:animEffect>
                                  </p:childTnLst>
                                </p:cTn>
                              </p:par>
                            </p:childTnLst>
                          </p:cTn>
                        </p:par>
                        <p:par>
                          <p:cTn fill="hold" id="81" nodeType="afterGroup">
                            <p:stCondLst>
                              <p:cond delay="5750"/>
                            </p:stCondLst>
                            <p:childTnLst>
                              <p:par>
                                <p:cTn fill="hold" grpId="0" id="82" nodeType="afterEffect" presetClass="entr" presetID="22" presetSubtype="8">
                                  <p:stCondLst>
                                    <p:cond delay="0"/>
                                  </p:stCondLst>
                                  <p:childTnLst>
                                    <p:set>
                                      <p:cBhvr>
                                        <p:cTn dur="1" fill="hold" id="83">
                                          <p:stCondLst>
                                            <p:cond delay="0"/>
                                          </p:stCondLst>
                                        </p:cTn>
                                        <p:tgtEl>
                                          <p:spTgt spid="134"/>
                                        </p:tgtEl>
                                        <p:attrNameLst>
                                          <p:attrName>style.visibility</p:attrName>
                                        </p:attrNameLst>
                                      </p:cBhvr>
                                      <p:to>
                                        <p:strVal val="visible"/>
                                      </p:to>
                                    </p:set>
                                    <p:animEffect filter="wipe(left)" transition="in">
                                      <p:cBhvr>
                                        <p:cTn dur="500" id="84"/>
                                        <p:tgtEl>
                                          <p:spTgt spid="134"/>
                                        </p:tgtEl>
                                      </p:cBhvr>
                                    </p:animEffect>
                                  </p:childTnLst>
                                </p:cTn>
                              </p:par>
                              <p:par>
                                <p:cTn fill="hold" id="85" nodeType="withEffect" presetClass="entr" presetID="22" presetSubtype="8">
                                  <p:stCondLst>
                                    <p:cond delay="0"/>
                                  </p:stCondLst>
                                  <p:childTnLst>
                                    <p:set>
                                      <p:cBhvr>
                                        <p:cTn dur="1" fill="hold" id="86">
                                          <p:stCondLst>
                                            <p:cond delay="0"/>
                                          </p:stCondLst>
                                        </p:cTn>
                                        <p:tgtEl>
                                          <p:spTgt spid="141"/>
                                        </p:tgtEl>
                                        <p:attrNameLst>
                                          <p:attrName>style.visibility</p:attrName>
                                        </p:attrNameLst>
                                      </p:cBhvr>
                                      <p:to>
                                        <p:strVal val="visible"/>
                                      </p:to>
                                    </p:set>
                                    <p:animEffect filter="wipe(left)" transition="in">
                                      <p:cBhvr>
                                        <p:cTn dur="500" id="87"/>
                                        <p:tgtEl>
                                          <p:spTgt spid="141"/>
                                        </p:tgtEl>
                                      </p:cBhvr>
                                    </p:animEffect>
                                  </p:childTnLst>
                                </p:cTn>
                              </p:par>
                            </p:childTnLst>
                          </p:cTn>
                        </p:par>
                        <p:par>
                          <p:cTn fill="hold" id="88" nodeType="afterGroup">
                            <p:stCondLst>
                              <p:cond delay="6250"/>
                            </p:stCondLst>
                            <p:childTnLst>
                              <p:par>
                                <p:cTn fill="hold" grpId="0" id="89" nodeType="afterEffect" presetClass="entr" presetID="14" presetSubtype="10">
                                  <p:stCondLst>
                                    <p:cond delay="0"/>
                                  </p:stCondLst>
                                  <p:childTnLst>
                                    <p:set>
                                      <p:cBhvr>
                                        <p:cTn dur="1" fill="hold" id="90">
                                          <p:stCondLst>
                                            <p:cond delay="0"/>
                                          </p:stCondLst>
                                        </p:cTn>
                                        <p:tgtEl>
                                          <p:spTgt spid="133"/>
                                        </p:tgtEl>
                                        <p:attrNameLst>
                                          <p:attrName>style.visibility</p:attrName>
                                        </p:attrNameLst>
                                      </p:cBhvr>
                                      <p:to>
                                        <p:strVal val="visible"/>
                                      </p:to>
                                    </p:set>
                                    <p:animEffect filter="randombar(horizontal)" transition="in">
                                      <p:cBhvr>
                                        <p:cTn dur="500" id="91"/>
                                        <p:tgtEl>
                                          <p:spTgt spid="133"/>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134"/>
      <p:bldP grpId="0" spid="10"/>
      <p:bldP grpId="0" spid="71"/>
      <p:bldP grpId="0" spid="72"/>
      <p:bldP grpId="0" spid="104"/>
      <p:bldP grpId="0" spid="121"/>
      <p:bldP grpId="0" spid="122"/>
      <p:bldP grpId="0" spid="133"/>
    </p:bldLst>
  </p:timing>
</p:sld>
</file>

<file path=ppt/slides/slide7.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7" name="椭圆 6">
            <a:extLst>
              <a:ext uri="{FF2B5EF4-FFF2-40B4-BE49-F238E27FC236}">
                <a16:creationId xmlns:a16="http://schemas.microsoft.com/office/drawing/2014/main" id="{97F35CCF-B1AD-40AD-9D77-E1886CA3C847}"/>
              </a:ext>
            </a:extLst>
          </p:cNvPr>
          <p:cNvSpPr/>
          <p:nvPr/>
        </p:nvSpPr>
        <p:spPr>
          <a:xfrm>
            <a:off x="11325281" y="5957455"/>
            <a:ext cx="1193212" cy="1193212"/>
          </a:xfrm>
          <a:prstGeom prst="ellipse">
            <a:avLst/>
          </a:prstGeom>
          <a:solidFill>
            <a:srgbClr val="A0CBD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pic>
        <p:nvPicPr>
          <p:cNvPr id="9" name="图形 8">
            <a:extLst>
              <a:ext uri="{FF2B5EF4-FFF2-40B4-BE49-F238E27FC236}">
                <a16:creationId xmlns:a16="http://schemas.microsoft.com/office/drawing/2014/main" id="{3A827DE4-2CFA-4B3F-BDA9-A7AAAB41F317}"/>
              </a:ext>
            </a:extLst>
          </p:cNvPr>
          <p:cNvPicPr>
            <a:picLocks noChangeAspect="1"/>
          </p:cNvPicPr>
          <p:nvPr/>
        </p:nvPicPr>
        <p:blipFill>
          <a:blip r:embed="rId3">
            <a:extLst>
              <a:ext uri="{96DAC541-7B7A-43D3-8B79-37D633B846F1}">
                <asvg:svgBlip xmlns:asvg="http://schemas.microsoft.com/office/drawing/2016/SVG/main" r:embed="rId4"/>
              </a:ext>
            </a:extLst>
          </a:blip>
          <a:srcRect b="5167" l="7384" r="26979" t="2999"/>
          <a:stretch>
            <a:fillRect/>
          </a:stretch>
        </p:blipFill>
        <p:spPr>
          <a:xfrm>
            <a:off x="11325281" y="5618178"/>
            <a:ext cx="527258" cy="935883"/>
          </a:xfrm>
          <a:custGeom>
            <a:rect b="b" l="l" r="r" t="t"/>
            <a:pathLst>
              <a:path h="1837631" w="1035286">
                <a:moveTo>
                  <a:pt x="619939" y="0"/>
                </a:moveTo>
                <a:lnTo>
                  <a:pt x="1035286" y="0"/>
                </a:lnTo>
                <a:lnTo>
                  <a:pt x="1035286" y="1837632"/>
                </a:lnTo>
                <a:lnTo>
                  <a:pt x="527503" y="1837632"/>
                </a:lnTo>
                <a:lnTo>
                  <a:pt x="527503" y="633496"/>
                </a:lnTo>
                <a:cubicBezTo>
                  <a:pt x="445337" y="695942"/>
                  <a:pt x="365842" y="746474"/>
                  <a:pt x="289017" y="785092"/>
                </a:cubicBezTo>
                <a:cubicBezTo>
                  <a:pt x="212192" y="823710"/>
                  <a:pt x="115853" y="860684"/>
                  <a:pt x="0" y="896015"/>
                </a:cubicBezTo>
                <a:lnTo>
                  <a:pt x="0" y="484366"/>
                </a:lnTo>
                <a:cubicBezTo>
                  <a:pt x="170904" y="429315"/>
                  <a:pt x="303602" y="363172"/>
                  <a:pt x="398092" y="285936"/>
                </a:cubicBezTo>
                <a:cubicBezTo>
                  <a:pt x="492582" y="208701"/>
                  <a:pt x="566531" y="113389"/>
                  <a:pt x="619939" y="0"/>
                </a:cubicBezTo>
                <a:close/>
              </a:path>
            </a:pathLst>
          </a:custGeom>
          <a:effectLst>
            <a:outerShdw algn="tl" blurRad="50800" dir="2700000" dist="38100" rotWithShape="0">
              <a:prstClr val="black">
                <a:alpha val="40000"/>
              </a:prstClr>
            </a:outerShdw>
          </a:effectLst>
        </p:spPr>
      </p:pic>
      <p:sp>
        <p:nvSpPr>
          <p:cNvPr id="10" name="文本框 9">
            <a:extLst>
              <a:ext uri="{FF2B5EF4-FFF2-40B4-BE49-F238E27FC236}">
                <a16:creationId xmlns:a16="http://schemas.microsoft.com/office/drawing/2014/main" id="{3EF1E9ED-80AB-4909-8BA5-A43F4FCE2334}"/>
              </a:ext>
            </a:extLst>
          </p:cNvPr>
          <p:cNvSpPr txBox="1"/>
          <p:nvPr/>
        </p:nvSpPr>
        <p:spPr>
          <a:xfrm>
            <a:off x="4133850" y="390618"/>
            <a:ext cx="3924300" cy="640080"/>
          </a:xfrm>
          <a:prstGeom prst="rect">
            <a:avLst/>
          </a:prstGeom>
          <a:noFill/>
        </p:spPr>
        <p:txBody>
          <a:bodyPr rtlCol="0" wrap="square">
            <a:spAutoFit/>
          </a:bodyPr>
          <a:lstStyle/>
          <a:p>
            <a:pPr algn="ctr"/>
            <a:r>
              <a:rPr altLang="en-US" lang="zh-CN" sz="3600">
                <a:solidFill>
                  <a:schemeClr val="tx1">
                    <a:lumMod val="85000"/>
                    <a:lumOff val="15000"/>
                  </a:schemeClr>
                </a:solidFill>
                <a:latin charset="-122" panose="02000500000000000000" pitchFamily="2" typeface="方正雅士黑 简"/>
                <a:ea charset="-122" panose="02000500000000000000" pitchFamily="2" typeface="方正雅士黑 简"/>
              </a:rPr>
              <a:t>目标完成情况</a:t>
            </a:r>
          </a:p>
        </p:txBody>
      </p:sp>
      <p:cxnSp>
        <p:nvCxnSpPr>
          <p:cNvPr id="13" name="直接连接符 12">
            <a:extLst>
              <a:ext uri="{FF2B5EF4-FFF2-40B4-BE49-F238E27FC236}">
                <a16:creationId xmlns:a16="http://schemas.microsoft.com/office/drawing/2014/main" id="{63C006F1-C17E-4B5D-A667-14B1AFD009FE}"/>
              </a:ext>
            </a:extLst>
          </p:cNvPr>
          <p:cNvCxnSpPr/>
          <p:nvPr/>
        </p:nvCxnSpPr>
        <p:spPr>
          <a:xfrm>
            <a:off x="7791452" y="683005"/>
            <a:ext cx="571498" cy="0"/>
          </a:xfrm>
          <a:prstGeom prst="line">
            <a:avLst/>
          </a:prstGeom>
          <a:ln cap="rnd" w="19050">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pic>
        <p:nvPicPr>
          <p:cNvPr id="15" name="图形 14">
            <a:extLst>
              <a:ext uri="{FF2B5EF4-FFF2-40B4-BE49-F238E27FC236}">
                <a16:creationId xmlns:a16="http://schemas.microsoft.com/office/drawing/2014/main" id="{D0B6809A-9193-440B-AB59-9B5857A764E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314825" y="597280"/>
            <a:ext cx="171450" cy="171450"/>
          </a:xfrm>
          <a:prstGeom prst="rect">
            <a:avLst/>
          </a:prstGeom>
        </p:spPr>
      </p:pic>
      <p:pic>
        <p:nvPicPr>
          <p:cNvPr id="16" name="图形 15">
            <a:extLst>
              <a:ext uri="{FF2B5EF4-FFF2-40B4-BE49-F238E27FC236}">
                <a16:creationId xmlns:a16="http://schemas.microsoft.com/office/drawing/2014/main" id="{1508760C-4270-4AAF-AD1C-A51CD87667C3}"/>
              </a:ext>
            </a:extLst>
          </p:cNvPr>
          <p:cNvPicPr>
            <a:picLocks noChangeAspect="1"/>
          </p:cNvPicPr>
          <p:nvPr/>
        </p:nvPicPr>
        <p:blipFill>
          <a:blip r:embed="rId5">
            <a:extLst>
              <a:ext uri="{96DAC541-7B7A-43D3-8B79-37D633B846F1}">
                <asvg:svgBlip xmlns:asvg="http://schemas.microsoft.com/office/drawing/2016/SVG/main" r:embed="rId7"/>
              </a:ext>
            </a:extLst>
          </a:blip>
          <a:stretch>
            <a:fillRect/>
          </a:stretch>
        </p:blipFill>
        <p:spPr>
          <a:xfrm>
            <a:off x="7705727" y="597280"/>
            <a:ext cx="171450" cy="171450"/>
          </a:xfrm>
          <a:prstGeom prst="rect">
            <a:avLst/>
          </a:prstGeom>
        </p:spPr>
      </p:pic>
      <p:cxnSp>
        <p:nvCxnSpPr>
          <p:cNvPr id="18" name="直接连接符 17">
            <a:extLst>
              <a:ext uri="{FF2B5EF4-FFF2-40B4-BE49-F238E27FC236}">
                <a16:creationId xmlns:a16="http://schemas.microsoft.com/office/drawing/2014/main" id="{D59B9B17-AB83-41D0-BA0B-C09A6571714C}"/>
              </a:ext>
            </a:extLst>
          </p:cNvPr>
          <p:cNvCxnSpPr/>
          <p:nvPr/>
        </p:nvCxnSpPr>
        <p:spPr>
          <a:xfrm>
            <a:off x="3829052" y="683005"/>
            <a:ext cx="571498" cy="0"/>
          </a:xfrm>
          <a:prstGeom prst="line">
            <a:avLst/>
          </a:prstGeom>
          <a:ln cap="rnd" w="19050">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sp>
        <p:nvSpPr>
          <p:cNvPr id="11" name="Freeform 115">
            <a:extLst>
              <a:ext uri="{FF2B5EF4-FFF2-40B4-BE49-F238E27FC236}">
                <a16:creationId xmlns:a16="http://schemas.microsoft.com/office/drawing/2014/main" id="{E64CA575-5BE4-44BD-8392-F0FA7344E811}"/>
              </a:ext>
            </a:extLst>
          </p:cNvPr>
          <p:cNvSpPr>
            <a:spLocks noEditPoints="1"/>
          </p:cNvSpPr>
          <p:nvPr/>
        </p:nvSpPr>
        <p:spPr bwMode="auto">
          <a:xfrm>
            <a:off x="2795561" y="4907675"/>
            <a:ext cx="474263" cy="474265"/>
          </a:xfrm>
          <a:custGeom>
            <a:gdLst>
              <a:gd fmla="*/ 198 w 393" name="T0"/>
              <a:gd fmla="*/ 0 h 393" name="T1"/>
              <a:gd fmla="*/ 158 w 393" name="T2"/>
              <a:gd fmla="*/ 4 h 393" name="T3"/>
              <a:gd fmla="*/ 120 w 393" name="T4"/>
              <a:gd fmla="*/ 16 h 393" name="T5"/>
              <a:gd fmla="*/ 88 w 393" name="T6"/>
              <a:gd fmla="*/ 34 h 393" name="T7"/>
              <a:gd fmla="*/ 58 w 393" name="T8"/>
              <a:gd fmla="*/ 57 h 393" name="T9"/>
              <a:gd fmla="*/ 34 w 393" name="T10"/>
              <a:gd fmla="*/ 85 h 393" name="T11"/>
              <a:gd fmla="*/ 16 w 393" name="T12"/>
              <a:gd fmla="*/ 119 h 393" name="T13"/>
              <a:gd fmla="*/ 4 w 393" name="T14"/>
              <a:gd fmla="*/ 157 h 393" name="T15"/>
              <a:gd fmla="*/ 0 w 393" name="T16"/>
              <a:gd fmla="*/ 195 h 393" name="T17"/>
              <a:gd fmla="*/ 2 w 393" name="T18"/>
              <a:gd fmla="*/ 217 h 393" name="T19"/>
              <a:gd fmla="*/ 10 w 393" name="T20"/>
              <a:gd fmla="*/ 255 h 393" name="T21"/>
              <a:gd fmla="*/ 24 w 393" name="T22"/>
              <a:gd fmla="*/ 289 h 393" name="T23"/>
              <a:gd fmla="*/ 46 w 393" name="T24"/>
              <a:gd fmla="*/ 321 h 393" name="T25"/>
              <a:gd fmla="*/ 72 w 393" name="T26"/>
              <a:gd fmla="*/ 347 h 393" name="T27"/>
              <a:gd fmla="*/ 104 w 393" name="T28"/>
              <a:gd fmla="*/ 369 h 393" name="T29"/>
              <a:gd fmla="*/ 138 w 393" name="T30"/>
              <a:gd fmla="*/ 385 h 393" name="T31"/>
              <a:gd fmla="*/ 178 w 393" name="T32"/>
              <a:gd fmla="*/ 391 h 393" name="T33"/>
              <a:gd fmla="*/ 198 w 393" name="T34"/>
              <a:gd fmla="*/ 393 h 393" name="T35"/>
              <a:gd fmla="*/ 238 w 393" name="T36"/>
              <a:gd fmla="*/ 389 h 393" name="T37"/>
              <a:gd fmla="*/ 274 w 393" name="T38"/>
              <a:gd fmla="*/ 377 h 393" name="T39"/>
              <a:gd fmla="*/ 308 w 393" name="T40"/>
              <a:gd fmla="*/ 359 h 393" name="T41"/>
              <a:gd fmla="*/ 336 w 393" name="T42"/>
              <a:gd fmla="*/ 335 h 393" name="T43"/>
              <a:gd fmla="*/ 360 w 393" name="T44"/>
              <a:gd fmla="*/ 307 h 393" name="T45"/>
              <a:gd fmla="*/ 379 w 393" name="T46"/>
              <a:gd fmla="*/ 273 h 393" name="T47"/>
              <a:gd fmla="*/ 389 w 393" name="T48"/>
              <a:gd fmla="*/ 235 h 393" name="T49"/>
              <a:gd fmla="*/ 393 w 393" name="T50"/>
              <a:gd fmla="*/ 195 h 393" name="T51"/>
              <a:gd fmla="*/ 393 w 393" name="T52"/>
              <a:gd fmla="*/ 175 h 393" name="T53"/>
              <a:gd fmla="*/ 385 w 393" name="T54"/>
              <a:gd fmla="*/ 137 h 393" name="T55"/>
              <a:gd fmla="*/ 369 w 393" name="T56"/>
              <a:gd fmla="*/ 101 h 393" name="T57"/>
              <a:gd fmla="*/ 350 w 393" name="T58"/>
              <a:gd fmla="*/ 71 h 393" name="T59"/>
              <a:gd fmla="*/ 322 w 393" name="T60"/>
              <a:gd fmla="*/ 44 h 393" name="T61"/>
              <a:gd fmla="*/ 292 w 393" name="T62"/>
              <a:gd fmla="*/ 24 h 393" name="T63"/>
              <a:gd fmla="*/ 256 w 393" name="T64"/>
              <a:gd fmla="*/ 8 h 393" name="T65"/>
              <a:gd fmla="*/ 218 w 393" name="T66"/>
              <a:gd fmla="*/ 0 h 393" name="T67"/>
              <a:gd fmla="*/ 198 w 393" name="T68"/>
              <a:gd fmla="*/ 0 h 393" name="T69"/>
              <a:gd fmla="*/ 216 w 393" name="T70"/>
              <a:gd fmla="*/ 195 h 393" name="T71"/>
              <a:gd fmla="*/ 216 w 393" name="T72"/>
              <a:gd fmla="*/ 317 h 393" name="T73"/>
              <a:gd fmla="*/ 164 w 393" name="T74"/>
              <a:gd fmla="*/ 317 h 393" name="T75"/>
              <a:gd fmla="*/ 140 w 393" name="T76"/>
              <a:gd fmla="*/ 195 h 393" name="T77"/>
              <a:gd fmla="*/ 164 w 393" name="T78"/>
              <a:gd fmla="*/ 153 h 393" name="T79"/>
              <a:gd fmla="*/ 164 w 393" name="T80"/>
              <a:gd fmla="*/ 125 h 393" name="T81"/>
              <a:gd fmla="*/ 170 w 393" name="T82"/>
              <a:gd fmla="*/ 99 h 393" name="T83"/>
              <a:gd fmla="*/ 182 w 393" name="T84"/>
              <a:gd fmla="*/ 85 h 393" name="T85"/>
              <a:gd fmla="*/ 202 w 393" name="T86"/>
              <a:gd fmla="*/ 75 h 393" name="T87"/>
              <a:gd fmla="*/ 254 w 393" name="T88"/>
              <a:gd fmla="*/ 73 h 393" name="T89"/>
              <a:gd fmla="*/ 254 w 393" name="T90"/>
              <a:gd fmla="*/ 115 h 393" name="T91"/>
              <a:gd fmla="*/ 226 w 393" name="T92"/>
              <a:gd fmla="*/ 115 h 393" name="T93"/>
              <a:gd fmla="*/ 220 w 393" name="T94"/>
              <a:gd fmla="*/ 117 h 393" name="T95"/>
              <a:gd fmla="*/ 216 w 393" name="T96"/>
              <a:gd fmla="*/ 127 h 393" name="T97"/>
              <a:gd fmla="*/ 254 w 393" name="T98"/>
              <a:gd fmla="*/ 153 h 393" name="T9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b="b" l="0" r="r" t="0"/>
            <a:pathLst>
              <a:path h="393" w="393">
                <a:moveTo>
                  <a:pt x="198" y="0"/>
                </a:moveTo>
                <a:lnTo>
                  <a:pt x="198" y="0"/>
                </a:lnTo>
                <a:lnTo>
                  <a:pt x="178" y="0"/>
                </a:lnTo>
                <a:lnTo>
                  <a:pt x="158" y="4"/>
                </a:lnTo>
                <a:lnTo>
                  <a:pt x="138" y="8"/>
                </a:lnTo>
                <a:lnTo>
                  <a:pt x="120" y="16"/>
                </a:lnTo>
                <a:lnTo>
                  <a:pt x="104" y="24"/>
                </a:lnTo>
                <a:lnTo>
                  <a:pt x="88" y="34"/>
                </a:lnTo>
                <a:lnTo>
                  <a:pt x="72" y="44"/>
                </a:lnTo>
                <a:lnTo>
                  <a:pt x="58" y="57"/>
                </a:lnTo>
                <a:lnTo>
                  <a:pt x="46" y="71"/>
                </a:lnTo>
                <a:lnTo>
                  <a:pt x="34" y="85"/>
                </a:lnTo>
                <a:lnTo>
                  <a:pt x="24" y="101"/>
                </a:lnTo>
                <a:lnTo>
                  <a:pt x="16" y="119"/>
                </a:lnTo>
                <a:lnTo>
                  <a:pt x="10" y="137"/>
                </a:lnTo>
                <a:lnTo>
                  <a:pt x="4" y="157"/>
                </a:lnTo>
                <a:lnTo>
                  <a:pt x="2" y="175"/>
                </a:lnTo>
                <a:lnTo>
                  <a:pt x="0" y="195"/>
                </a:lnTo>
                <a:lnTo>
                  <a:pt x="0" y="195"/>
                </a:lnTo>
                <a:lnTo>
                  <a:pt x="2" y="217"/>
                </a:lnTo>
                <a:lnTo>
                  <a:pt x="4" y="235"/>
                </a:lnTo>
                <a:lnTo>
                  <a:pt x="10" y="255"/>
                </a:lnTo>
                <a:lnTo>
                  <a:pt x="16" y="273"/>
                </a:lnTo>
                <a:lnTo>
                  <a:pt x="24" y="289"/>
                </a:lnTo>
                <a:lnTo>
                  <a:pt x="34" y="307"/>
                </a:lnTo>
                <a:lnTo>
                  <a:pt x="46" y="321"/>
                </a:lnTo>
                <a:lnTo>
                  <a:pt x="58" y="335"/>
                </a:lnTo>
                <a:lnTo>
                  <a:pt x="72" y="347"/>
                </a:lnTo>
                <a:lnTo>
                  <a:pt x="88" y="359"/>
                </a:lnTo>
                <a:lnTo>
                  <a:pt x="104" y="369"/>
                </a:lnTo>
                <a:lnTo>
                  <a:pt x="120" y="377"/>
                </a:lnTo>
                <a:lnTo>
                  <a:pt x="138" y="385"/>
                </a:lnTo>
                <a:lnTo>
                  <a:pt x="158" y="389"/>
                </a:lnTo>
                <a:lnTo>
                  <a:pt x="178" y="391"/>
                </a:lnTo>
                <a:lnTo>
                  <a:pt x="198" y="393"/>
                </a:lnTo>
                <a:lnTo>
                  <a:pt x="198" y="393"/>
                </a:lnTo>
                <a:lnTo>
                  <a:pt x="218" y="391"/>
                </a:lnTo>
                <a:lnTo>
                  <a:pt x="238" y="389"/>
                </a:lnTo>
                <a:lnTo>
                  <a:pt x="256" y="385"/>
                </a:lnTo>
                <a:lnTo>
                  <a:pt x="274" y="377"/>
                </a:lnTo>
                <a:lnTo>
                  <a:pt x="292" y="369"/>
                </a:lnTo>
                <a:lnTo>
                  <a:pt x="308" y="359"/>
                </a:lnTo>
                <a:lnTo>
                  <a:pt x="322" y="347"/>
                </a:lnTo>
                <a:lnTo>
                  <a:pt x="336" y="335"/>
                </a:lnTo>
                <a:lnTo>
                  <a:pt x="350" y="321"/>
                </a:lnTo>
                <a:lnTo>
                  <a:pt x="360" y="307"/>
                </a:lnTo>
                <a:lnTo>
                  <a:pt x="369" y="289"/>
                </a:lnTo>
                <a:lnTo>
                  <a:pt x="379" y="273"/>
                </a:lnTo>
                <a:lnTo>
                  <a:pt x="385" y="255"/>
                </a:lnTo>
                <a:lnTo>
                  <a:pt x="389" y="235"/>
                </a:lnTo>
                <a:lnTo>
                  <a:pt x="393" y="217"/>
                </a:lnTo>
                <a:lnTo>
                  <a:pt x="393" y="195"/>
                </a:lnTo>
                <a:lnTo>
                  <a:pt x="393" y="195"/>
                </a:lnTo>
                <a:lnTo>
                  <a:pt x="393" y="175"/>
                </a:lnTo>
                <a:lnTo>
                  <a:pt x="389" y="157"/>
                </a:lnTo>
                <a:lnTo>
                  <a:pt x="385" y="137"/>
                </a:lnTo>
                <a:lnTo>
                  <a:pt x="379" y="119"/>
                </a:lnTo>
                <a:lnTo>
                  <a:pt x="369" y="101"/>
                </a:lnTo>
                <a:lnTo>
                  <a:pt x="360" y="85"/>
                </a:lnTo>
                <a:lnTo>
                  <a:pt x="350" y="71"/>
                </a:lnTo>
                <a:lnTo>
                  <a:pt x="336" y="57"/>
                </a:lnTo>
                <a:lnTo>
                  <a:pt x="322" y="44"/>
                </a:lnTo>
                <a:lnTo>
                  <a:pt x="308" y="34"/>
                </a:lnTo>
                <a:lnTo>
                  <a:pt x="292" y="24"/>
                </a:lnTo>
                <a:lnTo>
                  <a:pt x="274" y="16"/>
                </a:lnTo>
                <a:lnTo>
                  <a:pt x="256" y="8"/>
                </a:lnTo>
                <a:lnTo>
                  <a:pt x="238" y="4"/>
                </a:lnTo>
                <a:lnTo>
                  <a:pt x="218" y="0"/>
                </a:lnTo>
                <a:lnTo>
                  <a:pt x="198" y="0"/>
                </a:lnTo>
                <a:lnTo>
                  <a:pt x="198" y="0"/>
                </a:lnTo>
                <a:close/>
                <a:moveTo>
                  <a:pt x="250" y="195"/>
                </a:moveTo>
                <a:lnTo>
                  <a:pt x="216" y="195"/>
                </a:lnTo>
                <a:lnTo>
                  <a:pt x="216" y="195"/>
                </a:lnTo>
                <a:lnTo>
                  <a:pt x="216" y="317"/>
                </a:lnTo>
                <a:lnTo>
                  <a:pt x="164" y="317"/>
                </a:lnTo>
                <a:lnTo>
                  <a:pt x="164" y="317"/>
                </a:lnTo>
                <a:lnTo>
                  <a:pt x="164" y="195"/>
                </a:lnTo>
                <a:lnTo>
                  <a:pt x="140" y="195"/>
                </a:lnTo>
                <a:lnTo>
                  <a:pt x="140" y="153"/>
                </a:lnTo>
                <a:lnTo>
                  <a:pt x="164" y="153"/>
                </a:lnTo>
                <a:lnTo>
                  <a:pt x="164" y="125"/>
                </a:lnTo>
                <a:lnTo>
                  <a:pt x="164" y="125"/>
                </a:lnTo>
                <a:lnTo>
                  <a:pt x="168" y="107"/>
                </a:lnTo>
                <a:lnTo>
                  <a:pt x="170" y="99"/>
                </a:lnTo>
                <a:lnTo>
                  <a:pt x="174" y="91"/>
                </a:lnTo>
                <a:lnTo>
                  <a:pt x="182" y="85"/>
                </a:lnTo>
                <a:lnTo>
                  <a:pt x="190" y="79"/>
                </a:lnTo>
                <a:lnTo>
                  <a:pt x="202" y="75"/>
                </a:lnTo>
                <a:lnTo>
                  <a:pt x="216" y="73"/>
                </a:lnTo>
                <a:lnTo>
                  <a:pt x="254" y="73"/>
                </a:lnTo>
                <a:lnTo>
                  <a:pt x="254" y="115"/>
                </a:lnTo>
                <a:lnTo>
                  <a:pt x="254" y="115"/>
                </a:lnTo>
                <a:lnTo>
                  <a:pt x="226" y="115"/>
                </a:lnTo>
                <a:lnTo>
                  <a:pt x="226" y="115"/>
                </a:lnTo>
                <a:lnTo>
                  <a:pt x="222" y="115"/>
                </a:lnTo>
                <a:lnTo>
                  <a:pt x="220" y="117"/>
                </a:lnTo>
                <a:lnTo>
                  <a:pt x="216" y="121"/>
                </a:lnTo>
                <a:lnTo>
                  <a:pt x="216" y="127"/>
                </a:lnTo>
                <a:lnTo>
                  <a:pt x="216" y="153"/>
                </a:lnTo>
                <a:lnTo>
                  <a:pt x="254" y="153"/>
                </a:lnTo>
                <a:lnTo>
                  <a:pt x="250" y="195"/>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a:endParaRPr lang="en-US" sz="5000"/>
          </a:p>
        </p:txBody>
      </p:sp>
      <p:sp>
        <p:nvSpPr>
          <p:cNvPr id="12" name="Freeform 185">
            <a:extLst>
              <a:ext uri="{FF2B5EF4-FFF2-40B4-BE49-F238E27FC236}">
                <a16:creationId xmlns:a16="http://schemas.microsoft.com/office/drawing/2014/main" id="{D1407D02-4D91-4A29-BE66-F46BCBA4B000}"/>
              </a:ext>
            </a:extLst>
          </p:cNvPr>
          <p:cNvSpPr>
            <a:spLocks noEditPoints="1"/>
          </p:cNvSpPr>
          <p:nvPr/>
        </p:nvSpPr>
        <p:spPr bwMode="auto">
          <a:xfrm>
            <a:off x="1608831" y="4907671"/>
            <a:ext cx="474263" cy="474264"/>
          </a:xfrm>
          <a:custGeom>
            <a:gdLst>
              <a:gd fmla="*/ 177 w 393" name="T0"/>
              <a:gd fmla="*/ 0 h 393" name="T1"/>
              <a:gd fmla="*/ 119 w 393" name="T2"/>
              <a:gd fmla="*/ 16 h 393" name="T3"/>
              <a:gd fmla="*/ 72 w 393" name="T4"/>
              <a:gd fmla="*/ 44 h 393" name="T5"/>
              <a:gd fmla="*/ 34 w 393" name="T6"/>
              <a:gd fmla="*/ 85 h 393" name="T7"/>
              <a:gd fmla="*/ 10 w 393" name="T8"/>
              <a:gd fmla="*/ 137 h 393" name="T9"/>
              <a:gd fmla="*/ 0 w 393" name="T10"/>
              <a:gd fmla="*/ 195 h 393" name="T11"/>
              <a:gd fmla="*/ 4 w 393" name="T12"/>
              <a:gd fmla="*/ 235 h 393" name="T13"/>
              <a:gd fmla="*/ 24 w 393" name="T14"/>
              <a:gd fmla="*/ 289 h 393" name="T15"/>
              <a:gd fmla="*/ 58 w 393" name="T16"/>
              <a:gd fmla="*/ 335 h 393" name="T17"/>
              <a:gd fmla="*/ 103 w 393" name="T18"/>
              <a:gd fmla="*/ 369 h 393" name="T19"/>
              <a:gd fmla="*/ 157 w 393" name="T20"/>
              <a:gd fmla="*/ 389 h 393" name="T21"/>
              <a:gd fmla="*/ 197 w 393" name="T22"/>
              <a:gd fmla="*/ 393 h 393" name="T23"/>
              <a:gd fmla="*/ 255 w 393" name="T24"/>
              <a:gd fmla="*/ 385 h 393" name="T25"/>
              <a:gd fmla="*/ 307 w 393" name="T26"/>
              <a:gd fmla="*/ 359 h 393" name="T27"/>
              <a:gd fmla="*/ 349 w 393" name="T28"/>
              <a:gd fmla="*/ 321 h 393" name="T29"/>
              <a:gd fmla="*/ 379 w 393" name="T30"/>
              <a:gd fmla="*/ 273 h 393" name="T31"/>
              <a:gd fmla="*/ 393 w 393" name="T32"/>
              <a:gd fmla="*/ 217 h 393" name="T33"/>
              <a:gd fmla="*/ 393 w 393" name="T34"/>
              <a:gd fmla="*/ 175 h 393" name="T35"/>
              <a:gd fmla="*/ 379 w 393" name="T36"/>
              <a:gd fmla="*/ 119 h 393" name="T37"/>
              <a:gd fmla="*/ 349 w 393" name="T38"/>
              <a:gd fmla="*/ 71 h 393" name="T39"/>
              <a:gd fmla="*/ 307 w 393" name="T40"/>
              <a:gd fmla="*/ 34 h 393" name="T41"/>
              <a:gd fmla="*/ 255 w 393" name="T42"/>
              <a:gd fmla="*/ 8 h 393" name="T43"/>
              <a:gd fmla="*/ 197 w 393" name="T44"/>
              <a:gd fmla="*/ 0 h 393" name="T45"/>
              <a:gd fmla="*/ 295 w 393" name="T46"/>
              <a:gd fmla="*/ 157 h 393" name="T47"/>
              <a:gd fmla="*/ 293 w 393" name="T48"/>
              <a:gd fmla="*/ 187 h 393" name="T49"/>
              <a:gd fmla="*/ 269 w 393" name="T50"/>
              <a:gd fmla="*/ 247 h 393" name="T51"/>
              <a:gd fmla="*/ 239 w 393" name="T52"/>
              <a:gd fmla="*/ 277 h 393" name="T53"/>
              <a:gd fmla="*/ 201 w 393" name="T54"/>
              <a:gd fmla="*/ 297 h 393" name="T55"/>
              <a:gd fmla="*/ 155 w 393" name="T56"/>
              <a:gd fmla="*/ 303 h 393" name="T57"/>
              <a:gd fmla="*/ 115 w 393" name="T58"/>
              <a:gd fmla="*/ 297 h 393" name="T59"/>
              <a:gd fmla="*/ 80 w 393" name="T60"/>
              <a:gd fmla="*/ 281 h 393" name="T61"/>
              <a:gd fmla="*/ 107 w 393" name="T62"/>
              <a:gd fmla="*/ 281 h 393" name="T63"/>
              <a:gd fmla="*/ 153 w 393" name="T64"/>
              <a:gd fmla="*/ 261 h 393" name="T65"/>
              <a:gd fmla="*/ 137 w 393" name="T66"/>
              <a:gd fmla="*/ 259 h 393" name="T67"/>
              <a:gd fmla="*/ 109 w 393" name="T68"/>
              <a:gd fmla="*/ 233 h 393" name="T69"/>
              <a:gd fmla="*/ 115 w 393" name="T70"/>
              <a:gd fmla="*/ 227 h 393" name="T71"/>
              <a:gd fmla="*/ 129 w 393" name="T72"/>
              <a:gd fmla="*/ 225 h 393" name="T73"/>
              <a:gd fmla="*/ 105 w 393" name="T74"/>
              <a:gd fmla="*/ 215 h 393" name="T75"/>
              <a:gd fmla="*/ 92 w 393" name="T76"/>
              <a:gd fmla="*/ 195 h 393" name="T77"/>
              <a:gd fmla="*/ 90 w 393" name="T78"/>
              <a:gd fmla="*/ 177 h 393" name="T79"/>
              <a:gd fmla="*/ 99 w 393" name="T80"/>
              <a:gd fmla="*/ 181 h 393" name="T81"/>
              <a:gd fmla="*/ 101 w 393" name="T82"/>
              <a:gd fmla="*/ 175 h 393" name="T83"/>
              <a:gd fmla="*/ 90 w 393" name="T84"/>
              <a:gd fmla="*/ 141 h 393" name="T85"/>
              <a:gd fmla="*/ 95 w 393" name="T86"/>
              <a:gd fmla="*/ 117 h 393" name="T87"/>
              <a:gd fmla="*/ 115 w 393" name="T88"/>
              <a:gd fmla="*/ 137 h 393" name="T89"/>
              <a:gd fmla="*/ 153 w 393" name="T90"/>
              <a:gd fmla="*/ 159 h 393" name="T91"/>
              <a:gd fmla="*/ 197 w 393" name="T92"/>
              <a:gd fmla="*/ 169 h 393" name="T93"/>
              <a:gd fmla="*/ 197 w 393" name="T94"/>
              <a:gd fmla="*/ 157 h 393" name="T95"/>
              <a:gd fmla="*/ 205 w 393" name="T96"/>
              <a:gd fmla="*/ 129 h 393" name="T97"/>
              <a:gd fmla="*/ 227 w 393" name="T98"/>
              <a:gd fmla="*/ 111 h 393" name="T99"/>
              <a:gd fmla="*/ 247 w 393" name="T100"/>
              <a:gd fmla="*/ 107 h 393" name="T101"/>
              <a:gd fmla="*/ 275 w 393" name="T102"/>
              <a:gd fmla="*/ 117 h 393" name="T103"/>
              <a:gd fmla="*/ 299 w 393" name="T104"/>
              <a:gd fmla="*/ 119 h 393" name="T105"/>
              <a:gd fmla="*/ 311 w 393" name="T106"/>
              <a:gd fmla="*/ 119 h 393" name="T107"/>
              <a:gd fmla="*/ 293 w 393" name="T108"/>
              <a:gd fmla="*/ 139 h 393" name="T109"/>
              <a:gd fmla="*/ 321 w 393" name="T110"/>
              <a:gd fmla="*/ 131 h 393" name="T111"/>
              <a:gd fmla="*/ 295 w 393" name="T112"/>
              <a:gd fmla="*/ 157 h 393" name="T11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b="b" l="0" r="r" t="0"/>
            <a:pathLst>
              <a:path h="393" w="393">
                <a:moveTo>
                  <a:pt x="197" y="0"/>
                </a:moveTo>
                <a:lnTo>
                  <a:pt x="197" y="0"/>
                </a:lnTo>
                <a:lnTo>
                  <a:pt x="177" y="0"/>
                </a:lnTo>
                <a:lnTo>
                  <a:pt x="157" y="4"/>
                </a:lnTo>
                <a:lnTo>
                  <a:pt x="139" y="8"/>
                </a:lnTo>
                <a:lnTo>
                  <a:pt x="119" y="16"/>
                </a:lnTo>
                <a:lnTo>
                  <a:pt x="103" y="24"/>
                </a:lnTo>
                <a:lnTo>
                  <a:pt x="88" y="34"/>
                </a:lnTo>
                <a:lnTo>
                  <a:pt x="72" y="44"/>
                </a:lnTo>
                <a:lnTo>
                  <a:pt x="58" y="57"/>
                </a:lnTo>
                <a:lnTo>
                  <a:pt x="46" y="71"/>
                </a:lnTo>
                <a:lnTo>
                  <a:pt x="34" y="85"/>
                </a:lnTo>
                <a:lnTo>
                  <a:pt x="24" y="101"/>
                </a:lnTo>
                <a:lnTo>
                  <a:pt x="16" y="119"/>
                </a:lnTo>
                <a:lnTo>
                  <a:pt x="10" y="137"/>
                </a:lnTo>
                <a:lnTo>
                  <a:pt x="4" y="157"/>
                </a:lnTo>
                <a:lnTo>
                  <a:pt x="2" y="175"/>
                </a:lnTo>
                <a:lnTo>
                  <a:pt x="0" y="195"/>
                </a:lnTo>
                <a:lnTo>
                  <a:pt x="0" y="195"/>
                </a:lnTo>
                <a:lnTo>
                  <a:pt x="2" y="217"/>
                </a:lnTo>
                <a:lnTo>
                  <a:pt x="4" y="235"/>
                </a:lnTo>
                <a:lnTo>
                  <a:pt x="10" y="255"/>
                </a:lnTo>
                <a:lnTo>
                  <a:pt x="16" y="273"/>
                </a:lnTo>
                <a:lnTo>
                  <a:pt x="24" y="289"/>
                </a:lnTo>
                <a:lnTo>
                  <a:pt x="34" y="307"/>
                </a:lnTo>
                <a:lnTo>
                  <a:pt x="46" y="321"/>
                </a:lnTo>
                <a:lnTo>
                  <a:pt x="58" y="335"/>
                </a:lnTo>
                <a:lnTo>
                  <a:pt x="72" y="347"/>
                </a:lnTo>
                <a:lnTo>
                  <a:pt x="88" y="359"/>
                </a:lnTo>
                <a:lnTo>
                  <a:pt x="103" y="369"/>
                </a:lnTo>
                <a:lnTo>
                  <a:pt x="119" y="377"/>
                </a:lnTo>
                <a:lnTo>
                  <a:pt x="139" y="385"/>
                </a:lnTo>
                <a:lnTo>
                  <a:pt x="157" y="389"/>
                </a:lnTo>
                <a:lnTo>
                  <a:pt x="177" y="391"/>
                </a:lnTo>
                <a:lnTo>
                  <a:pt x="197" y="393"/>
                </a:lnTo>
                <a:lnTo>
                  <a:pt x="197" y="393"/>
                </a:lnTo>
                <a:lnTo>
                  <a:pt x="217" y="391"/>
                </a:lnTo>
                <a:lnTo>
                  <a:pt x="237" y="389"/>
                </a:lnTo>
                <a:lnTo>
                  <a:pt x="255" y="385"/>
                </a:lnTo>
                <a:lnTo>
                  <a:pt x="273" y="377"/>
                </a:lnTo>
                <a:lnTo>
                  <a:pt x="291" y="369"/>
                </a:lnTo>
                <a:lnTo>
                  <a:pt x="307" y="359"/>
                </a:lnTo>
                <a:lnTo>
                  <a:pt x="321" y="347"/>
                </a:lnTo>
                <a:lnTo>
                  <a:pt x="335" y="335"/>
                </a:lnTo>
                <a:lnTo>
                  <a:pt x="349" y="321"/>
                </a:lnTo>
                <a:lnTo>
                  <a:pt x="359" y="307"/>
                </a:lnTo>
                <a:lnTo>
                  <a:pt x="369" y="289"/>
                </a:lnTo>
                <a:lnTo>
                  <a:pt x="379" y="273"/>
                </a:lnTo>
                <a:lnTo>
                  <a:pt x="385" y="255"/>
                </a:lnTo>
                <a:lnTo>
                  <a:pt x="389" y="235"/>
                </a:lnTo>
                <a:lnTo>
                  <a:pt x="393" y="217"/>
                </a:lnTo>
                <a:lnTo>
                  <a:pt x="393" y="195"/>
                </a:lnTo>
                <a:lnTo>
                  <a:pt x="393" y="195"/>
                </a:lnTo>
                <a:lnTo>
                  <a:pt x="393" y="175"/>
                </a:lnTo>
                <a:lnTo>
                  <a:pt x="389" y="157"/>
                </a:lnTo>
                <a:lnTo>
                  <a:pt x="385" y="137"/>
                </a:lnTo>
                <a:lnTo>
                  <a:pt x="379" y="119"/>
                </a:lnTo>
                <a:lnTo>
                  <a:pt x="369" y="101"/>
                </a:lnTo>
                <a:lnTo>
                  <a:pt x="359" y="85"/>
                </a:lnTo>
                <a:lnTo>
                  <a:pt x="349" y="71"/>
                </a:lnTo>
                <a:lnTo>
                  <a:pt x="335" y="57"/>
                </a:lnTo>
                <a:lnTo>
                  <a:pt x="321" y="44"/>
                </a:lnTo>
                <a:lnTo>
                  <a:pt x="307" y="34"/>
                </a:lnTo>
                <a:lnTo>
                  <a:pt x="291" y="24"/>
                </a:lnTo>
                <a:lnTo>
                  <a:pt x="273" y="16"/>
                </a:lnTo>
                <a:lnTo>
                  <a:pt x="255" y="8"/>
                </a:lnTo>
                <a:lnTo>
                  <a:pt x="237" y="4"/>
                </a:lnTo>
                <a:lnTo>
                  <a:pt x="217" y="0"/>
                </a:lnTo>
                <a:lnTo>
                  <a:pt x="197" y="0"/>
                </a:lnTo>
                <a:lnTo>
                  <a:pt x="197" y="0"/>
                </a:lnTo>
                <a:close/>
                <a:moveTo>
                  <a:pt x="295" y="157"/>
                </a:moveTo>
                <a:lnTo>
                  <a:pt x="295" y="157"/>
                </a:lnTo>
                <a:lnTo>
                  <a:pt x="295" y="163"/>
                </a:lnTo>
                <a:lnTo>
                  <a:pt x="295" y="163"/>
                </a:lnTo>
                <a:lnTo>
                  <a:pt x="293" y="187"/>
                </a:lnTo>
                <a:lnTo>
                  <a:pt x="287" y="213"/>
                </a:lnTo>
                <a:lnTo>
                  <a:pt x="275" y="237"/>
                </a:lnTo>
                <a:lnTo>
                  <a:pt x="269" y="247"/>
                </a:lnTo>
                <a:lnTo>
                  <a:pt x="259" y="257"/>
                </a:lnTo>
                <a:lnTo>
                  <a:pt x="251" y="267"/>
                </a:lnTo>
                <a:lnTo>
                  <a:pt x="239" y="277"/>
                </a:lnTo>
                <a:lnTo>
                  <a:pt x="227" y="285"/>
                </a:lnTo>
                <a:lnTo>
                  <a:pt x="215" y="291"/>
                </a:lnTo>
                <a:lnTo>
                  <a:pt x="201" y="297"/>
                </a:lnTo>
                <a:lnTo>
                  <a:pt x="187" y="301"/>
                </a:lnTo>
                <a:lnTo>
                  <a:pt x="171" y="303"/>
                </a:lnTo>
                <a:lnTo>
                  <a:pt x="155" y="303"/>
                </a:lnTo>
                <a:lnTo>
                  <a:pt x="155" y="303"/>
                </a:lnTo>
                <a:lnTo>
                  <a:pt x="135" y="303"/>
                </a:lnTo>
                <a:lnTo>
                  <a:pt x="115" y="297"/>
                </a:lnTo>
                <a:lnTo>
                  <a:pt x="95" y="291"/>
                </a:lnTo>
                <a:lnTo>
                  <a:pt x="80" y="281"/>
                </a:lnTo>
                <a:lnTo>
                  <a:pt x="80" y="281"/>
                </a:lnTo>
                <a:lnTo>
                  <a:pt x="92" y="283"/>
                </a:lnTo>
                <a:lnTo>
                  <a:pt x="92" y="283"/>
                </a:lnTo>
                <a:lnTo>
                  <a:pt x="107" y="281"/>
                </a:lnTo>
                <a:lnTo>
                  <a:pt x="123" y="277"/>
                </a:lnTo>
                <a:lnTo>
                  <a:pt x="139" y="269"/>
                </a:lnTo>
                <a:lnTo>
                  <a:pt x="153" y="261"/>
                </a:lnTo>
                <a:lnTo>
                  <a:pt x="153" y="261"/>
                </a:lnTo>
                <a:lnTo>
                  <a:pt x="145" y="261"/>
                </a:lnTo>
                <a:lnTo>
                  <a:pt x="137" y="259"/>
                </a:lnTo>
                <a:lnTo>
                  <a:pt x="123" y="251"/>
                </a:lnTo>
                <a:lnTo>
                  <a:pt x="113" y="241"/>
                </a:lnTo>
                <a:lnTo>
                  <a:pt x="109" y="233"/>
                </a:lnTo>
                <a:lnTo>
                  <a:pt x="105" y="227"/>
                </a:lnTo>
                <a:lnTo>
                  <a:pt x="105" y="227"/>
                </a:lnTo>
                <a:lnTo>
                  <a:pt x="115" y="227"/>
                </a:lnTo>
                <a:lnTo>
                  <a:pt x="115" y="227"/>
                </a:lnTo>
                <a:lnTo>
                  <a:pt x="129" y="225"/>
                </a:lnTo>
                <a:lnTo>
                  <a:pt x="129" y="225"/>
                </a:lnTo>
                <a:lnTo>
                  <a:pt x="119" y="223"/>
                </a:lnTo>
                <a:lnTo>
                  <a:pt x="113" y="219"/>
                </a:lnTo>
                <a:lnTo>
                  <a:pt x="105" y="215"/>
                </a:lnTo>
                <a:lnTo>
                  <a:pt x="99" y="209"/>
                </a:lnTo>
                <a:lnTo>
                  <a:pt x="95" y="201"/>
                </a:lnTo>
                <a:lnTo>
                  <a:pt x="92" y="195"/>
                </a:lnTo>
                <a:lnTo>
                  <a:pt x="90" y="185"/>
                </a:lnTo>
                <a:lnTo>
                  <a:pt x="90" y="177"/>
                </a:lnTo>
                <a:lnTo>
                  <a:pt x="90" y="177"/>
                </a:lnTo>
                <a:lnTo>
                  <a:pt x="90" y="177"/>
                </a:lnTo>
                <a:lnTo>
                  <a:pt x="90" y="177"/>
                </a:lnTo>
                <a:lnTo>
                  <a:pt x="99" y="181"/>
                </a:lnTo>
                <a:lnTo>
                  <a:pt x="111" y="183"/>
                </a:lnTo>
                <a:lnTo>
                  <a:pt x="111" y="183"/>
                </a:lnTo>
                <a:lnTo>
                  <a:pt x="101" y="175"/>
                </a:lnTo>
                <a:lnTo>
                  <a:pt x="95" y="165"/>
                </a:lnTo>
                <a:lnTo>
                  <a:pt x="92" y="153"/>
                </a:lnTo>
                <a:lnTo>
                  <a:pt x="90" y="141"/>
                </a:lnTo>
                <a:lnTo>
                  <a:pt x="90" y="141"/>
                </a:lnTo>
                <a:lnTo>
                  <a:pt x="92" y="129"/>
                </a:lnTo>
                <a:lnTo>
                  <a:pt x="95" y="117"/>
                </a:lnTo>
                <a:lnTo>
                  <a:pt x="95" y="117"/>
                </a:lnTo>
                <a:lnTo>
                  <a:pt x="105" y="127"/>
                </a:lnTo>
                <a:lnTo>
                  <a:pt x="115" y="137"/>
                </a:lnTo>
                <a:lnTo>
                  <a:pt x="127" y="145"/>
                </a:lnTo>
                <a:lnTo>
                  <a:pt x="141" y="153"/>
                </a:lnTo>
                <a:lnTo>
                  <a:pt x="153" y="159"/>
                </a:lnTo>
                <a:lnTo>
                  <a:pt x="167" y="163"/>
                </a:lnTo>
                <a:lnTo>
                  <a:pt x="183" y="167"/>
                </a:lnTo>
                <a:lnTo>
                  <a:pt x="197" y="169"/>
                </a:lnTo>
                <a:lnTo>
                  <a:pt x="197" y="169"/>
                </a:lnTo>
                <a:lnTo>
                  <a:pt x="197" y="157"/>
                </a:lnTo>
                <a:lnTo>
                  <a:pt x="197" y="157"/>
                </a:lnTo>
                <a:lnTo>
                  <a:pt x="197" y="147"/>
                </a:lnTo>
                <a:lnTo>
                  <a:pt x="201" y="137"/>
                </a:lnTo>
                <a:lnTo>
                  <a:pt x="205" y="129"/>
                </a:lnTo>
                <a:lnTo>
                  <a:pt x="211" y="121"/>
                </a:lnTo>
                <a:lnTo>
                  <a:pt x="219" y="115"/>
                </a:lnTo>
                <a:lnTo>
                  <a:pt x="227" y="111"/>
                </a:lnTo>
                <a:lnTo>
                  <a:pt x="237" y="109"/>
                </a:lnTo>
                <a:lnTo>
                  <a:pt x="247" y="107"/>
                </a:lnTo>
                <a:lnTo>
                  <a:pt x="247" y="107"/>
                </a:lnTo>
                <a:lnTo>
                  <a:pt x="257" y="109"/>
                </a:lnTo>
                <a:lnTo>
                  <a:pt x="267" y="111"/>
                </a:lnTo>
                <a:lnTo>
                  <a:pt x="275" y="117"/>
                </a:lnTo>
                <a:lnTo>
                  <a:pt x="283" y="123"/>
                </a:lnTo>
                <a:lnTo>
                  <a:pt x="283" y="123"/>
                </a:lnTo>
                <a:lnTo>
                  <a:pt x="299" y="119"/>
                </a:lnTo>
                <a:lnTo>
                  <a:pt x="313" y="111"/>
                </a:lnTo>
                <a:lnTo>
                  <a:pt x="313" y="111"/>
                </a:lnTo>
                <a:lnTo>
                  <a:pt x="311" y="119"/>
                </a:lnTo>
                <a:lnTo>
                  <a:pt x="305" y="127"/>
                </a:lnTo>
                <a:lnTo>
                  <a:pt x="299" y="133"/>
                </a:lnTo>
                <a:lnTo>
                  <a:pt x="293" y="139"/>
                </a:lnTo>
                <a:lnTo>
                  <a:pt x="293" y="139"/>
                </a:lnTo>
                <a:lnTo>
                  <a:pt x="307" y="135"/>
                </a:lnTo>
                <a:lnTo>
                  <a:pt x="321" y="131"/>
                </a:lnTo>
                <a:lnTo>
                  <a:pt x="321" y="131"/>
                </a:lnTo>
                <a:lnTo>
                  <a:pt x="309" y="145"/>
                </a:lnTo>
                <a:lnTo>
                  <a:pt x="295" y="157"/>
                </a:lnTo>
                <a:lnTo>
                  <a:pt x="295" y="157"/>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a:endParaRPr lang="en-US" sz="5000"/>
          </a:p>
        </p:txBody>
      </p:sp>
      <p:grpSp>
        <p:nvGrpSpPr>
          <p:cNvPr id="14" name="Group 88">
            <a:extLst>
              <a:ext uri="{FF2B5EF4-FFF2-40B4-BE49-F238E27FC236}">
                <a16:creationId xmlns:a16="http://schemas.microsoft.com/office/drawing/2014/main" id="{0A2FDC37-D9A1-4DB7-85CB-10225BF148EF}"/>
              </a:ext>
            </a:extLst>
          </p:cNvPr>
          <p:cNvGrpSpPr/>
          <p:nvPr/>
        </p:nvGrpSpPr>
        <p:grpSpPr>
          <a:xfrm>
            <a:off x="3977078" y="4908875"/>
            <a:ext cx="474263" cy="471856"/>
            <a:chOff x="5682043" y="4553457"/>
            <a:chExt cx="287906" cy="286445"/>
          </a:xfrm>
          <a:solidFill>
            <a:schemeClr val="bg1">
              <a:lumMod val="50000"/>
            </a:schemeClr>
          </a:solidFill>
        </p:grpSpPr>
        <p:sp>
          <p:nvSpPr>
            <p:cNvPr id="17" name="Freeform 155">
              <a:extLst>
                <a:ext uri="{FF2B5EF4-FFF2-40B4-BE49-F238E27FC236}">
                  <a16:creationId xmlns:a16="http://schemas.microsoft.com/office/drawing/2014/main" id="{82BD746C-89BF-4FFA-9692-6B1799E9CA88}"/>
                </a:ext>
              </a:extLst>
            </p:cNvPr>
            <p:cNvSpPr/>
            <p:nvPr/>
          </p:nvSpPr>
          <p:spPr bwMode="auto">
            <a:xfrm>
              <a:off x="5858880" y="4638221"/>
              <a:ext cx="26306" cy="27768"/>
            </a:xfrm>
            <a:custGeom>
              <a:gdLst>
                <a:gd fmla="*/ 36 w 36" name="T0"/>
                <a:gd fmla="*/ 36 h 38" name="T1"/>
                <a:gd fmla="*/ 36 w 36" name="T2"/>
                <a:gd fmla="*/ 6 h 38" name="T3"/>
                <a:gd fmla="*/ 36 w 36" name="T4"/>
                <a:gd fmla="*/ 0 h 38" name="T5"/>
                <a:gd fmla="*/ 30 w 36" name="T6"/>
                <a:gd fmla="*/ 0 h 38" name="T7"/>
                <a:gd fmla="*/ 0 w 36" name="T8"/>
                <a:gd fmla="*/ 0 h 38" name="T9"/>
                <a:gd fmla="*/ 0 w 36" name="T10"/>
                <a:gd fmla="*/ 38 h 38" name="T11"/>
                <a:gd fmla="*/ 36 w 36" name="T12"/>
                <a:gd fmla="*/ 36 h 38" name="T13"/>
              </a:gdLst>
              <a:cxnLst>
                <a:cxn ang="0">
                  <a:pos x="T0" y="T1"/>
                </a:cxn>
                <a:cxn ang="0">
                  <a:pos x="T2" y="T3"/>
                </a:cxn>
                <a:cxn ang="0">
                  <a:pos x="T4" y="T5"/>
                </a:cxn>
                <a:cxn ang="0">
                  <a:pos x="T6" y="T7"/>
                </a:cxn>
                <a:cxn ang="0">
                  <a:pos x="T8" y="T9"/>
                </a:cxn>
                <a:cxn ang="0">
                  <a:pos x="T10" y="T11"/>
                </a:cxn>
                <a:cxn ang="0">
                  <a:pos x="T12" y="T13"/>
                </a:cxn>
              </a:cxnLst>
              <a:rect b="b" l="0" r="r" t="0"/>
              <a:pathLst>
                <a:path h="38" w="36">
                  <a:moveTo>
                    <a:pt x="36" y="36"/>
                  </a:moveTo>
                  <a:lnTo>
                    <a:pt x="36" y="6"/>
                  </a:lnTo>
                  <a:lnTo>
                    <a:pt x="36" y="0"/>
                  </a:lnTo>
                  <a:lnTo>
                    <a:pt x="30" y="0"/>
                  </a:lnTo>
                  <a:lnTo>
                    <a:pt x="0" y="0"/>
                  </a:lnTo>
                  <a:lnTo>
                    <a:pt x="0" y="38"/>
                  </a:lnTo>
                  <a:lnTo>
                    <a:pt x="36" y="3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a:endParaRPr lang="en-US" sz="5000"/>
            </a:p>
          </p:txBody>
        </p:sp>
        <p:sp>
          <p:nvSpPr>
            <p:cNvPr id="19" name="Freeform 156">
              <a:extLst>
                <a:ext uri="{FF2B5EF4-FFF2-40B4-BE49-F238E27FC236}">
                  <a16:creationId xmlns:a16="http://schemas.microsoft.com/office/drawing/2014/main" id="{BED7A1CD-12CC-435C-BE93-A8AD7E3BF492}"/>
                </a:ext>
              </a:extLst>
            </p:cNvPr>
            <p:cNvSpPr/>
            <p:nvPr/>
          </p:nvSpPr>
          <p:spPr bwMode="auto">
            <a:xfrm>
              <a:off x="5797498" y="4671835"/>
              <a:ext cx="55535" cy="54074"/>
            </a:xfrm>
            <a:custGeom>
              <a:gdLst>
                <a:gd fmla="*/ 38 w 76" name="T0"/>
                <a:gd fmla="*/ 74 h 74" name="T1"/>
                <a:gd fmla="*/ 38 w 76" name="T2"/>
                <a:gd fmla="*/ 74 h 74" name="T3"/>
                <a:gd fmla="*/ 44 w 76" name="T4"/>
                <a:gd fmla="*/ 74 h 74" name="T5"/>
                <a:gd fmla="*/ 52 w 76" name="T6"/>
                <a:gd fmla="*/ 72 h 74" name="T7"/>
                <a:gd fmla="*/ 58 w 76" name="T8"/>
                <a:gd fmla="*/ 68 h 74" name="T9"/>
                <a:gd fmla="*/ 64 w 76" name="T10"/>
                <a:gd fmla="*/ 64 h 74" name="T11"/>
                <a:gd fmla="*/ 68 w 76" name="T12"/>
                <a:gd fmla="*/ 58 h 74" name="T13"/>
                <a:gd fmla="*/ 72 w 76" name="T14"/>
                <a:gd fmla="*/ 52 h 74" name="T15"/>
                <a:gd fmla="*/ 74 w 76" name="T16"/>
                <a:gd fmla="*/ 44 h 74" name="T17"/>
                <a:gd fmla="*/ 76 w 76" name="T18"/>
                <a:gd fmla="*/ 38 h 74" name="T19"/>
                <a:gd fmla="*/ 76 w 76" name="T20"/>
                <a:gd fmla="*/ 38 h 74" name="T21"/>
                <a:gd fmla="*/ 74 w 76" name="T22"/>
                <a:gd fmla="*/ 26 h 74" name="T23"/>
                <a:gd fmla="*/ 68 w 76" name="T24"/>
                <a:gd fmla="*/ 16 h 74" name="T25"/>
                <a:gd fmla="*/ 68 w 76" name="T26"/>
                <a:gd fmla="*/ 16 h 74" name="T27"/>
                <a:gd fmla="*/ 62 w 76" name="T28"/>
                <a:gd fmla="*/ 8 h 74" name="T29"/>
                <a:gd fmla="*/ 54 w 76" name="T30"/>
                <a:gd fmla="*/ 4 h 74" name="T31"/>
                <a:gd fmla="*/ 46 w 76" name="T32"/>
                <a:gd fmla="*/ 0 h 74" name="T33"/>
                <a:gd fmla="*/ 38 w 76" name="T34"/>
                <a:gd fmla="*/ 0 h 74" name="T35"/>
                <a:gd fmla="*/ 38 w 76" name="T36"/>
                <a:gd fmla="*/ 0 h 74" name="T37"/>
                <a:gd fmla="*/ 28 w 76" name="T38"/>
                <a:gd fmla="*/ 0 h 74" name="T39"/>
                <a:gd fmla="*/ 20 w 76" name="T40"/>
                <a:gd fmla="*/ 4 h 74" name="T41"/>
                <a:gd fmla="*/ 12 w 76" name="T42"/>
                <a:gd fmla="*/ 8 h 74" name="T43"/>
                <a:gd fmla="*/ 6 w 76" name="T44"/>
                <a:gd fmla="*/ 16 h 74" name="T45"/>
                <a:gd fmla="*/ 6 w 76" name="T46"/>
                <a:gd fmla="*/ 16 h 74" name="T47"/>
                <a:gd fmla="*/ 2 w 76" name="T48"/>
                <a:gd fmla="*/ 26 h 74" name="T49"/>
                <a:gd fmla="*/ 0 w 76" name="T50"/>
                <a:gd fmla="*/ 38 h 74" name="T51"/>
                <a:gd fmla="*/ 0 w 76" name="T52"/>
                <a:gd fmla="*/ 38 h 74" name="T53"/>
                <a:gd fmla="*/ 0 w 76" name="T54"/>
                <a:gd fmla="*/ 44 h 74" name="T55"/>
                <a:gd fmla="*/ 2 w 76" name="T56"/>
                <a:gd fmla="*/ 52 h 74" name="T57"/>
                <a:gd fmla="*/ 6 w 76" name="T58"/>
                <a:gd fmla="*/ 58 h 74" name="T59"/>
                <a:gd fmla="*/ 10 w 76" name="T60"/>
                <a:gd fmla="*/ 64 h 74" name="T61"/>
                <a:gd fmla="*/ 16 w 76" name="T62"/>
                <a:gd fmla="*/ 68 h 74" name="T63"/>
                <a:gd fmla="*/ 22 w 76" name="T64"/>
                <a:gd fmla="*/ 72 h 74" name="T65"/>
                <a:gd fmla="*/ 30 w 76" name="T66"/>
                <a:gd fmla="*/ 74 h 74" name="T67"/>
                <a:gd fmla="*/ 38 w 76" name="T68"/>
                <a:gd fmla="*/ 74 h 74" name="T69"/>
                <a:gd fmla="*/ 38 w 76" name="T70"/>
                <a:gd fmla="*/ 74 h 74" name="T7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b="b" l="0" r="r" t="0"/>
              <a:pathLst>
                <a:path h="74" w="76">
                  <a:moveTo>
                    <a:pt x="38" y="74"/>
                  </a:moveTo>
                  <a:lnTo>
                    <a:pt x="38" y="74"/>
                  </a:lnTo>
                  <a:lnTo>
                    <a:pt x="44" y="74"/>
                  </a:lnTo>
                  <a:lnTo>
                    <a:pt x="52" y="72"/>
                  </a:lnTo>
                  <a:lnTo>
                    <a:pt x="58" y="68"/>
                  </a:lnTo>
                  <a:lnTo>
                    <a:pt x="64" y="64"/>
                  </a:lnTo>
                  <a:lnTo>
                    <a:pt x="68" y="58"/>
                  </a:lnTo>
                  <a:lnTo>
                    <a:pt x="72" y="52"/>
                  </a:lnTo>
                  <a:lnTo>
                    <a:pt x="74" y="44"/>
                  </a:lnTo>
                  <a:lnTo>
                    <a:pt x="76" y="38"/>
                  </a:lnTo>
                  <a:lnTo>
                    <a:pt x="76" y="38"/>
                  </a:lnTo>
                  <a:lnTo>
                    <a:pt x="74" y="26"/>
                  </a:lnTo>
                  <a:lnTo>
                    <a:pt x="68" y="16"/>
                  </a:lnTo>
                  <a:lnTo>
                    <a:pt x="68" y="16"/>
                  </a:lnTo>
                  <a:lnTo>
                    <a:pt x="62" y="8"/>
                  </a:lnTo>
                  <a:lnTo>
                    <a:pt x="54" y="4"/>
                  </a:lnTo>
                  <a:lnTo>
                    <a:pt x="46" y="0"/>
                  </a:lnTo>
                  <a:lnTo>
                    <a:pt x="38" y="0"/>
                  </a:lnTo>
                  <a:lnTo>
                    <a:pt x="38" y="0"/>
                  </a:lnTo>
                  <a:lnTo>
                    <a:pt x="28" y="0"/>
                  </a:lnTo>
                  <a:lnTo>
                    <a:pt x="20" y="4"/>
                  </a:lnTo>
                  <a:lnTo>
                    <a:pt x="12" y="8"/>
                  </a:lnTo>
                  <a:lnTo>
                    <a:pt x="6" y="16"/>
                  </a:lnTo>
                  <a:lnTo>
                    <a:pt x="6" y="16"/>
                  </a:lnTo>
                  <a:lnTo>
                    <a:pt x="2" y="26"/>
                  </a:lnTo>
                  <a:lnTo>
                    <a:pt x="0" y="38"/>
                  </a:lnTo>
                  <a:lnTo>
                    <a:pt x="0" y="38"/>
                  </a:lnTo>
                  <a:lnTo>
                    <a:pt x="0" y="44"/>
                  </a:lnTo>
                  <a:lnTo>
                    <a:pt x="2" y="52"/>
                  </a:lnTo>
                  <a:lnTo>
                    <a:pt x="6" y="58"/>
                  </a:lnTo>
                  <a:lnTo>
                    <a:pt x="10" y="64"/>
                  </a:lnTo>
                  <a:lnTo>
                    <a:pt x="16" y="68"/>
                  </a:lnTo>
                  <a:lnTo>
                    <a:pt x="22" y="72"/>
                  </a:lnTo>
                  <a:lnTo>
                    <a:pt x="30" y="74"/>
                  </a:lnTo>
                  <a:lnTo>
                    <a:pt x="38" y="74"/>
                  </a:lnTo>
                  <a:lnTo>
                    <a:pt x="38" y="7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a:endParaRPr lang="en-US" sz="5000"/>
            </a:p>
          </p:txBody>
        </p:sp>
        <p:sp>
          <p:nvSpPr>
            <p:cNvPr id="20" name="Freeform 157">
              <a:extLst>
                <a:ext uri="{FF2B5EF4-FFF2-40B4-BE49-F238E27FC236}">
                  <a16:creationId xmlns:a16="http://schemas.microsoft.com/office/drawing/2014/main" id="{FDC992B4-3F61-4FCC-9DFF-A0B7ED22F03A}"/>
                </a:ext>
              </a:extLst>
            </p:cNvPr>
            <p:cNvSpPr>
              <a:spLocks noEditPoints="1"/>
            </p:cNvSpPr>
            <p:nvPr/>
          </p:nvSpPr>
          <p:spPr bwMode="auto">
            <a:xfrm>
              <a:off x="5682043" y="4553457"/>
              <a:ext cx="287906" cy="286445"/>
            </a:xfrm>
            <a:custGeom>
              <a:gdLst>
                <a:gd fmla="*/ 196 w 393" name="T0"/>
                <a:gd fmla="*/ 0 h 391" name="T1"/>
                <a:gd fmla="*/ 156 w 393" name="T2"/>
                <a:gd fmla="*/ 4 h 391" name="T3"/>
                <a:gd fmla="*/ 120 w 393" name="T4"/>
                <a:gd fmla="*/ 14 h 391" name="T5"/>
                <a:gd fmla="*/ 86 w 393" name="T6"/>
                <a:gd fmla="*/ 32 h 391" name="T7"/>
                <a:gd fmla="*/ 58 w 393" name="T8"/>
                <a:gd fmla="*/ 56 h 391" name="T9"/>
                <a:gd fmla="*/ 32 w 393" name="T10"/>
                <a:gd fmla="*/ 86 h 391" name="T11"/>
                <a:gd fmla="*/ 14 w 393" name="T12"/>
                <a:gd fmla="*/ 120 h 391" name="T13"/>
                <a:gd fmla="*/ 4 w 393" name="T14"/>
                <a:gd fmla="*/ 156 h 391" name="T15"/>
                <a:gd fmla="*/ 0 w 393" name="T16"/>
                <a:gd fmla="*/ 196 h 391" name="T17"/>
                <a:gd fmla="*/ 0 w 393" name="T18"/>
                <a:gd fmla="*/ 216 h 391" name="T19"/>
                <a:gd fmla="*/ 8 w 393" name="T20"/>
                <a:gd fmla="*/ 254 h 391" name="T21"/>
                <a:gd fmla="*/ 24 w 393" name="T22"/>
                <a:gd fmla="*/ 290 h 391" name="T23"/>
                <a:gd fmla="*/ 44 w 393" name="T24"/>
                <a:gd fmla="*/ 321 h 391" name="T25"/>
                <a:gd fmla="*/ 70 w 393" name="T26"/>
                <a:gd fmla="*/ 347 h 391" name="T27"/>
                <a:gd fmla="*/ 102 w 393" name="T28"/>
                <a:gd fmla="*/ 369 h 391" name="T29"/>
                <a:gd fmla="*/ 138 w 393" name="T30"/>
                <a:gd fmla="*/ 383 h 391" name="T31"/>
                <a:gd fmla="*/ 176 w 393" name="T32"/>
                <a:gd fmla="*/ 391 h 391" name="T33"/>
                <a:gd fmla="*/ 196 w 393" name="T34"/>
                <a:gd fmla="*/ 391 h 391" name="T35"/>
                <a:gd fmla="*/ 236 w 393" name="T36"/>
                <a:gd fmla="*/ 387 h 391" name="T37"/>
                <a:gd fmla="*/ 272 w 393" name="T38"/>
                <a:gd fmla="*/ 377 h 391" name="T39"/>
                <a:gd fmla="*/ 305 w 393" name="T40"/>
                <a:gd fmla="*/ 359 h 391" name="T41"/>
                <a:gd fmla="*/ 335 w 393" name="T42"/>
                <a:gd fmla="*/ 335 h 391" name="T43"/>
                <a:gd fmla="*/ 359 w 393" name="T44"/>
                <a:gd fmla="*/ 306 h 391" name="T45"/>
                <a:gd fmla="*/ 377 w 393" name="T46"/>
                <a:gd fmla="*/ 272 h 391" name="T47"/>
                <a:gd fmla="*/ 389 w 393" name="T48"/>
                <a:gd fmla="*/ 236 h 391" name="T49"/>
                <a:gd fmla="*/ 393 w 393" name="T50"/>
                <a:gd fmla="*/ 196 h 391" name="T51"/>
                <a:gd fmla="*/ 391 w 393" name="T52"/>
                <a:gd fmla="*/ 176 h 391" name="T53"/>
                <a:gd fmla="*/ 383 w 393" name="T54"/>
                <a:gd fmla="*/ 138 h 391" name="T55"/>
                <a:gd fmla="*/ 369 w 393" name="T56"/>
                <a:gd fmla="*/ 102 h 391" name="T57"/>
                <a:gd fmla="*/ 347 w 393" name="T58"/>
                <a:gd fmla="*/ 70 h 391" name="T59"/>
                <a:gd fmla="*/ 321 w 393" name="T60"/>
                <a:gd fmla="*/ 44 h 391" name="T61"/>
                <a:gd fmla="*/ 290 w 393" name="T62"/>
                <a:gd fmla="*/ 22 h 391" name="T63"/>
                <a:gd fmla="*/ 254 w 393" name="T64"/>
                <a:gd fmla="*/ 8 h 391" name="T65"/>
                <a:gd fmla="*/ 216 w 393" name="T66"/>
                <a:gd fmla="*/ 0 h 391" name="T67"/>
                <a:gd fmla="*/ 196 w 393" name="T68"/>
                <a:gd fmla="*/ 0 h 391" name="T69"/>
                <a:gd fmla="*/ 301 w 393" name="T70"/>
                <a:gd fmla="*/ 264 h 391" name="T71"/>
                <a:gd fmla="*/ 301 w 393" name="T72"/>
                <a:gd fmla="*/ 274 h 391" name="T73"/>
                <a:gd fmla="*/ 296 w 393" name="T74"/>
                <a:gd fmla="*/ 288 h 391" name="T75"/>
                <a:gd fmla="*/ 284 w 393" name="T76"/>
                <a:gd fmla="*/ 300 h 391" name="T77"/>
                <a:gd fmla="*/ 270 w 393" name="T78"/>
                <a:gd fmla="*/ 306 h 391" name="T79"/>
                <a:gd fmla="*/ 130 w 393" name="T80"/>
                <a:gd fmla="*/ 306 h 391" name="T81"/>
                <a:gd fmla="*/ 122 w 393" name="T82"/>
                <a:gd fmla="*/ 306 h 391" name="T83"/>
                <a:gd fmla="*/ 106 w 393" name="T84"/>
                <a:gd fmla="*/ 300 h 391" name="T85"/>
                <a:gd fmla="*/ 96 w 393" name="T86"/>
                <a:gd fmla="*/ 288 h 391" name="T87"/>
                <a:gd fmla="*/ 90 w 393" name="T88"/>
                <a:gd fmla="*/ 274 h 391" name="T89"/>
                <a:gd fmla="*/ 88 w 393" name="T90"/>
                <a:gd fmla="*/ 178 h 391" name="T91"/>
                <a:gd fmla="*/ 88 w 393" name="T92"/>
                <a:gd fmla="*/ 134 h 391" name="T93"/>
                <a:gd fmla="*/ 92 w 393" name="T94"/>
                <a:gd fmla="*/ 118 h 391" name="T95"/>
                <a:gd fmla="*/ 100 w 393" name="T96"/>
                <a:gd fmla="*/ 104 h 391" name="T97"/>
                <a:gd fmla="*/ 114 w 393" name="T98"/>
                <a:gd fmla="*/ 96 h 391" name="T99"/>
                <a:gd fmla="*/ 130 w 393" name="T100"/>
                <a:gd fmla="*/ 92 h 391" name="T101"/>
                <a:gd fmla="*/ 262 w 393" name="T102"/>
                <a:gd fmla="*/ 92 h 391" name="T103"/>
                <a:gd fmla="*/ 278 w 393" name="T104"/>
                <a:gd fmla="*/ 96 h 391" name="T105"/>
                <a:gd fmla="*/ 290 w 393" name="T106"/>
                <a:gd fmla="*/ 104 h 391" name="T107"/>
                <a:gd fmla="*/ 300 w 393" name="T108"/>
                <a:gd fmla="*/ 118 h 391" name="T109"/>
                <a:gd fmla="*/ 301 w 393" name="T110"/>
                <a:gd fmla="*/ 134 h 391" name="T11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b="b" l="0" r="r" t="0"/>
              <a:pathLst>
                <a:path h="391" w="393">
                  <a:moveTo>
                    <a:pt x="196" y="0"/>
                  </a:moveTo>
                  <a:lnTo>
                    <a:pt x="196" y="0"/>
                  </a:lnTo>
                  <a:lnTo>
                    <a:pt x="176" y="0"/>
                  </a:lnTo>
                  <a:lnTo>
                    <a:pt x="156" y="4"/>
                  </a:lnTo>
                  <a:lnTo>
                    <a:pt x="138" y="8"/>
                  </a:lnTo>
                  <a:lnTo>
                    <a:pt x="120" y="14"/>
                  </a:lnTo>
                  <a:lnTo>
                    <a:pt x="102" y="22"/>
                  </a:lnTo>
                  <a:lnTo>
                    <a:pt x="86" y="32"/>
                  </a:lnTo>
                  <a:lnTo>
                    <a:pt x="70" y="44"/>
                  </a:lnTo>
                  <a:lnTo>
                    <a:pt x="58" y="56"/>
                  </a:lnTo>
                  <a:lnTo>
                    <a:pt x="44" y="70"/>
                  </a:lnTo>
                  <a:lnTo>
                    <a:pt x="32" y="86"/>
                  </a:lnTo>
                  <a:lnTo>
                    <a:pt x="24" y="102"/>
                  </a:lnTo>
                  <a:lnTo>
                    <a:pt x="14" y="120"/>
                  </a:lnTo>
                  <a:lnTo>
                    <a:pt x="8" y="138"/>
                  </a:lnTo>
                  <a:lnTo>
                    <a:pt x="4" y="156"/>
                  </a:lnTo>
                  <a:lnTo>
                    <a:pt x="0" y="176"/>
                  </a:lnTo>
                  <a:lnTo>
                    <a:pt x="0" y="196"/>
                  </a:lnTo>
                  <a:lnTo>
                    <a:pt x="0" y="196"/>
                  </a:lnTo>
                  <a:lnTo>
                    <a:pt x="0" y="216"/>
                  </a:lnTo>
                  <a:lnTo>
                    <a:pt x="4" y="236"/>
                  </a:lnTo>
                  <a:lnTo>
                    <a:pt x="8" y="254"/>
                  </a:lnTo>
                  <a:lnTo>
                    <a:pt x="14" y="272"/>
                  </a:lnTo>
                  <a:lnTo>
                    <a:pt x="24" y="290"/>
                  </a:lnTo>
                  <a:lnTo>
                    <a:pt x="32" y="306"/>
                  </a:lnTo>
                  <a:lnTo>
                    <a:pt x="44" y="321"/>
                  </a:lnTo>
                  <a:lnTo>
                    <a:pt x="58" y="335"/>
                  </a:lnTo>
                  <a:lnTo>
                    <a:pt x="70" y="347"/>
                  </a:lnTo>
                  <a:lnTo>
                    <a:pt x="86" y="359"/>
                  </a:lnTo>
                  <a:lnTo>
                    <a:pt x="102" y="369"/>
                  </a:lnTo>
                  <a:lnTo>
                    <a:pt x="120" y="377"/>
                  </a:lnTo>
                  <a:lnTo>
                    <a:pt x="138" y="383"/>
                  </a:lnTo>
                  <a:lnTo>
                    <a:pt x="156" y="387"/>
                  </a:lnTo>
                  <a:lnTo>
                    <a:pt x="176" y="391"/>
                  </a:lnTo>
                  <a:lnTo>
                    <a:pt x="196" y="391"/>
                  </a:lnTo>
                  <a:lnTo>
                    <a:pt x="196" y="391"/>
                  </a:lnTo>
                  <a:lnTo>
                    <a:pt x="216" y="391"/>
                  </a:lnTo>
                  <a:lnTo>
                    <a:pt x="236" y="387"/>
                  </a:lnTo>
                  <a:lnTo>
                    <a:pt x="254" y="383"/>
                  </a:lnTo>
                  <a:lnTo>
                    <a:pt x="272" y="377"/>
                  </a:lnTo>
                  <a:lnTo>
                    <a:pt x="290" y="369"/>
                  </a:lnTo>
                  <a:lnTo>
                    <a:pt x="305" y="359"/>
                  </a:lnTo>
                  <a:lnTo>
                    <a:pt x="321" y="347"/>
                  </a:lnTo>
                  <a:lnTo>
                    <a:pt x="335" y="335"/>
                  </a:lnTo>
                  <a:lnTo>
                    <a:pt x="347" y="321"/>
                  </a:lnTo>
                  <a:lnTo>
                    <a:pt x="359" y="306"/>
                  </a:lnTo>
                  <a:lnTo>
                    <a:pt x="369" y="290"/>
                  </a:lnTo>
                  <a:lnTo>
                    <a:pt x="377" y="272"/>
                  </a:lnTo>
                  <a:lnTo>
                    <a:pt x="383" y="254"/>
                  </a:lnTo>
                  <a:lnTo>
                    <a:pt x="389" y="236"/>
                  </a:lnTo>
                  <a:lnTo>
                    <a:pt x="391" y="216"/>
                  </a:lnTo>
                  <a:lnTo>
                    <a:pt x="393" y="196"/>
                  </a:lnTo>
                  <a:lnTo>
                    <a:pt x="393" y="196"/>
                  </a:lnTo>
                  <a:lnTo>
                    <a:pt x="391" y="176"/>
                  </a:lnTo>
                  <a:lnTo>
                    <a:pt x="389" y="156"/>
                  </a:lnTo>
                  <a:lnTo>
                    <a:pt x="383" y="138"/>
                  </a:lnTo>
                  <a:lnTo>
                    <a:pt x="377" y="120"/>
                  </a:lnTo>
                  <a:lnTo>
                    <a:pt x="369" y="102"/>
                  </a:lnTo>
                  <a:lnTo>
                    <a:pt x="359" y="86"/>
                  </a:lnTo>
                  <a:lnTo>
                    <a:pt x="347" y="70"/>
                  </a:lnTo>
                  <a:lnTo>
                    <a:pt x="335" y="56"/>
                  </a:lnTo>
                  <a:lnTo>
                    <a:pt x="321" y="44"/>
                  </a:lnTo>
                  <a:lnTo>
                    <a:pt x="305" y="32"/>
                  </a:lnTo>
                  <a:lnTo>
                    <a:pt x="290" y="22"/>
                  </a:lnTo>
                  <a:lnTo>
                    <a:pt x="272" y="14"/>
                  </a:lnTo>
                  <a:lnTo>
                    <a:pt x="254" y="8"/>
                  </a:lnTo>
                  <a:lnTo>
                    <a:pt x="236" y="4"/>
                  </a:lnTo>
                  <a:lnTo>
                    <a:pt x="216" y="0"/>
                  </a:lnTo>
                  <a:lnTo>
                    <a:pt x="196" y="0"/>
                  </a:lnTo>
                  <a:lnTo>
                    <a:pt x="196" y="0"/>
                  </a:lnTo>
                  <a:close/>
                  <a:moveTo>
                    <a:pt x="301" y="178"/>
                  </a:moveTo>
                  <a:lnTo>
                    <a:pt x="301" y="264"/>
                  </a:lnTo>
                  <a:lnTo>
                    <a:pt x="301" y="264"/>
                  </a:lnTo>
                  <a:lnTo>
                    <a:pt x="301" y="274"/>
                  </a:lnTo>
                  <a:lnTo>
                    <a:pt x="300" y="280"/>
                  </a:lnTo>
                  <a:lnTo>
                    <a:pt x="296" y="288"/>
                  </a:lnTo>
                  <a:lnTo>
                    <a:pt x="290" y="294"/>
                  </a:lnTo>
                  <a:lnTo>
                    <a:pt x="284" y="300"/>
                  </a:lnTo>
                  <a:lnTo>
                    <a:pt x="278" y="302"/>
                  </a:lnTo>
                  <a:lnTo>
                    <a:pt x="270" y="306"/>
                  </a:lnTo>
                  <a:lnTo>
                    <a:pt x="262" y="306"/>
                  </a:lnTo>
                  <a:lnTo>
                    <a:pt x="130" y="306"/>
                  </a:lnTo>
                  <a:lnTo>
                    <a:pt x="130" y="306"/>
                  </a:lnTo>
                  <a:lnTo>
                    <a:pt x="122" y="306"/>
                  </a:lnTo>
                  <a:lnTo>
                    <a:pt x="114" y="302"/>
                  </a:lnTo>
                  <a:lnTo>
                    <a:pt x="106" y="300"/>
                  </a:lnTo>
                  <a:lnTo>
                    <a:pt x="100" y="294"/>
                  </a:lnTo>
                  <a:lnTo>
                    <a:pt x="96" y="288"/>
                  </a:lnTo>
                  <a:lnTo>
                    <a:pt x="92" y="280"/>
                  </a:lnTo>
                  <a:lnTo>
                    <a:pt x="90" y="274"/>
                  </a:lnTo>
                  <a:lnTo>
                    <a:pt x="88" y="264"/>
                  </a:lnTo>
                  <a:lnTo>
                    <a:pt x="88" y="178"/>
                  </a:lnTo>
                  <a:lnTo>
                    <a:pt x="88" y="134"/>
                  </a:lnTo>
                  <a:lnTo>
                    <a:pt x="88" y="134"/>
                  </a:lnTo>
                  <a:lnTo>
                    <a:pt x="90" y="124"/>
                  </a:lnTo>
                  <a:lnTo>
                    <a:pt x="92" y="118"/>
                  </a:lnTo>
                  <a:lnTo>
                    <a:pt x="96" y="110"/>
                  </a:lnTo>
                  <a:lnTo>
                    <a:pt x="100" y="104"/>
                  </a:lnTo>
                  <a:lnTo>
                    <a:pt x="106" y="98"/>
                  </a:lnTo>
                  <a:lnTo>
                    <a:pt x="114" y="96"/>
                  </a:lnTo>
                  <a:lnTo>
                    <a:pt x="122" y="92"/>
                  </a:lnTo>
                  <a:lnTo>
                    <a:pt x="130" y="92"/>
                  </a:lnTo>
                  <a:lnTo>
                    <a:pt x="262" y="92"/>
                  </a:lnTo>
                  <a:lnTo>
                    <a:pt x="262" y="92"/>
                  </a:lnTo>
                  <a:lnTo>
                    <a:pt x="270" y="92"/>
                  </a:lnTo>
                  <a:lnTo>
                    <a:pt x="278" y="96"/>
                  </a:lnTo>
                  <a:lnTo>
                    <a:pt x="284" y="98"/>
                  </a:lnTo>
                  <a:lnTo>
                    <a:pt x="290" y="104"/>
                  </a:lnTo>
                  <a:lnTo>
                    <a:pt x="296" y="110"/>
                  </a:lnTo>
                  <a:lnTo>
                    <a:pt x="300" y="118"/>
                  </a:lnTo>
                  <a:lnTo>
                    <a:pt x="301" y="124"/>
                  </a:lnTo>
                  <a:lnTo>
                    <a:pt x="301" y="134"/>
                  </a:lnTo>
                  <a:lnTo>
                    <a:pt x="301" y="178"/>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a:endParaRPr lang="en-US" sz="5000"/>
            </a:p>
          </p:txBody>
        </p:sp>
        <p:sp>
          <p:nvSpPr>
            <p:cNvPr id="21" name="Freeform 158">
              <a:extLst>
                <a:ext uri="{FF2B5EF4-FFF2-40B4-BE49-F238E27FC236}">
                  <a16:creationId xmlns:a16="http://schemas.microsoft.com/office/drawing/2014/main" id="{1E7F712A-8218-4402-8329-0B04288D4E3F}"/>
                </a:ext>
              </a:extLst>
            </p:cNvPr>
            <p:cNvSpPr/>
            <p:nvPr/>
          </p:nvSpPr>
          <p:spPr bwMode="auto">
            <a:xfrm>
              <a:off x="5762424" y="4683527"/>
              <a:ext cx="125685" cy="78919"/>
            </a:xfrm>
            <a:custGeom>
              <a:gdLst>
                <a:gd fmla="*/ 144 w 172" name="T0"/>
                <a:gd fmla="*/ 22 h 108" name="T1"/>
                <a:gd fmla="*/ 144 w 172" name="T2"/>
                <a:gd fmla="*/ 22 h 108" name="T3"/>
                <a:gd fmla="*/ 142 w 172" name="T4"/>
                <a:gd fmla="*/ 32 h 108" name="T5"/>
                <a:gd fmla="*/ 140 w 172" name="T6"/>
                <a:gd fmla="*/ 44 h 108" name="T7"/>
                <a:gd fmla="*/ 134 w 172" name="T8"/>
                <a:gd fmla="*/ 54 h 108" name="T9"/>
                <a:gd fmla="*/ 126 w 172" name="T10"/>
                <a:gd fmla="*/ 62 h 108" name="T11"/>
                <a:gd fmla="*/ 118 w 172" name="T12"/>
                <a:gd fmla="*/ 70 h 108" name="T13"/>
                <a:gd fmla="*/ 108 w 172" name="T14"/>
                <a:gd fmla="*/ 74 h 108" name="T15"/>
                <a:gd fmla="*/ 98 w 172" name="T16"/>
                <a:gd fmla="*/ 78 h 108" name="T17"/>
                <a:gd fmla="*/ 86 w 172" name="T18"/>
                <a:gd fmla="*/ 80 h 108" name="T19"/>
                <a:gd fmla="*/ 86 w 172" name="T20"/>
                <a:gd fmla="*/ 80 h 108" name="T21"/>
                <a:gd fmla="*/ 74 w 172" name="T22"/>
                <a:gd fmla="*/ 78 h 108" name="T23"/>
                <a:gd fmla="*/ 62 w 172" name="T24"/>
                <a:gd fmla="*/ 74 h 108" name="T25"/>
                <a:gd fmla="*/ 52 w 172" name="T26"/>
                <a:gd fmla="*/ 70 h 108" name="T27"/>
                <a:gd fmla="*/ 44 w 172" name="T28"/>
                <a:gd fmla="*/ 62 h 108" name="T29"/>
                <a:gd fmla="*/ 36 w 172" name="T30"/>
                <a:gd fmla="*/ 54 h 108" name="T31"/>
                <a:gd fmla="*/ 32 w 172" name="T32"/>
                <a:gd fmla="*/ 44 h 108" name="T33"/>
                <a:gd fmla="*/ 28 w 172" name="T34"/>
                <a:gd fmla="*/ 32 h 108" name="T35"/>
                <a:gd fmla="*/ 26 w 172" name="T36"/>
                <a:gd fmla="*/ 22 h 108" name="T37"/>
                <a:gd fmla="*/ 26 w 172" name="T38"/>
                <a:gd fmla="*/ 22 h 108" name="T39"/>
                <a:gd fmla="*/ 28 w 172" name="T40"/>
                <a:gd fmla="*/ 10 h 108" name="T41"/>
                <a:gd fmla="*/ 32 w 172" name="T42"/>
                <a:gd fmla="*/ 0 h 108" name="T43"/>
                <a:gd fmla="*/ 0 w 172" name="T44"/>
                <a:gd fmla="*/ 0 h 108" name="T45"/>
                <a:gd fmla="*/ 0 w 172" name="T46"/>
                <a:gd fmla="*/ 86 h 108" name="T47"/>
                <a:gd fmla="*/ 0 w 172" name="T48"/>
                <a:gd fmla="*/ 86 h 108" name="T49"/>
                <a:gd fmla="*/ 0 w 172" name="T50"/>
                <a:gd fmla="*/ 94 h 108" name="T51"/>
                <a:gd fmla="*/ 6 w 172" name="T52"/>
                <a:gd fmla="*/ 102 h 108" name="T53"/>
                <a:gd fmla="*/ 12 w 172" name="T54"/>
                <a:gd fmla="*/ 106 h 108" name="T55"/>
                <a:gd fmla="*/ 20 w 172" name="T56"/>
                <a:gd fmla="*/ 108 h 108" name="T57"/>
                <a:gd fmla="*/ 152 w 172" name="T58"/>
                <a:gd fmla="*/ 108 h 108" name="T59"/>
                <a:gd fmla="*/ 152 w 172" name="T60"/>
                <a:gd fmla="*/ 108 h 108" name="T61"/>
                <a:gd fmla="*/ 160 w 172" name="T62"/>
                <a:gd fmla="*/ 106 h 108" name="T63"/>
                <a:gd fmla="*/ 166 w 172" name="T64"/>
                <a:gd fmla="*/ 102 h 108" name="T65"/>
                <a:gd fmla="*/ 170 w 172" name="T66"/>
                <a:gd fmla="*/ 94 h 108" name="T67"/>
                <a:gd fmla="*/ 172 w 172" name="T68"/>
                <a:gd fmla="*/ 86 h 108" name="T69"/>
                <a:gd fmla="*/ 172 w 172" name="T70"/>
                <a:gd fmla="*/ 0 h 108" name="T71"/>
                <a:gd fmla="*/ 140 w 172" name="T72"/>
                <a:gd fmla="*/ 0 h 108" name="T73"/>
                <a:gd fmla="*/ 140 w 172" name="T74"/>
                <a:gd fmla="*/ 0 h 108" name="T75"/>
                <a:gd fmla="*/ 142 w 172" name="T76"/>
                <a:gd fmla="*/ 10 h 108" name="T77"/>
                <a:gd fmla="*/ 144 w 172" name="T78"/>
                <a:gd fmla="*/ 22 h 108" name="T79"/>
                <a:gd fmla="*/ 144 w 172" name="T80"/>
                <a:gd fmla="*/ 22 h 108" name="T8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b="b" l="0" r="r" t="0"/>
              <a:pathLst>
                <a:path h="108" w="172">
                  <a:moveTo>
                    <a:pt x="144" y="22"/>
                  </a:moveTo>
                  <a:lnTo>
                    <a:pt x="144" y="22"/>
                  </a:lnTo>
                  <a:lnTo>
                    <a:pt x="142" y="32"/>
                  </a:lnTo>
                  <a:lnTo>
                    <a:pt x="140" y="44"/>
                  </a:lnTo>
                  <a:lnTo>
                    <a:pt x="134" y="54"/>
                  </a:lnTo>
                  <a:lnTo>
                    <a:pt x="126" y="62"/>
                  </a:lnTo>
                  <a:lnTo>
                    <a:pt x="118" y="70"/>
                  </a:lnTo>
                  <a:lnTo>
                    <a:pt x="108" y="74"/>
                  </a:lnTo>
                  <a:lnTo>
                    <a:pt x="98" y="78"/>
                  </a:lnTo>
                  <a:lnTo>
                    <a:pt x="86" y="80"/>
                  </a:lnTo>
                  <a:lnTo>
                    <a:pt x="86" y="80"/>
                  </a:lnTo>
                  <a:lnTo>
                    <a:pt x="74" y="78"/>
                  </a:lnTo>
                  <a:lnTo>
                    <a:pt x="62" y="74"/>
                  </a:lnTo>
                  <a:lnTo>
                    <a:pt x="52" y="70"/>
                  </a:lnTo>
                  <a:lnTo>
                    <a:pt x="44" y="62"/>
                  </a:lnTo>
                  <a:lnTo>
                    <a:pt x="36" y="54"/>
                  </a:lnTo>
                  <a:lnTo>
                    <a:pt x="32" y="44"/>
                  </a:lnTo>
                  <a:lnTo>
                    <a:pt x="28" y="32"/>
                  </a:lnTo>
                  <a:lnTo>
                    <a:pt x="26" y="22"/>
                  </a:lnTo>
                  <a:lnTo>
                    <a:pt x="26" y="22"/>
                  </a:lnTo>
                  <a:lnTo>
                    <a:pt x="28" y="10"/>
                  </a:lnTo>
                  <a:lnTo>
                    <a:pt x="32" y="0"/>
                  </a:lnTo>
                  <a:lnTo>
                    <a:pt x="0" y="0"/>
                  </a:lnTo>
                  <a:lnTo>
                    <a:pt x="0" y="86"/>
                  </a:lnTo>
                  <a:lnTo>
                    <a:pt x="0" y="86"/>
                  </a:lnTo>
                  <a:lnTo>
                    <a:pt x="0" y="94"/>
                  </a:lnTo>
                  <a:lnTo>
                    <a:pt x="6" y="102"/>
                  </a:lnTo>
                  <a:lnTo>
                    <a:pt x="12" y="106"/>
                  </a:lnTo>
                  <a:lnTo>
                    <a:pt x="20" y="108"/>
                  </a:lnTo>
                  <a:lnTo>
                    <a:pt x="152" y="108"/>
                  </a:lnTo>
                  <a:lnTo>
                    <a:pt x="152" y="108"/>
                  </a:lnTo>
                  <a:lnTo>
                    <a:pt x="160" y="106"/>
                  </a:lnTo>
                  <a:lnTo>
                    <a:pt x="166" y="102"/>
                  </a:lnTo>
                  <a:lnTo>
                    <a:pt x="170" y="94"/>
                  </a:lnTo>
                  <a:lnTo>
                    <a:pt x="172" y="86"/>
                  </a:lnTo>
                  <a:lnTo>
                    <a:pt x="172" y="0"/>
                  </a:lnTo>
                  <a:lnTo>
                    <a:pt x="140" y="0"/>
                  </a:lnTo>
                  <a:lnTo>
                    <a:pt x="140" y="0"/>
                  </a:lnTo>
                  <a:lnTo>
                    <a:pt x="142" y="10"/>
                  </a:lnTo>
                  <a:lnTo>
                    <a:pt x="144" y="22"/>
                  </a:lnTo>
                  <a:lnTo>
                    <a:pt x="144" y="22"/>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a:endParaRPr lang="en-US" sz="5000"/>
            </a:p>
          </p:txBody>
        </p:sp>
      </p:grpSp>
      <p:grpSp>
        <p:nvGrpSpPr>
          <p:cNvPr id="22" name="Group 89">
            <a:extLst>
              <a:ext uri="{FF2B5EF4-FFF2-40B4-BE49-F238E27FC236}">
                <a16:creationId xmlns:a16="http://schemas.microsoft.com/office/drawing/2014/main" id="{750475C8-D20D-4AE3-9BA3-6DB1B392E159}"/>
              </a:ext>
            </a:extLst>
          </p:cNvPr>
          <p:cNvGrpSpPr/>
          <p:nvPr/>
        </p:nvGrpSpPr>
        <p:grpSpPr>
          <a:xfrm>
            <a:off x="5126677" y="4908875"/>
            <a:ext cx="474263" cy="471856"/>
            <a:chOff x="6848284" y="4553457"/>
            <a:chExt cx="287906" cy="286445"/>
          </a:xfrm>
          <a:solidFill>
            <a:schemeClr val="bg1">
              <a:lumMod val="50000"/>
            </a:schemeClr>
          </a:solidFill>
        </p:grpSpPr>
        <p:sp>
          <p:nvSpPr>
            <p:cNvPr id="23" name="Freeform 163">
              <a:extLst>
                <a:ext uri="{FF2B5EF4-FFF2-40B4-BE49-F238E27FC236}">
                  <a16:creationId xmlns:a16="http://schemas.microsoft.com/office/drawing/2014/main" id="{9DA7ECF2-CF72-43BF-8134-876F75D57585}"/>
                </a:ext>
              </a:extLst>
            </p:cNvPr>
            <p:cNvSpPr/>
            <p:nvPr/>
          </p:nvSpPr>
          <p:spPr bwMode="auto">
            <a:xfrm>
              <a:off x="6943279" y="4638221"/>
              <a:ext cx="35075" cy="48228"/>
            </a:xfrm>
            <a:custGeom>
              <a:gdLst>
                <a:gd fmla="*/ 30 w 48" name="T0"/>
                <a:gd fmla="*/ 66 h 66" name="T1"/>
                <a:gd fmla="*/ 30 w 48" name="T2"/>
                <a:gd fmla="*/ 66 h 66" name="T3"/>
                <a:gd fmla="*/ 36 w 48" name="T4"/>
                <a:gd fmla="*/ 64 h 66" name="T5"/>
                <a:gd fmla="*/ 42 w 48" name="T6"/>
                <a:gd fmla="*/ 60 h 66" name="T7"/>
                <a:gd fmla="*/ 42 w 48" name="T8"/>
                <a:gd fmla="*/ 60 h 66" name="T9"/>
                <a:gd fmla="*/ 46 w 48" name="T10"/>
                <a:gd fmla="*/ 54 h 66" name="T11"/>
                <a:gd fmla="*/ 48 w 48" name="T12"/>
                <a:gd fmla="*/ 48 h 66" name="T13"/>
                <a:gd fmla="*/ 48 w 48" name="T14"/>
                <a:gd fmla="*/ 42 h 66" name="T15"/>
                <a:gd fmla="*/ 48 w 48" name="T16"/>
                <a:gd fmla="*/ 34 h 66" name="T17"/>
                <a:gd fmla="*/ 48 w 48" name="T18"/>
                <a:gd fmla="*/ 34 h 66" name="T19"/>
                <a:gd fmla="*/ 44 w 48" name="T20"/>
                <a:gd fmla="*/ 22 h 66" name="T21"/>
                <a:gd fmla="*/ 38 w 48" name="T22"/>
                <a:gd fmla="*/ 10 h 66" name="T23"/>
                <a:gd fmla="*/ 30 w 48" name="T24"/>
                <a:gd fmla="*/ 2 h 66" name="T25"/>
                <a:gd fmla="*/ 24 w 48" name="T26"/>
                <a:gd fmla="*/ 0 h 66" name="T27"/>
                <a:gd fmla="*/ 20 w 48" name="T28"/>
                <a:gd fmla="*/ 0 h 66" name="T29"/>
                <a:gd fmla="*/ 18 w 48" name="T30"/>
                <a:gd fmla="*/ 0 h 66" name="T31"/>
                <a:gd fmla="*/ 18 w 48" name="T32"/>
                <a:gd fmla="*/ 0 h 66" name="T33"/>
                <a:gd fmla="*/ 12 w 48" name="T34"/>
                <a:gd fmla="*/ 2 h 66" name="T35"/>
                <a:gd fmla="*/ 6 w 48" name="T36"/>
                <a:gd fmla="*/ 6 h 66" name="T37"/>
                <a:gd fmla="*/ 6 w 48" name="T38"/>
                <a:gd fmla="*/ 6 h 66" name="T39"/>
                <a:gd fmla="*/ 2 w 48" name="T40"/>
                <a:gd fmla="*/ 10 h 66" name="T41"/>
                <a:gd fmla="*/ 0 w 48" name="T42"/>
                <a:gd fmla="*/ 16 h 66" name="T43"/>
                <a:gd fmla="*/ 0 w 48" name="T44"/>
                <a:gd fmla="*/ 24 h 66" name="T45"/>
                <a:gd fmla="*/ 0 w 48" name="T46"/>
                <a:gd fmla="*/ 30 h 66" name="T47"/>
                <a:gd fmla="*/ 0 w 48" name="T48"/>
                <a:gd fmla="*/ 30 h 66" name="T49"/>
                <a:gd fmla="*/ 4 w 48" name="T50"/>
                <a:gd fmla="*/ 44 h 66" name="T51"/>
                <a:gd fmla="*/ 10 w 48" name="T52"/>
                <a:gd fmla="*/ 54 h 66" name="T53"/>
                <a:gd fmla="*/ 20 w 48" name="T54"/>
                <a:gd fmla="*/ 62 h 66" name="T55"/>
                <a:gd fmla="*/ 24 w 48" name="T56"/>
                <a:gd fmla="*/ 64 h 66" name="T57"/>
                <a:gd fmla="*/ 30 w 48" name="T58"/>
                <a:gd fmla="*/ 66 h 66" name="T59"/>
                <a:gd fmla="*/ 30 w 48" name="T60"/>
                <a:gd fmla="*/ 66 h 66" name="T6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b="b" l="0" r="r" t="0"/>
              <a:pathLst>
                <a:path h="66" w="48">
                  <a:moveTo>
                    <a:pt x="30" y="66"/>
                  </a:moveTo>
                  <a:lnTo>
                    <a:pt x="30" y="66"/>
                  </a:lnTo>
                  <a:lnTo>
                    <a:pt x="36" y="64"/>
                  </a:lnTo>
                  <a:lnTo>
                    <a:pt x="42" y="60"/>
                  </a:lnTo>
                  <a:lnTo>
                    <a:pt x="42" y="60"/>
                  </a:lnTo>
                  <a:lnTo>
                    <a:pt x="46" y="54"/>
                  </a:lnTo>
                  <a:lnTo>
                    <a:pt x="48" y="48"/>
                  </a:lnTo>
                  <a:lnTo>
                    <a:pt x="48" y="42"/>
                  </a:lnTo>
                  <a:lnTo>
                    <a:pt x="48" y="34"/>
                  </a:lnTo>
                  <a:lnTo>
                    <a:pt x="48" y="34"/>
                  </a:lnTo>
                  <a:lnTo>
                    <a:pt x="44" y="22"/>
                  </a:lnTo>
                  <a:lnTo>
                    <a:pt x="38" y="10"/>
                  </a:lnTo>
                  <a:lnTo>
                    <a:pt x="30" y="2"/>
                  </a:lnTo>
                  <a:lnTo>
                    <a:pt x="24" y="0"/>
                  </a:lnTo>
                  <a:lnTo>
                    <a:pt x="20" y="0"/>
                  </a:lnTo>
                  <a:lnTo>
                    <a:pt x="18" y="0"/>
                  </a:lnTo>
                  <a:lnTo>
                    <a:pt x="18" y="0"/>
                  </a:lnTo>
                  <a:lnTo>
                    <a:pt x="12" y="2"/>
                  </a:lnTo>
                  <a:lnTo>
                    <a:pt x="6" y="6"/>
                  </a:lnTo>
                  <a:lnTo>
                    <a:pt x="6" y="6"/>
                  </a:lnTo>
                  <a:lnTo>
                    <a:pt x="2" y="10"/>
                  </a:lnTo>
                  <a:lnTo>
                    <a:pt x="0" y="16"/>
                  </a:lnTo>
                  <a:lnTo>
                    <a:pt x="0" y="24"/>
                  </a:lnTo>
                  <a:lnTo>
                    <a:pt x="0" y="30"/>
                  </a:lnTo>
                  <a:lnTo>
                    <a:pt x="0" y="30"/>
                  </a:lnTo>
                  <a:lnTo>
                    <a:pt x="4" y="44"/>
                  </a:lnTo>
                  <a:lnTo>
                    <a:pt x="10" y="54"/>
                  </a:lnTo>
                  <a:lnTo>
                    <a:pt x="20" y="62"/>
                  </a:lnTo>
                  <a:lnTo>
                    <a:pt x="24" y="64"/>
                  </a:lnTo>
                  <a:lnTo>
                    <a:pt x="30" y="66"/>
                  </a:lnTo>
                  <a:lnTo>
                    <a:pt x="30" y="6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a:endParaRPr lang="en-US" sz="5000"/>
            </a:p>
          </p:txBody>
        </p:sp>
        <p:sp>
          <p:nvSpPr>
            <p:cNvPr id="24" name="Freeform 164">
              <a:extLst>
                <a:ext uri="{FF2B5EF4-FFF2-40B4-BE49-F238E27FC236}">
                  <a16:creationId xmlns:a16="http://schemas.microsoft.com/office/drawing/2014/main" id="{C22D0F6C-C28A-42E0-8415-B4B9ACA5CBE2}"/>
                </a:ext>
              </a:extLst>
            </p:cNvPr>
            <p:cNvSpPr/>
            <p:nvPr/>
          </p:nvSpPr>
          <p:spPr bwMode="auto">
            <a:xfrm>
              <a:off x="6934510" y="4722986"/>
              <a:ext cx="55535" cy="40921"/>
            </a:xfrm>
            <a:custGeom>
              <a:gdLst>
                <a:gd fmla="*/ 56 w 76" name="T0"/>
                <a:gd fmla="*/ 4 h 56" name="T1"/>
                <a:gd fmla="*/ 56 w 76" name="T2"/>
                <a:gd fmla="*/ 4 h 56" name="T3"/>
                <a:gd fmla="*/ 52 w 76" name="T4"/>
                <a:gd fmla="*/ 2 h 56" name="T5"/>
                <a:gd fmla="*/ 52 w 76" name="T6"/>
                <a:gd fmla="*/ 2 h 56" name="T7"/>
                <a:gd fmla="*/ 40 w 76" name="T8"/>
                <a:gd fmla="*/ 0 h 56" name="T9"/>
                <a:gd fmla="*/ 38 w 76" name="T10"/>
                <a:gd fmla="*/ 0 h 56" name="T11"/>
                <a:gd fmla="*/ 38 w 76" name="T12"/>
                <a:gd fmla="*/ 0 h 56" name="T13"/>
                <a:gd fmla="*/ 24 w 76" name="T14"/>
                <a:gd fmla="*/ 2 h 56" name="T15"/>
                <a:gd fmla="*/ 10 w 76" name="T16"/>
                <a:gd fmla="*/ 8 h 56" name="T17"/>
                <a:gd fmla="*/ 6 w 76" name="T18"/>
                <a:gd fmla="*/ 12 h 56" name="T19"/>
                <a:gd fmla="*/ 2 w 76" name="T20"/>
                <a:gd fmla="*/ 16 h 56" name="T21"/>
                <a:gd fmla="*/ 0 w 76" name="T22"/>
                <a:gd fmla="*/ 22 h 56" name="T23"/>
                <a:gd fmla="*/ 0 w 76" name="T24"/>
                <a:gd fmla="*/ 26 h 56" name="T25"/>
                <a:gd fmla="*/ 0 w 76" name="T26"/>
                <a:gd fmla="*/ 26 h 56" name="T27"/>
                <a:gd fmla="*/ 0 w 76" name="T28"/>
                <a:gd fmla="*/ 32 h 56" name="T29"/>
                <a:gd fmla="*/ 2 w 76" name="T30"/>
                <a:gd fmla="*/ 38 h 56" name="T31"/>
                <a:gd fmla="*/ 6 w 76" name="T32"/>
                <a:gd fmla="*/ 42 h 56" name="T33"/>
                <a:gd fmla="*/ 10 w 76" name="T34"/>
                <a:gd fmla="*/ 46 h 56" name="T35"/>
                <a:gd fmla="*/ 20 w 76" name="T36"/>
                <a:gd fmla="*/ 52 h 56" name="T37"/>
                <a:gd fmla="*/ 36 w 76" name="T38"/>
                <a:gd fmla="*/ 56 h 56" name="T39"/>
                <a:gd fmla="*/ 36 w 76" name="T40"/>
                <a:gd fmla="*/ 56 h 56" name="T41"/>
                <a:gd fmla="*/ 52 w 76" name="T42"/>
                <a:gd fmla="*/ 54 h 56" name="T43"/>
                <a:gd fmla="*/ 60 w 76" name="T44"/>
                <a:gd fmla="*/ 52 h 56" name="T45"/>
                <a:gd fmla="*/ 66 w 76" name="T46"/>
                <a:gd fmla="*/ 48 h 56" name="T47"/>
                <a:gd fmla="*/ 70 w 76" name="T48"/>
                <a:gd fmla="*/ 44 h 56" name="T49"/>
                <a:gd fmla="*/ 72 w 76" name="T50"/>
                <a:gd fmla="*/ 40 h 56" name="T51"/>
                <a:gd fmla="*/ 74 w 76" name="T52"/>
                <a:gd fmla="*/ 34 h 56" name="T53"/>
                <a:gd fmla="*/ 76 w 76" name="T54"/>
                <a:gd fmla="*/ 28 h 56" name="T55"/>
                <a:gd fmla="*/ 76 w 76" name="T56"/>
                <a:gd fmla="*/ 28 h 56" name="T57"/>
                <a:gd fmla="*/ 74 w 76" name="T58"/>
                <a:gd fmla="*/ 22 h 56" name="T59"/>
                <a:gd fmla="*/ 74 w 76" name="T60"/>
                <a:gd fmla="*/ 22 h 56" name="T61"/>
                <a:gd fmla="*/ 72 w 76" name="T62"/>
                <a:gd fmla="*/ 18 h 56" name="T63"/>
                <a:gd fmla="*/ 68 w 76" name="T64"/>
                <a:gd fmla="*/ 14 h 56" name="T65"/>
                <a:gd fmla="*/ 56 w 76" name="T66"/>
                <a:gd fmla="*/ 4 h 56" name="T67"/>
                <a:gd fmla="*/ 56 w 76" name="T68"/>
                <a:gd fmla="*/ 4 h 56" name="T6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b="b" l="0" r="r" t="0"/>
              <a:pathLst>
                <a:path h="56" w="76">
                  <a:moveTo>
                    <a:pt x="56" y="4"/>
                  </a:moveTo>
                  <a:lnTo>
                    <a:pt x="56" y="4"/>
                  </a:lnTo>
                  <a:lnTo>
                    <a:pt x="52" y="2"/>
                  </a:lnTo>
                  <a:lnTo>
                    <a:pt x="52" y="2"/>
                  </a:lnTo>
                  <a:lnTo>
                    <a:pt x="40" y="0"/>
                  </a:lnTo>
                  <a:lnTo>
                    <a:pt x="38" y="0"/>
                  </a:lnTo>
                  <a:lnTo>
                    <a:pt x="38" y="0"/>
                  </a:lnTo>
                  <a:lnTo>
                    <a:pt x="24" y="2"/>
                  </a:lnTo>
                  <a:lnTo>
                    <a:pt x="10" y="8"/>
                  </a:lnTo>
                  <a:lnTo>
                    <a:pt x="6" y="12"/>
                  </a:lnTo>
                  <a:lnTo>
                    <a:pt x="2" y="16"/>
                  </a:lnTo>
                  <a:lnTo>
                    <a:pt x="0" y="22"/>
                  </a:lnTo>
                  <a:lnTo>
                    <a:pt x="0" y="26"/>
                  </a:lnTo>
                  <a:lnTo>
                    <a:pt x="0" y="26"/>
                  </a:lnTo>
                  <a:lnTo>
                    <a:pt x="0" y="32"/>
                  </a:lnTo>
                  <a:lnTo>
                    <a:pt x="2" y="38"/>
                  </a:lnTo>
                  <a:lnTo>
                    <a:pt x="6" y="42"/>
                  </a:lnTo>
                  <a:lnTo>
                    <a:pt x="10" y="46"/>
                  </a:lnTo>
                  <a:lnTo>
                    <a:pt x="20" y="52"/>
                  </a:lnTo>
                  <a:lnTo>
                    <a:pt x="36" y="56"/>
                  </a:lnTo>
                  <a:lnTo>
                    <a:pt x="36" y="56"/>
                  </a:lnTo>
                  <a:lnTo>
                    <a:pt x="52" y="54"/>
                  </a:lnTo>
                  <a:lnTo>
                    <a:pt x="60" y="52"/>
                  </a:lnTo>
                  <a:lnTo>
                    <a:pt x="66" y="48"/>
                  </a:lnTo>
                  <a:lnTo>
                    <a:pt x="70" y="44"/>
                  </a:lnTo>
                  <a:lnTo>
                    <a:pt x="72" y="40"/>
                  </a:lnTo>
                  <a:lnTo>
                    <a:pt x="74" y="34"/>
                  </a:lnTo>
                  <a:lnTo>
                    <a:pt x="76" y="28"/>
                  </a:lnTo>
                  <a:lnTo>
                    <a:pt x="76" y="28"/>
                  </a:lnTo>
                  <a:lnTo>
                    <a:pt x="74" y="22"/>
                  </a:lnTo>
                  <a:lnTo>
                    <a:pt x="74" y="22"/>
                  </a:lnTo>
                  <a:lnTo>
                    <a:pt x="72" y="18"/>
                  </a:lnTo>
                  <a:lnTo>
                    <a:pt x="68" y="14"/>
                  </a:lnTo>
                  <a:lnTo>
                    <a:pt x="56" y="4"/>
                  </a:lnTo>
                  <a:lnTo>
                    <a:pt x="56" y="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a:endParaRPr lang="en-US" sz="5000"/>
            </a:p>
          </p:txBody>
        </p:sp>
        <p:sp>
          <p:nvSpPr>
            <p:cNvPr id="25" name="Freeform 165">
              <a:extLst>
                <a:ext uri="{FF2B5EF4-FFF2-40B4-BE49-F238E27FC236}">
                  <a16:creationId xmlns:a16="http://schemas.microsoft.com/office/drawing/2014/main" id="{18840C1F-B5DB-409B-A1B5-59E924633271}"/>
                </a:ext>
              </a:extLst>
            </p:cNvPr>
            <p:cNvSpPr>
              <a:spLocks noEditPoints="1"/>
            </p:cNvSpPr>
            <p:nvPr/>
          </p:nvSpPr>
          <p:spPr bwMode="auto">
            <a:xfrm>
              <a:off x="6848284" y="4553457"/>
              <a:ext cx="287906" cy="286445"/>
            </a:xfrm>
            <a:custGeom>
              <a:gdLst>
                <a:gd fmla="*/ 156 w 393" name="T0"/>
                <a:gd fmla="*/ 4 h 391" name="T1"/>
                <a:gd fmla="*/ 86 w 393" name="T2"/>
                <a:gd fmla="*/ 32 h 391" name="T3"/>
                <a:gd fmla="*/ 32 w 393" name="T4"/>
                <a:gd fmla="*/ 86 h 391" name="T5"/>
                <a:gd fmla="*/ 4 w 393" name="T6"/>
                <a:gd fmla="*/ 156 h 391" name="T7"/>
                <a:gd fmla="*/ 0 w 393" name="T8"/>
                <a:gd fmla="*/ 216 h 391" name="T9"/>
                <a:gd fmla="*/ 24 w 393" name="T10"/>
                <a:gd fmla="*/ 290 h 391" name="T11"/>
                <a:gd fmla="*/ 70 w 393" name="T12"/>
                <a:gd fmla="*/ 347 h 391" name="T13"/>
                <a:gd fmla="*/ 138 w 393" name="T14"/>
                <a:gd fmla="*/ 383 h 391" name="T15"/>
                <a:gd fmla="*/ 196 w 393" name="T16"/>
                <a:gd fmla="*/ 391 h 391" name="T17"/>
                <a:gd fmla="*/ 271 w 393" name="T18"/>
                <a:gd fmla="*/ 377 h 391" name="T19"/>
                <a:gd fmla="*/ 335 w 393" name="T20"/>
                <a:gd fmla="*/ 335 h 391" name="T21"/>
                <a:gd fmla="*/ 377 w 393" name="T22"/>
                <a:gd fmla="*/ 272 h 391" name="T23"/>
                <a:gd fmla="*/ 393 w 393" name="T24"/>
                <a:gd fmla="*/ 196 h 391" name="T25"/>
                <a:gd fmla="*/ 383 w 393" name="T26"/>
                <a:gd fmla="*/ 138 h 391" name="T27"/>
                <a:gd fmla="*/ 347 w 393" name="T28"/>
                <a:gd fmla="*/ 70 h 391" name="T29"/>
                <a:gd fmla="*/ 289 w 393" name="T30"/>
                <a:gd fmla="*/ 22 h 391" name="T31"/>
                <a:gd fmla="*/ 216 w 393" name="T32"/>
                <a:gd fmla="*/ 0 h 391" name="T33"/>
                <a:gd fmla="*/ 178 w 393" name="T34"/>
                <a:gd fmla="*/ 304 h 391" name="T35"/>
                <a:gd fmla="*/ 138 w 393" name="T36"/>
                <a:gd fmla="*/ 306 h 391" name="T37"/>
                <a:gd fmla="*/ 102 w 393" name="T38"/>
                <a:gd fmla="*/ 294 h 391" name="T39"/>
                <a:gd fmla="*/ 86 w 393" name="T40"/>
                <a:gd fmla="*/ 272 h 391" name="T41"/>
                <a:gd fmla="*/ 88 w 393" name="T42"/>
                <a:gd fmla="*/ 250 h 391" name="T43"/>
                <a:gd fmla="*/ 106 w 393" name="T44"/>
                <a:gd fmla="*/ 230 h 391" name="T45"/>
                <a:gd fmla="*/ 140 w 393" name="T46"/>
                <a:gd fmla="*/ 216 h 391" name="T47"/>
                <a:gd fmla="*/ 152 w 393" name="T48"/>
                <a:gd fmla="*/ 216 h 391" name="T49"/>
                <a:gd fmla="*/ 148 w 393" name="T50"/>
                <a:gd fmla="*/ 198 h 391" name="T51"/>
                <a:gd fmla="*/ 120 w 393" name="T52"/>
                <a:gd fmla="*/ 188 h 391" name="T53"/>
                <a:gd fmla="*/ 100 w 393" name="T54"/>
                <a:gd fmla="*/ 158 h 391" name="T55"/>
                <a:gd fmla="*/ 102 w 393" name="T56"/>
                <a:gd fmla="*/ 134 h 391" name="T57"/>
                <a:gd fmla="*/ 136 w 393" name="T58"/>
                <a:gd fmla="*/ 102 h 391" name="T59"/>
                <a:gd fmla="*/ 218 w 393" name="T60"/>
                <a:gd fmla="*/ 98 h 391" name="T61"/>
                <a:gd fmla="*/ 224 w 393" name="T62"/>
                <a:gd fmla="*/ 100 h 391" name="T63"/>
                <a:gd fmla="*/ 208 w 393" name="T64"/>
                <a:gd fmla="*/ 116 h 391" name="T65"/>
                <a:gd fmla="*/ 204 w 393" name="T66"/>
                <a:gd fmla="*/ 124 h 391" name="T67"/>
                <a:gd fmla="*/ 210 w 393" name="T68"/>
                <a:gd fmla="*/ 148 h 391" name="T69"/>
                <a:gd fmla="*/ 190 w 393" name="T70"/>
                <a:gd fmla="*/ 184 h 391" name="T71"/>
                <a:gd fmla="*/ 180 w 393" name="T72"/>
                <a:gd fmla="*/ 198 h 391" name="T73"/>
                <a:gd fmla="*/ 206 w 393" name="T74"/>
                <a:gd fmla="*/ 222 h 391" name="T75"/>
                <a:gd fmla="*/ 218 w 393" name="T76"/>
                <a:gd fmla="*/ 258 h 391" name="T77"/>
                <a:gd fmla="*/ 208 w 393" name="T78"/>
                <a:gd fmla="*/ 286 h 391" name="T79"/>
                <a:gd fmla="*/ 178 w 393" name="T80"/>
                <a:gd fmla="*/ 304 h 391" name="T81"/>
                <a:gd fmla="*/ 315 w 393" name="T82"/>
                <a:gd fmla="*/ 200 h 391" name="T83"/>
                <a:gd fmla="*/ 277 w 393" name="T84"/>
                <a:gd fmla="*/ 238 h 391" name="T85"/>
                <a:gd fmla="*/ 263 w 393" name="T86"/>
                <a:gd fmla="*/ 242 h 391" name="T87"/>
                <a:gd fmla="*/ 224 w 393" name="T88"/>
                <a:gd fmla="*/ 202 h 391" name="T89"/>
                <a:gd fmla="*/ 218 w 393" name="T90"/>
                <a:gd fmla="*/ 188 h 391" name="T91"/>
                <a:gd fmla="*/ 257 w 393" name="T92"/>
                <a:gd fmla="*/ 182 h 391" name="T93"/>
                <a:gd fmla="*/ 263 w 393" name="T94"/>
                <a:gd fmla="*/ 142 h 391" name="T95"/>
                <a:gd fmla="*/ 277 w 393" name="T96"/>
                <a:gd fmla="*/ 148 h 391" name="T97"/>
                <a:gd fmla="*/ 315 w 393" name="T98"/>
                <a:gd fmla="*/ 184 h 391" name="T9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b="b" l="0" r="r" t="0"/>
              <a:pathLst>
                <a:path h="391" w="393">
                  <a:moveTo>
                    <a:pt x="196" y="0"/>
                  </a:moveTo>
                  <a:lnTo>
                    <a:pt x="196" y="0"/>
                  </a:lnTo>
                  <a:lnTo>
                    <a:pt x="176" y="0"/>
                  </a:lnTo>
                  <a:lnTo>
                    <a:pt x="156" y="4"/>
                  </a:lnTo>
                  <a:lnTo>
                    <a:pt x="138" y="8"/>
                  </a:lnTo>
                  <a:lnTo>
                    <a:pt x="120" y="14"/>
                  </a:lnTo>
                  <a:lnTo>
                    <a:pt x="102" y="22"/>
                  </a:lnTo>
                  <a:lnTo>
                    <a:pt x="86" y="32"/>
                  </a:lnTo>
                  <a:lnTo>
                    <a:pt x="70" y="44"/>
                  </a:lnTo>
                  <a:lnTo>
                    <a:pt x="58" y="56"/>
                  </a:lnTo>
                  <a:lnTo>
                    <a:pt x="44" y="70"/>
                  </a:lnTo>
                  <a:lnTo>
                    <a:pt x="32" y="86"/>
                  </a:lnTo>
                  <a:lnTo>
                    <a:pt x="24" y="102"/>
                  </a:lnTo>
                  <a:lnTo>
                    <a:pt x="14" y="120"/>
                  </a:lnTo>
                  <a:lnTo>
                    <a:pt x="8" y="138"/>
                  </a:lnTo>
                  <a:lnTo>
                    <a:pt x="4" y="156"/>
                  </a:lnTo>
                  <a:lnTo>
                    <a:pt x="0" y="176"/>
                  </a:lnTo>
                  <a:lnTo>
                    <a:pt x="0" y="196"/>
                  </a:lnTo>
                  <a:lnTo>
                    <a:pt x="0" y="196"/>
                  </a:lnTo>
                  <a:lnTo>
                    <a:pt x="0" y="216"/>
                  </a:lnTo>
                  <a:lnTo>
                    <a:pt x="4" y="236"/>
                  </a:lnTo>
                  <a:lnTo>
                    <a:pt x="8" y="254"/>
                  </a:lnTo>
                  <a:lnTo>
                    <a:pt x="14" y="272"/>
                  </a:lnTo>
                  <a:lnTo>
                    <a:pt x="24" y="290"/>
                  </a:lnTo>
                  <a:lnTo>
                    <a:pt x="32" y="306"/>
                  </a:lnTo>
                  <a:lnTo>
                    <a:pt x="44" y="321"/>
                  </a:lnTo>
                  <a:lnTo>
                    <a:pt x="58" y="335"/>
                  </a:lnTo>
                  <a:lnTo>
                    <a:pt x="70" y="347"/>
                  </a:lnTo>
                  <a:lnTo>
                    <a:pt x="86" y="359"/>
                  </a:lnTo>
                  <a:lnTo>
                    <a:pt x="102" y="369"/>
                  </a:lnTo>
                  <a:lnTo>
                    <a:pt x="120" y="377"/>
                  </a:lnTo>
                  <a:lnTo>
                    <a:pt x="138" y="383"/>
                  </a:lnTo>
                  <a:lnTo>
                    <a:pt x="156" y="387"/>
                  </a:lnTo>
                  <a:lnTo>
                    <a:pt x="176" y="391"/>
                  </a:lnTo>
                  <a:lnTo>
                    <a:pt x="196" y="391"/>
                  </a:lnTo>
                  <a:lnTo>
                    <a:pt x="196" y="391"/>
                  </a:lnTo>
                  <a:lnTo>
                    <a:pt x="216" y="391"/>
                  </a:lnTo>
                  <a:lnTo>
                    <a:pt x="235" y="387"/>
                  </a:lnTo>
                  <a:lnTo>
                    <a:pt x="253" y="383"/>
                  </a:lnTo>
                  <a:lnTo>
                    <a:pt x="271" y="377"/>
                  </a:lnTo>
                  <a:lnTo>
                    <a:pt x="289" y="369"/>
                  </a:lnTo>
                  <a:lnTo>
                    <a:pt x="305" y="359"/>
                  </a:lnTo>
                  <a:lnTo>
                    <a:pt x="321" y="347"/>
                  </a:lnTo>
                  <a:lnTo>
                    <a:pt x="335" y="335"/>
                  </a:lnTo>
                  <a:lnTo>
                    <a:pt x="347" y="321"/>
                  </a:lnTo>
                  <a:lnTo>
                    <a:pt x="359" y="306"/>
                  </a:lnTo>
                  <a:lnTo>
                    <a:pt x="369" y="290"/>
                  </a:lnTo>
                  <a:lnTo>
                    <a:pt x="377" y="272"/>
                  </a:lnTo>
                  <a:lnTo>
                    <a:pt x="383" y="254"/>
                  </a:lnTo>
                  <a:lnTo>
                    <a:pt x="389" y="236"/>
                  </a:lnTo>
                  <a:lnTo>
                    <a:pt x="391" y="216"/>
                  </a:lnTo>
                  <a:lnTo>
                    <a:pt x="393" y="196"/>
                  </a:lnTo>
                  <a:lnTo>
                    <a:pt x="393" y="196"/>
                  </a:lnTo>
                  <a:lnTo>
                    <a:pt x="391" y="176"/>
                  </a:lnTo>
                  <a:lnTo>
                    <a:pt x="389" y="156"/>
                  </a:lnTo>
                  <a:lnTo>
                    <a:pt x="383" y="138"/>
                  </a:lnTo>
                  <a:lnTo>
                    <a:pt x="377" y="120"/>
                  </a:lnTo>
                  <a:lnTo>
                    <a:pt x="369" y="102"/>
                  </a:lnTo>
                  <a:lnTo>
                    <a:pt x="359" y="86"/>
                  </a:lnTo>
                  <a:lnTo>
                    <a:pt x="347" y="70"/>
                  </a:lnTo>
                  <a:lnTo>
                    <a:pt x="335" y="56"/>
                  </a:lnTo>
                  <a:lnTo>
                    <a:pt x="321" y="44"/>
                  </a:lnTo>
                  <a:lnTo>
                    <a:pt x="305" y="32"/>
                  </a:lnTo>
                  <a:lnTo>
                    <a:pt x="289" y="22"/>
                  </a:lnTo>
                  <a:lnTo>
                    <a:pt x="271" y="14"/>
                  </a:lnTo>
                  <a:lnTo>
                    <a:pt x="253" y="8"/>
                  </a:lnTo>
                  <a:lnTo>
                    <a:pt x="235" y="4"/>
                  </a:lnTo>
                  <a:lnTo>
                    <a:pt x="216" y="0"/>
                  </a:lnTo>
                  <a:lnTo>
                    <a:pt x="196" y="0"/>
                  </a:lnTo>
                  <a:lnTo>
                    <a:pt x="196" y="0"/>
                  </a:lnTo>
                  <a:close/>
                  <a:moveTo>
                    <a:pt x="178" y="304"/>
                  </a:moveTo>
                  <a:lnTo>
                    <a:pt x="178" y="304"/>
                  </a:lnTo>
                  <a:lnTo>
                    <a:pt x="166" y="306"/>
                  </a:lnTo>
                  <a:lnTo>
                    <a:pt x="154" y="306"/>
                  </a:lnTo>
                  <a:lnTo>
                    <a:pt x="154" y="306"/>
                  </a:lnTo>
                  <a:lnTo>
                    <a:pt x="138" y="306"/>
                  </a:lnTo>
                  <a:lnTo>
                    <a:pt x="124" y="304"/>
                  </a:lnTo>
                  <a:lnTo>
                    <a:pt x="124" y="304"/>
                  </a:lnTo>
                  <a:lnTo>
                    <a:pt x="112" y="300"/>
                  </a:lnTo>
                  <a:lnTo>
                    <a:pt x="102" y="294"/>
                  </a:lnTo>
                  <a:lnTo>
                    <a:pt x="94" y="288"/>
                  </a:lnTo>
                  <a:lnTo>
                    <a:pt x="88" y="280"/>
                  </a:lnTo>
                  <a:lnTo>
                    <a:pt x="88" y="280"/>
                  </a:lnTo>
                  <a:lnTo>
                    <a:pt x="86" y="272"/>
                  </a:lnTo>
                  <a:lnTo>
                    <a:pt x="86" y="266"/>
                  </a:lnTo>
                  <a:lnTo>
                    <a:pt x="86" y="266"/>
                  </a:lnTo>
                  <a:lnTo>
                    <a:pt x="86" y="258"/>
                  </a:lnTo>
                  <a:lnTo>
                    <a:pt x="88" y="250"/>
                  </a:lnTo>
                  <a:lnTo>
                    <a:pt x="88" y="250"/>
                  </a:lnTo>
                  <a:lnTo>
                    <a:pt x="94" y="242"/>
                  </a:lnTo>
                  <a:lnTo>
                    <a:pt x="98" y="236"/>
                  </a:lnTo>
                  <a:lnTo>
                    <a:pt x="106" y="230"/>
                  </a:lnTo>
                  <a:lnTo>
                    <a:pt x="112" y="226"/>
                  </a:lnTo>
                  <a:lnTo>
                    <a:pt x="122" y="222"/>
                  </a:lnTo>
                  <a:lnTo>
                    <a:pt x="130" y="218"/>
                  </a:lnTo>
                  <a:lnTo>
                    <a:pt x="140" y="216"/>
                  </a:lnTo>
                  <a:lnTo>
                    <a:pt x="150" y="216"/>
                  </a:lnTo>
                  <a:lnTo>
                    <a:pt x="150" y="216"/>
                  </a:lnTo>
                  <a:lnTo>
                    <a:pt x="152" y="216"/>
                  </a:lnTo>
                  <a:lnTo>
                    <a:pt x="152" y="216"/>
                  </a:lnTo>
                  <a:lnTo>
                    <a:pt x="148" y="210"/>
                  </a:lnTo>
                  <a:lnTo>
                    <a:pt x="148" y="204"/>
                  </a:lnTo>
                  <a:lnTo>
                    <a:pt x="148" y="204"/>
                  </a:lnTo>
                  <a:lnTo>
                    <a:pt x="148" y="198"/>
                  </a:lnTo>
                  <a:lnTo>
                    <a:pt x="148" y="198"/>
                  </a:lnTo>
                  <a:lnTo>
                    <a:pt x="138" y="196"/>
                  </a:lnTo>
                  <a:lnTo>
                    <a:pt x="128" y="194"/>
                  </a:lnTo>
                  <a:lnTo>
                    <a:pt x="120" y="188"/>
                  </a:lnTo>
                  <a:lnTo>
                    <a:pt x="112" y="182"/>
                  </a:lnTo>
                  <a:lnTo>
                    <a:pt x="106" y="176"/>
                  </a:lnTo>
                  <a:lnTo>
                    <a:pt x="102" y="168"/>
                  </a:lnTo>
                  <a:lnTo>
                    <a:pt x="100" y="158"/>
                  </a:lnTo>
                  <a:lnTo>
                    <a:pt x="98" y="148"/>
                  </a:lnTo>
                  <a:lnTo>
                    <a:pt x="98" y="148"/>
                  </a:lnTo>
                  <a:lnTo>
                    <a:pt x="100" y="140"/>
                  </a:lnTo>
                  <a:lnTo>
                    <a:pt x="102" y="134"/>
                  </a:lnTo>
                  <a:lnTo>
                    <a:pt x="104" y="126"/>
                  </a:lnTo>
                  <a:lnTo>
                    <a:pt x="110" y="120"/>
                  </a:lnTo>
                  <a:lnTo>
                    <a:pt x="122" y="108"/>
                  </a:lnTo>
                  <a:lnTo>
                    <a:pt x="136" y="102"/>
                  </a:lnTo>
                  <a:lnTo>
                    <a:pt x="136" y="102"/>
                  </a:lnTo>
                  <a:lnTo>
                    <a:pt x="146" y="98"/>
                  </a:lnTo>
                  <a:lnTo>
                    <a:pt x="158" y="98"/>
                  </a:lnTo>
                  <a:lnTo>
                    <a:pt x="218" y="98"/>
                  </a:lnTo>
                  <a:lnTo>
                    <a:pt x="218" y="98"/>
                  </a:lnTo>
                  <a:lnTo>
                    <a:pt x="222" y="98"/>
                  </a:lnTo>
                  <a:lnTo>
                    <a:pt x="224" y="100"/>
                  </a:lnTo>
                  <a:lnTo>
                    <a:pt x="224" y="100"/>
                  </a:lnTo>
                  <a:lnTo>
                    <a:pt x="224" y="104"/>
                  </a:lnTo>
                  <a:lnTo>
                    <a:pt x="222" y="106"/>
                  </a:lnTo>
                  <a:lnTo>
                    <a:pt x="208" y="116"/>
                  </a:lnTo>
                  <a:lnTo>
                    <a:pt x="208" y="116"/>
                  </a:lnTo>
                  <a:lnTo>
                    <a:pt x="204" y="118"/>
                  </a:lnTo>
                  <a:lnTo>
                    <a:pt x="200" y="118"/>
                  </a:lnTo>
                  <a:lnTo>
                    <a:pt x="200" y="118"/>
                  </a:lnTo>
                  <a:lnTo>
                    <a:pt x="204" y="124"/>
                  </a:lnTo>
                  <a:lnTo>
                    <a:pt x="208" y="130"/>
                  </a:lnTo>
                  <a:lnTo>
                    <a:pt x="210" y="140"/>
                  </a:lnTo>
                  <a:lnTo>
                    <a:pt x="210" y="148"/>
                  </a:lnTo>
                  <a:lnTo>
                    <a:pt x="210" y="148"/>
                  </a:lnTo>
                  <a:lnTo>
                    <a:pt x="208" y="158"/>
                  </a:lnTo>
                  <a:lnTo>
                    <a:pt x="206" y="168"/>
                  </a:lnTo>
                  <a:lnTo>
                    <a:pt x="200" y="176"/>
                  </a:lnTo>
                  <a:lnTo>
                    <a:pt x="190" y="184"/>
                  </a:lnTo>
                  <a:lnTo>
                    <a:pt x="190" y="184"/>
                  </a:lnTo>
                  <a:lnTo>
                    <a:pt x="182" y="192"/>
                  </a:lnTo>
                  <a:lnTo>
                    <a:pt x="180" y="198"/>
                  </a:lnTo>
                  <a:lnTo>
                    <a:pt x="180" y="198"/>
                  </a:lnTo>
                  <a:lnTo>
                    <a:pt x="186" y="204"/>
                  </a:lnTo>
                  <a:lnTo>
                    <a:pt x="196" y="214"/>
                  </a:lnTo>
                  <a:lnTo>
                    <a:pt x="196" y="214"/>
                  </a:lnTo>
                  <a:lnTo>
                    <a:pt x="206" y="222"/>
                  </a:lnTo>
                  <a:lnTo>
                    <a:pt x="214" y="232"/>
                  </a:lnTo>
                  <a:lnTo>
                    <a:pt x="218" y="244"/>
                  </a:lnTo>
                  <a:lnTo>
                    <a:pt x="218" y="258"/>
                  </a:lnTo>
                  <a:lnTo>
                    <a:pt x="218" y="258"/>
                  </a:lnTo>
                  <a:lnTo>
                    <a:pt x="218" y="264"/>
                  </a:lnTo>
                  <a:lnTo>
                    <a:pt x="216" y="272"/>
                  </a:lnTo>
                  <a:lnTo>
                    <a:pt x="212" y="280"/>
                  </a:lnTo>
                  <a:lnTo>
                    <a:pt x="208" y="286"/>
                  </a:lnTo>
                  <a:lnTo>
                    <a:pt x="202" y="292"/>
                  </a:lnTo>
                  <a:lnTo>
                    <a:pt x="194" y="296"/>
                  </a:lnTo>
                  <a:lnTo>
                    <a:pt x="188" y="300"/>
                  </a:lnTo>
                  <a:lnTo>
                    <a:pt x="178" y="304"/>
                  </a:lnTo>
                  <a:lnTo>
                    <a:pt x="178" y="304"/>
                  </a:lnTo>
                  <a:close/>
                  <a:moveTo>
                    <a:pt x="317" y="198"/>
                  </a:moveTo>
                  <a:lnTo>
                    <a:pt x="317" y="198"/>
                  </a:lnTo>
                  <a:lnTo>
                    <a:pt x="315" y="200"/>
                  </a:lnTo>
                  <a:lnTo>
                    <a:pt x="311" y="202"/>
                  </a:lnTo>
                  <a:lnTo>
                    <a:pt x="277" y="202"/>
                  </a:lnTo>
                  <a:lnTo>
                    <a:pt x="277" y="238"/>
                  </a:lnTo>
                  <a:lnTo>
                    <a:pt x="277" y="238"/>
                  </a:lnTo>
                  <a:lnTo>
                    <a:pt x="275" y="240"/>
                  </a:lnTo>
                  <a:lnTo>
                    <a:pt x="271" y="242"/>
                  </a:lnTo>
                  <a:lnTo>
                    <a:pt x="263" y="242"/>
                  </a:lnTo>
                  <a:lnTo>
                    <a:pt x="263" y="242"/>
                  </a:lnTo>
                  <a:lnTo>
                    <a:pt x="259" y="240"/>
                  </a:lnTo>
                  <a:lnTo>
                    <a:pt x="257" y="238"/>
                  </a:lnTo>
                  <a:lnTo>
                    <a:pt x="257" y="202"/>
                  </a:lnTo>
                  <a:lnTo>
                    <a:pt x="224" y="202"/>
                  </a:lnTo>
                  <a:lnTo>
                    <a:pt x="224" y="202"/>
                  </a:lnTo>
                  <a:lnTo>
                    <a:pt x="220" y="200"/>
                  </a:lnTo>
                  <a:lnTo>
                    <a:pt x="218" y="198"/>
                  </a:lnTo>
                  <a:lnTo>
                    <a:pt x="218" y="188"/>
                  </a:lnTo>
                  <a:lnTo>
                    <a:pt x="218" y="188"/>
                  </a:lnTo>
                  <a:lnTo>
                    <a:pt x="220" y="184"/>
                  </a:lnTo>
                  <a:lnTo>
                    <a:pt x="224" y="182"/>
                  </a:lnTo>
                  <a:lnTo>
                    <a:pt x="257" y="182"/>
                  </a:lnTo>
                  <a:lnTo>
                    <a:pt x="257" y="148"/>
                  </a:lnTo>
                  <a:lnTo>
                    <a:pt x="257" y="148"/>
                  </a:lnTo>
                  <a:lnTo>
                    <a:pt x="259" y="144"/>
                  </a:lnTo>
                  <a:lnTo>
                    <a:pt x="263" y="142"/>
                  </a:lnTo>
                  <a:lnTo>
                    <a:pt x="271" y="142"/>
                  </a:lnTo>
                  <a:lnTo>
                    <a:pt x="271" y="142"/>
                  </a:lnTo>
                  <a:lnTo>
                    <a:pt x="275" y="144"/>
                  </a:lnTo>
                  <a:lnTo>
                    <a:pt x="277" y="148"/>
                  </a:lnTo>
                  <a:lnTo>
                    <a:pt x="277" y="182"/>
                  </a:lnTo>
                  <a:lnTo>
                    <a:pt x="311" y="182"/>
                  </a:lnTo>
                  <a:lnTo>
                    <a:pt x="311" y="182"/>
                  </a:lnTo>
                  <a:lnTo>
                    <a:pt x="315" y="184"/>
                  </a:lnTo>
                  <a:lnTo>
                    <a:pt x="317" y="188"/>
                  </a:lnTo>
                  <a:lnTo>
                    <a:pt x="317" y="198"/>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a:endParaRPr lang="en-US" sz="5000"/>
            </a:p>
          </p:txBody>
        </p:sp>
      </p:grpSp>
      <p:graphicFrame>
        <p:nvGraphicFramePr>
          <p:cNvPr id="26" name="Chart 25">
            <a:extLst>
              <a:ext uri="{FF2B5EF4-FFF2-40B4-BE49-F238E27FC236}">
                <a16:creationId xmlns:a16="http://schemas.microsoft.com/office/drawing/2014/main" id="{0446A282-661E-4802-ADEC-D96F990297F6}"/>
              </a:ext>
            </a:extLst>
          </p:cNvPr>
          <p:cNvGraphicFramePr/>
          <p:nvPr>
            <p:extLst>
              <p:ext uri="{D42A27DB-BD31-4B8C-83A1-F6EECF244321}">
                <p14:modId val="2276787310"/>
              </p:ext>
            </p:extLst>
          </p:nvPr>
        </p:nvGraphicFramePr>
        <p:xfrm>
          <a:off x="1155700" y="2203657"/>
          <a:ext cx="4940300" cy="2682951"/>
        </p:xfrm>
        <a:graphic>
          <a:graphicData uri="http://schemas.openxmlformats.org/drawingml/2006/chart">
            <c:chart xmlns:c="http://schemas.openxmlformats.org/drawingml/2006/chart" r:id="rId8"/>
          </a:graphicData>
        </a:graphic>
      </p:graphicFrame>
      <p:sp>
        <p:nvSpPr>
          <p:cNvPr id="37" name="Freeform 115">
            <a:extLst>
              <a:ext uri="{FF2B5EF4-FFF2-40B4-BE49-F238E27FC236}">
                <a16:creationId xmlns:a16="http://schemas.microsoft.com/office/drawing/2014/main" id="{08605A9B-D7BC-4000-A84B-D7EF6DE25A8B}"/>
              </a:ext>
            </a:extLst>
          </p:cNvPr>
          <p:cNvSpPr>
            <a:spLocks noEditPoints="1"/>
          </p:cNvSpPr>
          <p:nvPr/>
        </p:nvSpPr>
        <p:spPr bwMode="auto">
          <a:xfrm>
            <a:off x="6527572" y="3060173"/>
            <a:ext cx="391952" cy="391955"/>
          </a:xfrm>
          <a:custGeom>
            <a:gdLst>
              <a:gd fmla="*/ 198 w 393" name="T0"/>
              <a:gd fmla="*/ 0 h 393" name="T1"/>
              <a:gd fmla="*/ 158 w 393" name="T2"/>
              <a:gd fmla="*/ 4 h 393" name="T3"/>
              <a:gd fmla="*/ 120 w 393" name="T4"/>
              <a:gd fmla="*/ 16 h 393" name="T5"/>
              <a:gd fmla="*/ 88 w 393" name="T6"/>
              <a:gd fmla="*/ 34 h 393" name="T7"/>
              <a:gd fmla="*/ 58 w 393" name="T8"/>
              <a:gd fmla="*/ 57 h 393" name="T9"/>
              <a:gd fmla="*/ 34 w 393" name="T10"/>
              <a:gd fmla="*/ 85 h 393" name="T11"/>
              <a:gd fmla="*/ 16 w 393" name="T12"/>
              <a:gd fmla="*/ 119 h 393" name="T13"/>
              <a:gd fmla="*/ 4 w 393" name="T14"/>
              <a:gd fmla="*/ 157 h 393" name="T15"/>
              <a:gd fmla="*/ 0 w 393" name="T16"/>
              <a:gd fmla="*/ 195 h 393" name="T17"/>
              <a:gd fmla="*/ 2 w 393" name="T18"/>
              <a:gd fmla="*/ 217 h 393" name="T19"/>
              <a:gd fmla="*/ 10 w 393" name="T20"/>
              <a:gd fmla="*/ 255 h 393" name="T21"/>
              <a:gd fmla="*/ 24 w 393" name="T22"/>
              <a:gd fmla="*/ 289 h 393" name="T23"/>
              <a:gd fmla="*/ 46 w 393" name="T24"/>
              <a:gd fmla="*/ 321 h 393" name="T25"/>
              <a:gd fmla="*/ 72 w 393" name="T26"/>
              <a:gd fmla="*/ 347 h 393" name="T27"/>
              <a:gd fmla="*/ 104 w 393" name="T28"/>
              <a:gd fmla="*/ 369 h 393" name="T29"/>
              <a:gd fmla="*/ 138 w 393" name="T30"/>
              <a:gd fmla="*/ 385 h 393" name="T31"/>
              <a:gd fmla="*/ 178 w 393" name="T32"/>
              <a:gd fmla="*/ 391 h 393" name="T33"/>
              <a:gd fmla="*/ 198 w 393" name="T34"/>
              <a:gd fmla="*/ 393 h 393" name="T35"/>
              <a:gd fmla="*/ 238 w 393" name="T36"/>
              <a:gd fmla="*/ 389 h 393" name="T37"/>
              <a:gd fmla="*/ 274 w 393" name="T38"/>
              <a:gd fmla="*/ 377 h 393" name="T39"/>
              <a:gd fmla="*/ 308 w 393" name="T40"/>
              <a:gd fmla="*/ 359 h 393" name="T41"/>
              <a:gd fmla="*/ 336 w 393" name="T42"/>
              <a:gd fmla="*/ 335 h 393" name="T43"/>
              <a:gd fmla="*/ 360 w 393" name="T44"/>
              <a:gd fmla="*/ 307 h 393" name="T45"/>
              <a:gd fmla="*/ 379 w 393" name="T46"/>
              <a:gd fmla="*/ 273 h 393" name="T47"/>
              <a:gd fmla="*/ 389 w 393" name="T48"/>
              <a:gd fmla="*/ 235 h 393" name="T49"/>
              <a:gd fmla="*/ 393 w 393" name="T50"/>
              <a:gd fmla="*/ 195 h 393" name="T51"/>
              <a:gd fmla="*/ 393 w 393" name="T52"/>
              <a:gd fmla="*/ 175 h 393" name="T53"/>
              <a:gd fmla="*/ 385 w 393" name="T54"/>
              <a:gd fmla="*/ 137 h 393" name="T55"/>
              <a:gd fmla="*/ 369 w 393" name="T56"/>
              <a:gd fmla="*/ 101 h 393" name="T57"/>
              <a:gd fmla="*/ 350 w 393" name="T58"/>
              <a:gd fmla="*/ 71 h 393" name="T59"/>
              <a:gd fmla="*/ 322 w 393" name="T60"/>
              <a:gd fmla="*/ 44 h 393" name="T61"/>
              <a:gd fmla="*/ 292 w 393" name="T62"/>
              <a:gd fmla="*/ 24 h 393" name="T63"/>
              <a:gd fmla="*/ 256 w 393" name="T64"/>
              <a:gd fmla="*/ 8 h 393" name="T65"/>
              <a:gd fmla="*/ 218 w 393" name="T66"/>
              <a:gd fmla="*/ 0 h 393" name="T67"/>
              <a:gd fmla="*/ 198 w 393" name="T68"/>
              <a:gd fmla="*/ 0 h 393" name="T69"/>
              <a:gd fmla="*/ 216 w 393" name="T70"/>
              <a:gd fmla="*/ 195 h 393" name="T71"/>
              <a:gd fmla="*/ 216 w 393" name="T72"/>
              <a:gd fmla="*/ 317 h 393" name="T73"/>
              <a:gd fmla="*/ 164 w 393" name="T74"/>
              <a:gd fmla="*/ 317 h 393" name="T75"/>
              <a:gd fmla="*/ 140 w 393" name="T76"/>
              <a:gd fmla="*/ 195 h 393" name="T77"/>
              <a:gd fmla="*/ 164 w 393" name="T78"/>
              <a:gd fmla="*/ 153 h 393" name="T79"/>
              <a:gd fmla="*/ 164 w 393" name="T80"/>
              <a:gd fmla="*/ 125 h 393" name="T81"/>
              <a:gd fmla="*/ 170 w 393" name="T82"/>
              <a:gd fmla="*/ 99 h 393" name="T83"/>
              <a:gd fmla="*/ 182 w 393" name="T84"/>
              <a:gd fmla="*/ 85 h 393" name="T85"/>
              <a:gd fmla="*/ 202 w 393" name="T86"/>
              <a:gd fmla="*/ 75 h 393" name="T87"/>
              <a:gd fmla="*/ 254 w 393" name="T88"/>
              <a:gd fmla="*/ 73 h 393" name="T89"/>
              <a:gd fmla="*/ 254 w 393" name="T90"/>
              <a:gd fmla="*/ 115 h 393" name="T91"/>
              <a:gd fmla="*/ 226 w 393" name="T92"/>
              <a:gd fmla="*/ 115 h 393" name="T93"/>
              <a:gd fmla="*/ 220 w 393" name="T94"/>
              <a:gd fmla="*/ 117 h 393" name="T95"/>
              <a:gd fmla="*/ 216 w 393" name="T96"/>
              <a:gd fmla="*/ 127 h 393" name="T97"/>
              <a:gd fmla="*/ 254 w 393" name="T98"/>
              <a:gd fmla="*/ 153 h 393" name="T9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b="b" l="0" r="r" t="0"/>
            <a:pathLst>
              <a:path h="393" w="393">
                <a:moveTo>
                  <a:pt x="198" y="0"/>
                </a:moveTo>
                <a:lnTo>
                  <a:pt x="198" y="0"/>
                </a:lnTo>
                <a:lnTo>
                  <a:pt x="178" y="0"/>
                </a:lnTo>
                <a:lnTo>
                  <a:pt x="158" y="4"/>
                </a:lnTo>
                <a:lnTo>
                  <a:pt x="138" y="8"/>
                </a:lnTo>
                <a:lnTo>
                  <a:pt x="120" y="16"/>
                </a:lnTo>
                <a:lnTo>
                  <a:pt x="104" y="24"/>
                </a:lnTo>
                <a:lnTo>
                  <a:pt x="88" y="34"/>
                </a:lnTo>
                <a:lnTo>
                  <a:pt x="72" y="44"/>
                </a:lnTo>
                <a:lnTo>
                  <a:pt x="58" y="57"/>
                </a:lnTo>
                <a:lnTo>
                  <a:pt x="46" y="71"/>
                </a:lnTo>
                <a:lnTo>
                  <a:pt x="34" y="85"/>
                </a:lnTo>
                <a:lnTo>
                  <a:pt x="24" y="101"/>
                </a:lnTo>
                <a:lnTo>
                  <a:pt x="16" y="119"/>
                </a:lnTo>
                <a:lnTo>
                  <a:pt x="10" y="137"/>
                </a:lnTo>
                <a:lnTo>
                  <a:pt x="4" y="157"/>
                </a:lnTo>
                <a:lnTo>
                  <a:pt x="2" y="175"/>
                </a:lnTo>
                <a:lnTo>
                  <a:pt x="0" y="195"/>
                </a:lnTo>
                <a:lnTo>
                  <a:pt x="0" y="195"/>
                </a:lnTo>
                <a:lnTo>
                  <a:pt x="2" y="217"/>
                </a:lnTo>
                <a:lnTo>
                  <a:pt x="4" y="235"/>
                </a:lnTo>
                <a:lnTo>
                  <a:pt x="10" y="255"/>
                </a:lnTo>
                <a:lnTo>
                  <a:pt x="16" y="273"/>
                </a:lnTo>
                <a:lnTo>
                  <a:pt x="24" y="289"/>
                </a:lnTo>
                <a:lnTo>
                  <a:pt x="34" y="307"/>
                </a:lnTo>
                <a:lnTo>
                  <a:pt x="46" y="321"/>
                </a:lnTo>
                <a:lnTo>
                  <a:pt x="58" y="335"/>
                </a:lnTo>
                <a:lnTo>
                  <a:pt x="72" y="347"/>
                </a:lnTo>
                <a:lnTo>
                  <a:pt x="88" y="359"/>
                </a:lnTo>
                <a:lnTo>
                  <a:pt x="104" y="369"/>
                </a:lnTo>
                <a:lnTo>
                  <a:pt x="120" y="377"/>
                </a:lnTo>
                <a:lnTo>
                  <a:pt x="138" y="385"/>
                </a:lnTo>
                <a:lnTo>
                  <a:pt x="158" y="389"/>
                </a:lnTo>
                <a:lnTo>
                  <a:pt x="178" y="391"/>
                </a:lnTo>
                <a:lnTo>
                  <a:pt x="198" y="393"/>
                </a:lnTo>
                <a:lnTo>
                  <a:pt x="198" y="393"/>
                </a:lnTo>
                <a:lnTo>
                  <a:pt x="218" y="391"/>
                </a:lnTo>
                <a:lnTo>
                  <a:pt x="238" y="389"/>
                </a:lnTo>
                <a:lnTo>
                  <a:pt x="256" y="385"/>
                </a:lnTo>
                <a:lnTo>
                  <a:pt x="274" y="377"/>
                </a:lnTo>
                <a:lnTo>
                  <a:pt x="292" y="369"/>
                </a:lnTo>
                <a:lnTo>
                  <a:pt x="308" y="359"/>
                </a:lnTo>
                <a:lnTo>
                  <a:pt x="322" y="347"/>
                </a:lnTo>
                <a:lnTo>
                  <a:pt x="336" y="335"/>
                </a:lnTo>
                <a:lnTo>
                  <a:pt x="350" y="321"/>
                </a:lnTo>
                <a:lnTo>
                  <a:pt x="360" y="307"/>
                </a:lnTo>
                <a:lnTo>
                  <a:pt x="369" y="289"/>
                </a:lnTo>
                <a:lnTo>
                  <a:pt x="379" y="273"/>
                </a:lnTo>
                <a:lnTo>
                  <a:pt x="385" y="255"/>
                </a:lnTo>
                <a:lnTo>
                  <a:pt x="389" y="235"/>
                </a:lnTo>
                <a:lnTo>
                  <a:pt x="393" y="217"/>
                </a:lnTo>
                <a:lnTo>
                  <a:pt x="393" y="195"/>
                </a:lnTo>
                <a:lnTo>
                  <a:pt x="393" y="195"/>
                </a:lnTo>
                <a:lnTo>
                  <a:pt x="393" y="175"/>
                </a:lnTo>
                <a:lnTo>
                  <a:pt x="389" y="157"/>
                </a:lnTo>
                <a:lnTo>
                  <a:pt x="385" y="137"/>
                </a:lnTo>
                <a:lnTo>
                  <a:pt x="379" y="119"/>
                </a:lnTo>
                <a:lnTo>
                  <a:pt x="369" y="101"/>
                </a:lnTo>
                <a:lnTo>
                  <a:pt x="360" y="85"/>
                </a:lnTo>
                <a:lnTo>
                  <a:pt x="350" y="71"/>
                </a:lnTo>
                <a:lnTo>
                  <a:pt x="336" y="57"/>
                </a:lnTo>
                <a:lnTo>
                  <a:pt x="322" y="44"/>
                </a:lnTo>
                <a:lnTo>
                  <a:pt x="308" y="34"/>
                </a:lnTo>
                <a:lnTo>
                  <a:pt x="292" y="24"/>
                </a:lnTo>
                <a:lnTo>
                  <a:pt x="274" y="16"/>
                </a:lnTo>
                <a:lnTo>
                  <a:pt x="256" y="8"/>
                </a:lnTo>
                <a:lnTo>
                  <a:pt x="238" y="4"/>
                </a:lnTo>
                <a:lnTo>
                  <a:pt x="218" y="0"/>
                </a:lnTo>
                <a:lnTo>
                  <a:pt x="198" y="0"/>
                </a:lnTo>
                <a:lnTo>
                  <a:pt x="198" y="0"/>
                </a:lnTo>
                <a:close/>
                <a:moveTo>
                  <a:pt x="250" y="195"/>
                </a:moveTo>
                <a:lnTo>
                  <a:pt x="216" y="195"/>
                </a:lnTo>
                <a:lnTo>
                  <a:pt x="216" y="195"/>
                </a:lnTo>
                <a:lnTo>
                  <a:pt x="216" y="317"/>
                </a:lnTo>
                <a:lnTo>
                  <a:pt x="164" y="317"/>
                </a:lnTo>
                <a:lnTo>
                  <a:pt x="164" y="317"/>
                </a:lnTo>
                <a:lnTo>
                  <a:pt x="164" y="195"/>
                </a:lnTo>
                <a:lnTo>
                  <a:pt x="140" y="195"/>
                </a:lnTo>
                <a:lnTo>
                  <a:pt x="140" y="153"/>
                </a:lnTo>
                <a:lnTo>
                  <a:pt x="164" y="153"/>
                </a:lnTo>
                <a:lnTo>
                  <a:pt x="164" y="125"/>
                </a:lnTo>
                <a:lnTo>
                  <a:pt x="164" y="125"/>
                </a:lnTo>
                <a:lnTo>
                  <a:pt x="168" y="107"/>
                </a:lnTo>
                <a:lnTo>
                  <a:pt x="170" y="99"/>
                </a:lnTo>
                <a:lnTo>
                  <a:pt x="174" y="91"/>
                </a:lnTo>
                <a:lnTo>
                  <a:pt x="182" y="85"/>
                </a:lnTo>
                <a:lnTo>
                  <a:pt x="190" y="79"/>
                </a:lnTo>
                <a:lnTo>
                  <a:pt x="202" y="75"/>
                </a:lnTo>
                <a:lnTo>
                  <a:pt x="216" y="73"/>
                </a:lnTo>
                <a:lnTo>
                  <a:pt x="254" y="73"/>
                </a:lnTo>
                <a:lnTo>
                  <a:pt x="254" y="115"/>
                </a:lnTo>
                <a:lnTo>
                  <a:pt x="254" y="115"/>
                </a:lnTo>
                <a:lnTo>
                  <a:pt x="226" y="115"/>
                </a:lnTo>
                <a:lnTo>
                  <a:pt x="226" y="115"/>
                </a:lnTo>
                <a:lnTo>
                  <a:pt x="222" y="115"/>
                </a:lnTo>
                <a:lnTo>
                  <a:pt x="220" y="117"/>
                </a:lnTo>
                <a:lnTo>
                  <a:pt x="216" y="121"/>
                </a:lnTo>
                <a:lnTo>
                  <a:pt x="216" y="127"/>
                </a:lnTo>
                <a:lnTo>
                  <a:pt x="216" y="153"/>
                </a:lnTo>
                <a:lnTo>
                  <a:pt x="254" y="153"/>
                </a:lnTo>
                <a:lnTo>
                  <a:pt x="250" y="195"/>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a:endParaRPr lang="en-US" sz="5000"/>
          </a:p>
        </p:txBody>
      </p:sp>
      <p:sp>
        <p:nvSpPr>
          <p:cNvPr id="38" name="Freeform 185">
            <a:extLst>
              <a:ext uri="{FF2B5EF4-FFF2-40B4-BE49-F238E27FC236}">
                <a16:creationId xmlns:a16="http://schemas.microsoft.com/office/drawing/2014/main" id="{54493175-BA10-4282-A81F-1922FD49A166}"/>
              </a:ext>
            </a:extLst>
          </p:cNvPr>
          <p:cNvSpPr>
            <a:spLocks noEditPoints="1"/>
          </p:cNvSpPr>
          <p:nvPr/>
        </p:nvSpPr>
        <p:spPr bwMode="auto">
          <a:xfrm>
            <a:off x="6527572" y="2203657"/>
            <a:ext cx="391952" cy="391955"/>
          </a:xfrm>
          <a:custGeom>
            <a:gdLst>
              <a:gd fmla="*/ 177 w 393" name="T0"/>
              <a:gd fmla="*/ 0 h 393" name="T1"/>
              <a:gd fmla="*/ 119 w 393" name="T2"/>
              <a:gd fmla="*/ 16 h 393" name="T3"/>
              <a:gd fmla="*/ 72 w 393" name="T4"/>
              <a:gd fmla="*/ 44 h 393" name="T5"/>
              <a:gd fmla="*/ 34 w 393" name="T6"/>
              <a:gd fmla="*/ 85 h 393" name="T7"/>
              <a:gd fmla="*/ 10 w 393" name="T8"/>
              <a:gd fmla="*/ 137 h 393" name="T9"/>
              <a:gd fmla="*/ 0 w 393" name="T10"/>
              <a:gd fmla="*/ 195 h 393" name="T11"/>
              <a:gd fmla="*/ 4 w 393" name="T12"/>
              <a:gd fmla="*/ 235 h 393" name="T13"/>
              <a:gd fmla="*/ 24 w 393" name="T14"/>
              <a:gd fmla="*/ 289 h 393" name="T15"/>
              <a:gd fmla="*/ 58 w 393" name="T16"/>
              <a:gd fmla="*/ 335 h 393" name="T17"/>
              <a:gd fmla="*/ 103 w 393" name="T18"/>
              <a:gd fmla="*/ 369 h 393" name="T19"/>
              <a:gd fmla="*/ 157 w 393" name="T20"/>
              <a:gd fmla="*/ 389 h 393" name="T21"/>
              <a:gd fmla="*/ 197 w 393" name="T22"/>
              <a:gd fmla="*/ 393 h 393" name="T23"/>
              <a:gd fmla="*/ 255 w 393" name="T24"/>
              <a:gd fmla="*/ 385 h 393" name="T25"/>
              <a:gd fmla="*/ 307 w 393" name="T26"/>
              <a:gd fmla="*/ 359 h 393" name="T27"/>
              <a:gd fmla="*/ 349 w 393" name="T28"/>
              <a:gd fmla="*/ 321 h 393" name="T29"/>
              <a:gd fmla="*/ 379 w 393" name="T30"/>
              <a:gd fmla="*/ 273 h 393" name="T31"/>
              <a:gd fmla="*/ 393 w 393" name="T32"/>
              <a:gd fmla="*/ 217 h 393" name="T33"/>
              <a:gd fmla="*/ 393 w 393" name="T34"/>
              <a:gd fmla="*/ 175 h 393" name="T35"/>
              <a:gd fmla="*/ 379 w 393" name="T36"/>
              <a:gd fmla="*/ 119 h 393" name="T37"/>
              <a:gd fmla="*/ 349 w 393" name="T38"/>
              <a:gd fmla="*/ 71 h 393" name="T39"/>
              <a:gd fmla="*/ 307 w 393" name="T40"/>
              <a:gd fmla="*/ 34 h 393" name="T41"/>
              <a:gd fmla="*/ 255 w 393" name="T42"/>
              <a:gd fmla="*/ 8 h 393" name="T43"/>
              <a:gd fmla="*/ 197 w 393" name="T44"/>
              <a:gd fmla="*/ 0 h 393" name="T45"/>
              <a:gd fmla="*/ 295 w 393" name="T46"/>
              <a:gd fmla="*/ 157 h 393" name="T47"/>
              <a:gd fmla="*/ 293 w 393" name="T48"/>
              <a:gd fmla="*/ 187 h 393" name="T49"/>
              <a:gd fmla="*/ 269 w 393" name="T50"/>
              <a:gd fmla="*/ 247 h 393" name="T51"/>
              <a:gd fmla="*/ 239 w 393" name="T52"/>
              <a:gd fmla="*/ 277 h 393" name="T53"/>
              <a:gd fmla="*/ 201 w 393" name="T54"/>
              <a:gd fmla="*/ 297 h 393" name="T55"/>
              <a:gd fmla="*/ 155 w 393" name="T56"/>
              <a:gd fmla="*/ 303 h 393" name="T57"/>
              <a:gd fmla="*/ 115 w 393" name="T58"/>
              <a:gd fmla="*/ 297 h 393" name="T59"/>
              <a:gd fmla="*/ 80 w 393" name="T60"/>
              <a:gd fmla="*/ 281 h 393" name="T61"/>
              <a:gd fmla="*/ 107 w 393" name="T62"/>
              <a:gd fmla="*/ 281 h 393" name="T63"/>
              <a:gd fmla="*/ 153 w 393" name="T64"/>
              <a:gd fmla="*/ 261 h 393" name="T65"/>
              <a:gd fmla="*/ 137 w 393" name="T66"/>
              <a:gd fmla="*/ 259 h 393" name="T67"/>
              <a:gd fmla="*/ 109 w 393" name="T68"/>
              <a:gd fmla="*/ 233 h 393" name="T69"/>
              <a:gd fmla="*/ 115 w 393" name="T70"/>
              <a:gd fmla="*/ 227 h 393" name="T71"/>
              <a:gd fmla="*/ 129 w 393" name="T72"/>
              <a:gd fmla="*/ 225 h 393" name="T73"/>
              <a:gd fmla="*/ 105 w 393" name="T74"/>
              <a:gd fmla="*/ 215 h 393" name="T75"/>
              <a:gd fmla="*/ 92 w 393" name="T76"/>
              <a:gd fmla="*/ 195 h 393" name="T77"/>
              <a:gd fmla="*/ 90 w 393" name="T78"/>
              <a:gd fmla="*/ 177 h 393" name="T79"/>
              <a:gd fmla="*/ 99 w 393" name="T80"/>
              <a:gd fmla="*/ 181 h 393" name="T81"/>
              <a:gd fmla="*/ 101 w 393" name="T82"/>
              <a:gd fmla="*/ 175 h 393" name="T83"/>
              <a:gd fmla="*/ 90 w 393" name="T84"/>
              <a:gd fmla="*/ 141 h 393" name="T85"/>
              <a:gd fmla="*/ 95 w 393" name="T86"/>
              <a:gd fmla="*/ 117 h 393" name="T87"/>
              <a:gd fmla="*/ 115 w 393" name="T88"/>
              <a:gd fmla="*/ 137 h 393" name="T89"/>
              <a:gd fmla="*/ 153 w 393" name="T90"/>
              <a:gd fmla="*/ 159 h 393" name="T91"/>
              <a:gd fmla="*/ 197 w 393" name="T92"/>
              <a:gd fmla="*/ 169 h 393" name="T93"/>
              <a:gd fmla="*/ 197 w 393" name="T94"/>
              <a:gd fmla="*/ 157 h 393" name="T95"/>
              <a:gd fmla="*/ 205 w 393" name="T96"/>
              <a:gd fmla="*/ 129 h 393" name="T97"/>
              <a:gd fmla="*/ 227 w 393" name="T98"/>
              <a:gd fmla="*/ 111 h 393" name="T99"/>
              <a:gd fmla="*/ 247 w 393" name="T100"/>
              <a:gd fmla="*/ 107 h 393" name="T101"/>
              <a:gd fmla="*/ 275 w 393" name="T102"/>
              <a:gd fmla="*/ 117 h 393" name="T103"/>
              <a:gd fmla="*/ 299 w 393" name="T104"/>
              <a:gd fmla="*/ 119 h 393" name="T105"/>
              <a:gd fmla="*/ 311 w 393" name="T106"/>
              <a:gd fmla="*/ 119 h 393" name="T107"/>
              <a:gd fmla="*/ 293 w 393" name="T108"/>
              <a:gd fmla="*/ 139 h 393" name="T109"/>
              <a:gd fmla="*/ 321 w 393" name="T110"/>
              <a:gd fmla="*/ 131 h 393" name="T111"/>
              <a:gd fmla="*/ 295 w 393" name="T112"/>
              <a:gd fmla="*/ 157 h 393" name="T11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b="b" l="0" r="r" t="0"/>
            <a:pathLst>
              <a:path h="393" w="393">
                <a:moveTo>
                  <a:pt x="197" y="0"/>
                </a:moveTo>
                <a:lnTo>
                  <a:pt x="197" y="0"/>
                </a:lnTo>
                <a:lnTo>
                  <a:pt x="177" y="0"/>
                </a:lnTo>
                <a:lnTo>
                  <a:pt x="157" y="4"/>
                </a:lnTo>
                <a:lnTo>
                  <a:pt x="139" y="8"/>
                </a:lnTo>
                <a:lnTo>
                  <a:pt x="119" y="16"/>
                </a:lnTo>
                <a:lnTo>
                  <a:pt x="103" y="24"/>
                </a:lnTo>
                <a:lnTo>
                  <a:pt x="88" y="34"/>
                </a:lnTo>
                <a:lnTo>
                  <a:pt x="72" y="44"/>
                </a:lnTo>
                <a:lnTo>
                  <a:pt x="58" y="57"/>
                </a:lnTo>
                <a:lnTo>
                  <a:pt x="46" y="71"/>
                </a:lnTo>
                <a:lnTo>
                  <a:pt x="34" y="85"/>
                </a:lnTo>
                <a:lnTo>
                  <a:pt x="24" y="101"/>
                </a:lnTo>
                <a:lnTo>
                  <a:pt x="16" y="119"/>
                </a:lnTo>
                <a:lnTo>
                  <a:pt x="10" y="137"/>
                </a:lnTo>
                <a:lnTo>
                  <a:pt x="4" y="157"/>
                </a:lnTo>
                <a:lnTo>
                  <a:pt x="2" y="175"/>
                </a:lnTo>
                <a:lnTo>
                  <a:pt x="0" y="195"/>
                </a:lnTo>
                <a:lnTo>
                  <a:pt x="0" y="195"/>
                </a:lnTo>
                <a:lnTo>
                  <a:pt x="2" y="217"/>
                </a:lnTo>
                <a:lnTo>
                  <a:pt x="4" y="235"/>
                </a:lnTo>
                <a:lnTo>
                  <a:pt x="10" y="255"/>
                </a:lnTo>
                <a:lnTo>
                  <a:pt x="16" y="273"/>
                </a:lnTo>
                <a:lnTo>
                  <a:pt x="24" y="289"/>
                </a:lnTo>
                <a:lnTo>
                  <a:pt x="34" y="307"/>
                </a:lnTo>
                <a:lnTo>
                  <a:pt x="46" y="321"/>
                </a:lnTo>
                <a:lnTo>
                  <a:pt x="58" y="335"/>
                </a:lnTo>
                <a:lnTo>
                  <a:pt x="72" y="347"/>
                </a:lnTo>
                <a:lnTo>
                  <a:pt x="88" y="359"/>
                </a:lnTo>
                <a:lnTo>
                  <a:pt x="103" y="369"/>
                </a:lnTo>
                <a:lnTo>
                  <a:pt x="119" y="377"/>
                </a:lnTo>
                <a:lnTo>
                  <a:pt x="139" y="385"/>
                </a:lnTo>
                <a:lnTo>
                  <a:pt x="157" y="389"/>
                </a:lnTo>
                <a:lnTo>
                  <a:pt x="177" y="391"/>
                </a:lnTo>
                <a:lnTo>
                  <a:pt x="197" y="393"/>
                </a:lnTo>
                <a:lnTo>
                  <a:pt x="197" y="393"/>
                </a:lnTo>
                <a:lnTo>
                  <a:pt x="217" y="391"/>
                </a:lnTo>
                <a:lnTo>
                  <a:pt x="237" y="389"/>
                </a:lnTo>
                <a:lnTo>
                  <a:pt x="255" y="385"/>
                </a:lnTo>
                <a:lnTo>
                  <a:pt x="273" y="377"/>
                </a:lnTo>
                <a:lnTo>
                  <a:pt x="291" y="369"/>
                </a:lnTo>
                <a:lnTo>
                  <a:pt x="307" y="359"/>
                </a:lnTo>
                <a:lnTo>
                  <a:pt x="321" y="347"/>
                </a:lnTo>
                <a:lnTo>
                  <a:pt x="335" y="335"/>
                </a:lnTo>
                <a:lnTo>
                  <a:pt x="349" y="321"/>
                </a:lnTo>
                <a:lnTo>
                  <a:pt x="359" y="307"/>
                </a:lnTo>
                <a:lnTo>
                  <a:pt x="369" y="289"/>
                </a:lnTo>
                <a:lnTo>
                  <a:pt x="379" y="273"/>
                </a:lnTo>
                <a:lnTo>
                  <a:pt x="385" y="255"/>
                </a:lnTo>
                <a:lnTo>
                  <a:pt x="389" y="235"/>
                </a:lnTo>
                <a:lnTo>
                  <a:pt x="393" y="217"/>
                </a:lnTo>
                <a:lnTo>
                  <a:pt x="393" y="195"/>
                </a:lnTo>
                <a:lnTo>
                  <a:pt x="393" y="195"/>
                </a:lnTo>
                <a:lnTo>
                  <a:pt x="393" y="175"/>
                </a:lnTo>
                <a:lnTo>
                  <a:pt x="389" y="157"/>
                </a:lnTo>
                <a:lnTo>
                  <a:pt x="385" y="137"/>
                </a:lnTo>
                <a:lnTo>
                  <a:pt x="379" y="119"/>
                </a:lnTo>
                <a:lnTo>
                  <a:pt x="369" y="101"/>
                </a:lnTo>
                <a:lnTo>
                  <a:pt x="359" y="85"/>
                </a:lnTo>
                <a:lnTo>
                  <a:pt x="349" y="71"/>
                </a:lnTo>
                <a:lnTo>
                  <a:pt x="335" y="57"/>
                </a:lnTo>
                <a:lnTo>
                  <a:pt x="321" y="44"/>
                </a:lnTo>
                <a:lnTo>
                  <a:pt x="307" y="34"/>
                </a:lnTo>
                <a:lnTo>
                  <a:pt x="291" y="24"/>
                </a:lnTo>
                <a:lnTo>
                  <a:pt x="273" y="16"/>
                </a:lnTo>
                <a:lnTo>
                  <a:pt x="255" y="8"/>
                </a:lnTo>
                <a:lnTo>
                  <a:pt x="237" y="4"/>
                </a:lnTo>
                <a:lnTo>
                  <a:pt x="217" y="0"/>
                </a:lnTo>
                <a:lnTo>
                  <a:pt x="197" y="0"/>
                </a:lnTo>
                <a:lnTo>
                  <a:pt x="197" y="0"/>
                </a:lnTo>
                <a:close/>
                <a:moveTo>
                  <a:pt x="295" y="157"/>
                </a:moveTo>
                <a:lnTo>
                  <a:pt x="295" y="157"/>
                </a:lnTo>
                <a:lnTo>
                  <a:pt x="295" y="163"/>
                </a:lnTo>
                <a:lnTo>
                  <a:pt x="295" y="163"/>
                </a:lnTo>
                <a:lnTo>
                  <a:pt x="293" y="187"/>
                </a:lnTo>
                <a:lnTo>
                  <a:pt x="287" y="213"/>
                </a:lnTo>
                <a:lnTo>
                  <a:pt x="275" y="237"/>
                </a:lnTo>
                <a:lnTo>
                  <a:pt x="269" y="247"/>
                </a:lnTo>
                <a:lnTo>
                  <a:pt x="259" y="257"/>
                </a:lnTo>
                <a:lnTo>
                  <a:pt x="251" y="267"/>
                </a:lnTo>
                <a:lnTo>
                  <a:pt x="239" y="277"/>
                </a:lnTo>
                <a:lnTo>
                  <a:pt x="227" y="285"/>
                </a:lnTo>
                <a:lnTo>
                  <a:pt x="215" y="291"/>
                </a:lnTo>
                <a:lnTo>
                  <a:pt x="201" y="297"/>
                </a:lnTo>
                <a:lnTo>
                  <a:pt x="187" y="301"/>
                </a:lnTo>
                <a:lnTo>
                  <a:pt x="171" y="303"/>
                </a:lnTo>
                <a:lnTo>
                  <a:pt x="155" y="303"/>
                </a:lnTo>
                <a:lnTo>
                  <a:pt x="155" y="303"/>
                </a:lnTo>
                <a:lnTo>
                  <a:pt x="135" y="303"/>
                </a:lnTo>
                <a:lnTo>
                  <a:pt x="115" y="297"/>
                </a:lnTo>
                <a:lnTo>
                  <a:pt x="95" y="291"/>
                </a:lnTo>
                <a:lnTo>
                  <a:pt x="80" y="281"/>
                </a:lnTo>
                <a:lnTo>
                  <a:pt x="80" y="281"/>
                </a:lnTo>
                <a:lnTo>
                  <a:pt x="92" y="283"/>
                </a:lnTo>
                <a:lnTo>
                  <a:pt x="92" y="283"/>
                </a:lnTo>
                <a:lnTo>
                  <a:pt x="107" y="281"/>
                </a:lnTo>
                <a:lnTo>
                  <a:pt x="123" y="277"/>
                </a:lnTo>
                <a:lnTo>
                  <a:pt x="139" y="269"/>
                </a:lnTo>
                <a:lnTo>
                  <a:pt x="153" y="261"/>
                </a:lnTo>
                <a:lnTo>
                  <a:pt x="153" y="261"/>
                </a:lnTo>
                <a:lnTo>
                  <a:pt x="145" y="261"/>
                </a:lnTo>
                <a:lnTo>
                  <a:pt x="137" y="259"/>
                </a:lnTo>
                <a:lnTo>
                  <a:pt x="123" y="251"/>
                </a:lnTo>
                <a:lnTo>
                  <a:pt x="113" y="241"/>
                </a:lnTo>
                <a:lnTo>
                  <a:pt x="109" y="233"/>
                </a:lnTo>
                <a:lnTo>
                  <a:pt x="105" y="227"/>
                </a:lnTo>
                <a:lnTo>
                  <a:pt x="105" y="227"/>
                </a:lnTo>
                <a:lnTo>
                  <a:pt x="115" y="227"/>
                </a:lnTo>
                <a:lnTo>
                  <a:pt x="115" y="227"/>
                </a:lnTo>
                <a:lnTo>
                  <a:pt x="129" y="225"/>
                </a:lnTo>
                <a:lnTo>
                  <a:pt x="129" y="225"/>
                </a:lnTo>
                <a:lnTo>
                  <a:pt x="119" y="223"/>
                </a:lnTo>
                <a:lnTo>
                  <a:pt x="113" y="219"/>
                </a:lnTo>
                <a:lnTo>
                  <a:pt x="105" y="215"/>
                </a:lnTo>
                <a:lnTo>
                  <a:pt x="99" y="209"/>
                </a:lnTo>
                <a:lnTo>
                  <a:pt x="95" y="201"/>
                </a:lnTo>
                <a:lnTo>
                  <a:pt x="92" y="195"/>
                </a:lnTo>
                <a:lnTo>
                  <a:pt x="90" y="185"/>
                </a:lnTo>
                <a:lnTo>
                  <a:pt x="90" y="177"/>
                </a:lnTo>
                <a:lnTo>
                  <a:pt x="90" y="177"/>
                </a:lnTo>
                <a:lnTo>
                  <a:pt x="90" y="177"/>
                </a:lnTo>
                <a:lnTo>
                  <a:pt x="90" y="177"/>
                </a:lnTo>
                <a:lnTo>
                  <a:pt x="99" y="181"/>
                </a:lnTo>
                <a:lnTo>
                  <a:pt x="111" y="183"/>
                </a:lnTo>
                <a:lnTo>
                  <a:pt x="111" y="183"/>
                </a:lnTo>
                <a:lnTo>
                  <a:pt x="101" y="175"/>
                </a:lnTo>
                <a:lnTo>
                  <a:pt x="95" y="165"/>
                </a:lnTo>
                <a:lnTo>
                  <a:pt x="92" y="153"/>
                </a:lnTo>
                <a:lnTo>
                  <a:pt x="90" y="141"/>
                </a:lnTo>
                <a:lnTo>
                  <a:pt x="90" y="141"/>
                </a:lnTo>
                <a:lnTo>
                  <a:pt x="92" y="129"/>
                </a:lnTo>
                <a:lnTo>
                  <a:pt x="95" y="117"/>
                </a:lnTo>
                <a:lnTo>
                  <a:pt x="95" y="117"/>
                </a:lnTo>
                <a:lnTo>
                  <a:pt x="105" y="127"/>
                </a:lnTo>
                <a:lnTo>
                  <a:pt x="115" y="137"/>
                </a:lnTo>
                <a:lnTo>
                  <a:pt x="127" y="145"/>
                </a:lnTo>
                <a:lnTo>
                  <a:pt x="141" y="153"/>
                </a:lnTo>
                <a:lnTo>
                  <a:pt x="153" y="159"/>
                </a:lnTo>
                <a:lnTo>
                  <a:pt x="167" y="163"/>
                </a:lnTo>
                <a:lnTo>
                  <a:pt x="183" y="167"/>
                </a:lnTo>
                <a:lnTo>
                  <a:pt x="197" y="169"/>
                </a:lnTo>
                <a:lnTo>
                  <a:pt x="197" y="169"/>
                </a:lnTo>
                <a:lnTo>
                  <a:pt x="197" y="157"/>
                </a:lnTo>
                <a:lnTo>
                  <a:pt x="197" y="157"/>
                </a:lnTo>
                <a:lnTo>
                  <a:pt x="197" y="147"/>
                </a:lnTo>
                <a:lnTo>
                  <a:pt x="201" y="137"/>
                </a:lnTo>
                <a:lnTo>
                  <a:pt x="205" y="129"/>
                </a:lnTo>
                <a:lnTo>
                  <a:pt x="211" y="121"/>
                </a:lnTo>
                <a:lnTo>
                  <a:pt x="219" y="115"/>
                </a:lnTo>
                <a:lnTo>
                  <a:pt x="227" y="111"/>
                </a:lnTo>
                <a:lnTo>
                  <a:pt x="237" y="109"/>
                </a:lnTo>
                <a:lnTo>
                  <a:pt x="247" y="107"/>
                </a:lnTo>
                <a:lnTo>
                  <a:pt x="247" y="107"/>
                </a:lnTo>
                <a:lnTo>
                  <a:pt x="257" y="109"/>
                </a:lnTo>
                <a:lnTo>
                  <a:pt x="267" y="111"/>
                </a:lnTo>
                <a:lnTo>
                  <a:pt x="275" y="117"/>
                </a:lnTo>
                <a:lnTo>
                  <a:pt x="283" y="123"/>
                </a:lnTo>
                <a:lnTo>
                  <a:pt x="283" y="123"/>
                </a:lnTo>
                <a:lnTo>
                  <a:pt x="299" y="119"/>
                </a:lnTo>
                <a:lnTo>
                  <a:pt x="313" y="111"/>
                </a:lnTo>
                <a:lnTo>
                  <a:pt x="313" y="111"/>
                </a:lnTo>
                <a:lnTo>
                  <a:pt x="311" y="119"/>
                </a:lnTo>
                <a:lnTo>
                  <a:pt x="305" y="127"/>
                </a:lnTo>
                <a:lnTo>
                  <a:pt x="299" y="133"/>
                </a:lnTo>
                <a:lnTo>
                  <a:pt x="293" y="139"/>
                </a:lnTo>
                <a:lnTo>
                  <a:pt x="293" y="139"/>
                </a:lnTo>
                <a:lnTo>
                  <a:pt x="307" y="135"/>
                </a:lnTo>
                <a:lnTo>
                  <a:pt x="321" y="131"/>
                </a:lnTo>
                <a:lnTo>
                  <a:pt x="321" y="131"/>
                </a:lnTo>
                <a:lnTo>
                  <a:pt x="309" y="145"/>
                </a:lnTo>
                <a:lnTo>
                  <a:pt x="295" y="157"/>
                </a:lnTo>
                <a:lnTo>
                  <a:pt x="295" y="157"/>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a:endParaRPr lang="en-US" sz="5000"/>
          </a:p>
        </p:txBody>
      </p:sp>
      <p:grpSp>
        <p:nvGrpSpPr>
          <p:cNvPr id="39" name="Group 193">
            <a:extLst>
              <a:ext uri="{FF2B5EF4-FFF2-40B4-BE49-F238E27FC236}">
                <a16:creationId xmlns:a16="http://schemas.microsoft.com/office/drawing/2014/main" id="{B1F515DE-3018-4BCE-94DD-D071EAC6195E}"/>
              </a:ext>
            </a:extLst>
          </p:cNvPr>
          <p:cNvGrpSpPr/>
          <p:nvPr/>
        </p:nvGrpSpPr>
        <p:grpSpPr>
          <a:xfrm>
            <a:off x="6527572" y="3916687"/>
            <a:ext cx="391952" cy="389964"/>
            <a:chOff x="5682043" y="4553457"/>
            <a:chExt cx="287906" cy="286445"/>
          </a:xfrm>
          <a:solidFill>
            <a:schemeClr val="bg1">
              <a:lumMod val="50000"/>
            </a:schemeClr>
          </a:solidFill>
        </p:grpSpPr>
        <p:sp>
          <p:nvSpPr>
            <p:cNvPr id="40" name="Freeform 155">
              <a:extLst>
                <a:ext uri="{FF2B5EF4-FFF2-40B4-BE49-F238E27FC236}">
                  <a16:creationId xmlns:a16="http://schemas.microsoft.com/office/drawing/2014/main" id="{C1E4C703-4809-48B5-881D-48AA41A9DE27}"/>
                </a:ext>
              </a:extLst>
            </p:cNvPr>
            <p:cNvSpPr/>
            <p:nvPr/>
          </p:nvSpPr>
          <p:spPr bwMode="auto">
            <a:xfrm>
              <a:off x="5858880" y="4638221"/>
              <a:ext cx="26306" cy="27768"/>
            </a:xfrm>
            <a:custGeom>
              <a:gdLst>
                <a:gd fmla="*/ 36 w 36" name="T0"/>
                <a:gd fmla="*/ 36 h 38" name="T1"/>
                <a:gd fmla="*/ 36 w 36" name="T2"/>
                <a:gd fmla="*/ 6 h 38" name="T3"/>
                <a:gd fmla="*/ 36 w 36" name="T4"/>
                <a:gd fmla="*/ 0 h 38" name="T5"/>
                <a:gd fmla="*/ 30 w 36" name="T6"/>
                <a:gd fmla="*/ 0 h 38" name="T7"/>
                <a:gd fmla="*/ 0 w 36" name="T8"/>
                <a:gd fmla="*/ 0 h 38" name="T9"/>
                <a:gd fmla="*/ 0 w 36" name="T10"/>
                <a:gd fmla="*/ 38 h 38" name="T11"/>
                <a:gd fmla="*/ 36 w 36" name="T12"/>
                <a:gd fmla="*/ 36 h 38" name="T13"/>
              </a:gdLst>
              <a:cxnLst>
                <a:cxn ang="0">
                  <a:pos x="T0" y="T1"/>
                </a:cxn>
                <a:cxn ang="0">
                  <a:pos x="T2" y="T3"/>
                </a:cxn>
                <a:cxn ang="0">
                  <a:pos x="T4" y="T5"/>
                </a:cxn>
                <a:cxn ang="0">
                  <a:pos x="T6" y="T7"/>
                </a:cxn>
                <a:cxn ang="0">
                  <a:pos x="T8" y="T9"/>
                </a:cxn>
                <a:cxn ang="0">
                  <a:pos x="T10" y="T11"/>
                </a:cxn>
                <a:cxn ang="0">
                  <a:pos x="T12" y="T13"/>
                </a:cxn>
              </a:cxnLst>
              <a:rect b="b" l="0" r="r" t="0"/>
              <a:pathLst>
                <a:path h="38" w="36">
                  <a:moveTo>
                    <a:pt x="36" y="36"/>
                  </a:moveTo>
                  <a:lnTo>
                    <a:pt x="36" y="6"/>
                  </a:lnTo>
                  <a:lnTo>
                    <a:pt x="36" y="0"/>
                  </a:lnTo>
                  <a:lnTo>
                    <a:pt x="30" y="0"/>
                  </a:lnTo>
                  <a:lnTo>
                    <a:pt x="0" y="0"/>
                  </a:lnTo>
                  <a:lnTo>
                    <a:pt x="0" y="38"/>
                  </a:lnTo>
                  <a:lnTo>
                    <a:pt x="36" y="3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a:endParaRPr lang="en-US" sz="5000"/>
            </a:p>
          </p:txBody>
        </p:sp>
        <p:sp>
          <p:nvSpPr>
            <p:cNvPr id="41" name="Freeform 156">
              <a:extLst>
                <a:ext uri="{FF2B5EF4-FFF2-40B4-BE49-F238E27FC236}">
                  <a16:creationId xmlns:a16="http://schemas.microsoft.com/office/drawing/2014/main" id="{8F7FCC80-56E4-453D-92B4-9DAF37013575}"/>
                </a:ext>
              </a:extLst>
            </p:cNvPr>
            <p:cNvSpPr/>
            <p:nvPr/>
          </p:nvSpPr>
          <p:spPr bwMode="auto">
            <a:xfrm>
              <a:off x="5797498" y="4671835"/>
              <a:ext cx="55535" cy="54074"/>
            </a:xfrm>
            <a:custGeom>
              <a:gdLst>
                <a:gd fmla="*/ 38 w 76" name="T0"/>
                <a:gd fmla="*/ 74 h 74" name="T1"/>
                <a:gd fmla="*/ 38 w 76" name="T2"/>
                <a:gd fmla="*/ 74 h 74" name="T3"/>
                <a:gd fmla="*/ 44 w 76" name="T4"/>
                <a:gd fmla="*/ 74 h 74" name="T5"/>
                <a:gd fmla="*/ 52 w 76" name="T6"/>
                <a:gd fmla="*/ 72 h 74" name="T7"/>
                <a:gd fmla="*/ 58 w 76" name="T8"/>
                <a:gd fmla="*/ 68 h 74" name="T9"/>
                <a:gd fmla="*/ 64 w 76" name="T10"/>
                <a:gd fmla="*/ 64 h 74" name="T11"/>
                <a:gd fmla="*/ 68 w 76" name="T12"/>
                <a:gd fmla="*/ 58 h 74" name="T13"/>
                <a:gd fmla="*/ 72 w 76" name="T14"/>
                <a:gd fmla="*/ 52 h 74" name="T15"/>
                <a:gd fmla="*/ 74 w 76" name="T16"/>
                <a:gd fmla="*/ 44 h 74" name="T17"/>
                <a:gd fmla="*/ 76 w 76" name="T18"/>
                <a:gd fmla="*/ 38 h 74" name="T19"/>
                <a:gd fmla="*/ 76 w 76" name="T20"/>
                <a:gd fmla="*/ 38 h 74" name="T21"/>
                <a:gd fmla="*/ 74 w 76" name="T22"/>
                <a:gd fmla="*/ 26 h 74" name="T23"/>
                <a:gd fmla="*/ 68 w 76" name="T24"/>
                <a:gd fmla="*/ 16 h 74" name="T25"/>
                <a:gd fmla="*/ 68 w 76" name="T26"/>
                <a:gd fmla="*/ 16 h 74" name="T27"/>
                <a:gd fmla="*/ 62 w 76" name="T28"/>
                <a:gd fmla="*/ 8 h 74" name="T29"/>
                <a:gd fmla="*/ 54 w 76" name="T30"/>
                <a:gd fmla="*/ 4 h 74" name="T31"/>
                <a:gd fmla="*/ 46 w 76" name="T32"/>
                <a:gd fmla="*/ 0 h 74" name="T33"/>
                <a:gd fmla="*/ 38 w 76" name="T34"/>
                <a:gd fmla="*/ 0 h 74" name="T35"/>
                <a:gd fmla="*/ 38 w 76" name="T36"/>
                <a:gd fmla="*/ 0 h 74" name="T37"/>
                <a:gd fmla="*/ 28 w 76" name="T38"/>
                <a:gd fmla="*/ 0 h 74" name="T39"/>
                <a:gd fmla="*/ 20 w 76" name="T40"/>
                <a:gd fmla="*/ 4 h 74" name="T41"/>
                <a:gd fmla="*/ 12 w 76" name="T42"/>
                <a:gd fmla="*/ 8 h 74" name="T43"/>
                <a:gd fmla="*/ 6 w 76" name="T44"/>
                <a:gd fmla="*/ 16 h 74" name="T45"/>
                <a:gd fmla="*/ 6 w 76" name="T46"/>
                <a:gd fmla="*/ 16 h 74" name="T47"/>
                <a:gd fmla="*/ 2 w 76" name="T48"/>
                <a:gd fmla="*/ 26 h 74" name="T49"/>
                <a:gd fmla="*/ 0 w 76" name="T50"/>
                <a:gd fmla="*/ 38 h 74" name="T51"/>
                <a:gd fmla="*/ 0 w 76" name="T52"/>
                <a:gd fmla="*/ 38 h 74" name="T53"/>
                <a:gd fmla="*/ 0 w 76" name="T54"/>
                <a:gd fmla="*/ 44 h 74" name="T55"/>
                <a:gd fmla="*/ 2 w 76" name="T56"/>
                <a:gd fmla="*/ 52 h 74" name="T57"/>
                <a:gd fmla="*/ 6 w 76" name="T58"/>
                <a:gd fmla="*/ 58 h 74" name="T59"/>
                <a:gd fmla="*/ 10 w 76" name="T60"/>
                <a:gd fmla="*/ 64 h 74" name="T61"/>
                <a:gd fmla="*/ 16 w 76" name="T62"/>
                <a:gd fmla="*/ 68 h 74" name="T63"/>
                <a:gd fmla="*/ 22 w 76" name="T64"/>
                <a:gd fmla="*/ 72 h 74" name="T65"/>
                <a:gd fmla="*/ 30 w 76" name="T66"/>
                <a:gd fmla="*/ 74 h 74" name="T67"/>
                <a:gd fmla="*/ 38 w 76" name="T68"/>
                <a:gd fmla="*/ 74 h 74" name="T69"/>
                <a:gd fmla="*/ 38 w 76" name="T70"/>
                <a:gd fmla="*/ 74 h 74" name="T7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b="b" l="0" r="r" t="0"/>
              <a:pathLst>
                <a:path h="74" w="76">
                  <a:moveTo>
                    <a:pt x="38" y="74"/>
                  </a:moveTo>
                  <a:lnTo>
                    <a:pt x="38" y="74"/>
                  </a:lnTo>
                  <a:lnTo>
                    <a:pt x="44" y="74"/>
                  </a:lnTo>
                  <a:lnTo>
                    <a:pt x="52" y="72"/>
                  </a:lnTo>
                  <a:lnTo>
                    <a:pt x="58" y="68"/>
                  </a:lnTo>
                  <a:lnTo>
                    <a:pt x="64" y="64"/>
                  </a:lnTo>
                  <a:lnTo>
                    <a:pt x="68" y="58"/>
                  </a:lnTo>
                  <a:lnTo>
                    <a:pt x="72" y="52"/>
                  </a:lnTo>
                  <a:lnTo>
                    <a:pt x="74" y="44"/>
                  </a:lnTo>
                  <a:lnTo>
                    <a:pt x="76" y="38"/>
                  </a:lnTo>
                  <a:lnTo>
                    <a:pt x="76" y="38"/>
                  </a:lnTo>
                  <a:lnTo>
                    <a:pt x="74" y="26"/>
                  </a:lnTo>
                  <a:lnTo>
                    <a:pt x="68" y="16"/>
                  </a:lnTo>
                  <a:lnTo>
                    <a:pt x="68" y="16"/>
                  </a:lnTo>
                  <a:lnTo>
                    <a:pt x="62" y="8"/>
                  </a:lnTo>
                  <a:lnTo>
                    <a:pt x="54" y="4"/>
                  </a:lnTo>
                  <a:lnTo>
                    <a:pt x="46" y="0"/>
                  </a:lnTo>
                  <a:lnTo>
                    <a:pt x="38" y="0"/>
                  </a:lnTo>
                  <a:lnTo>
                    <a:pt x="38" y="0"/>
                  </a:lnTo>
                  <a:lnTo>
                    <a:pt x="28" y="0"/>
                  </a:lnTo>
                  <a:lnTo>
                    <a:pt x="20" y="4"/>
                  </a:lnTo>
                  <a:lnTo>
                    <a:pt x="12" y="8"/>
                  </a:lnTo>
                  <a:lnTo>
                    <a:pt x="6" y="16"/>
                  </a:lnTo>
                  <a:lnTo>
                    <a:pt x="6" y="16"/>
                  </a:lnTo>
                  <a:lnTo>
                    <a:pt x="2" y="26"/>
                  </a:lnTo>
                  <a:lnTo>
                    <a:pt x="0" y="38"/>
                  </a:lnTo>
                  <a:lnTo>
                    <a:pt x="0" y="38"/>
                  </a:lnTo>
                  <a:lnTo>
                    <a:pt x="0" y="44"/>
                  </a:lnTo>
                  <a:lnTo>
                    <a:pt x="2" y="52"/>
                  </a:lnTo>
                  <a:lnTo>
                    <a:pt x="6" y="58"/>
                  </a:lnTo>
                  <a:lnTo>
                    <a:pt x="10" y="64"/>
                  </a:lnTo>
                  <a:lnTo>
                    <a:pt x="16" y="68"/>
                  </a:lnTo>
                  <a:lnTo>
                    <a:pt x="22" y="72"/>
                  </a:lnTo>
                  <a:lnTo>
                    <a:pt x="30" y="74"/>
                  </a:lnTo>
                  <a:lnTo>
                    <a:pt x="38" y="74"/>
                  </a:lnTo>
                  <a:lnTo>
                    <a:pt x="38" y="7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a:endParaRPr lang="en-US" sz="5000"/>
            </a:p>
          </p:txBody>
        </p:sp>
        <p:sp>
          <p:nvSpPr>
            <p:cNvPr id="42" name="Freeform 157">
              <a:extLst>
                <a:ext uri="{FF2B5EF4-FFF2-40B4-BE49-F238E27FC236}">
                  <a16:creationId xmlns:a16="http://schemas.microsoft.com/office/drawing/2014/main" id="{A4457601-7B98-4B10-A033-0307560DB05B}"/>
                </a:ext>
              </a:extLst>
            </p:cNvPr>
            <p:cNvSpPr>
              <a:spLocks noEditPoints="1"/>
            </p:cNvSpPr>
            <p:nvPr/>
          </p:nvSpPr>
          <p:spPr bwMode="auto">
            <a:xfrm>
              <a:off x="5682043" y="4553457"/>
              <a:ext cx="287906" cy="286445"/>
            </a:xfrm>
            <a:custGeom>
              <a:gdLst>
                <a:gd fmla="*/ 196 w 393" name="T0"/>
                <a:gd fmla="*/ 0 h 391" name="T1"/>
                <a:gd fmla="*/ 156 w 393" name="T2"/>
                <a:gd fmla="*/ 4 h 391" name="T3"/>
                <a:gd fmla="*/ 120 w 393" name="T4"/>
                <a:gd fmla="*/ 14 h 391" name="T5"/>
                <a:gd fmla="*/ 86 w 393" name="T6"/>
                <a:gd fmla="*/ 32 h 391" name="T7"/>
                <a:gd fmla="*/ 58 w 393" name="T8"/>
                <a:gd fmla="*/ 56 h 391" name="T9"/>
                <a:gd fmla="*/ 32 w 393" name="T10"/>
                <a:gd fmla="*/ 86 h 391" name="T11"/>
                <a:gd fmla="*/ 14 w 393" name="T12"/>
                <a:gd fmla="*/ 120 h 391" name="T13"/>
                <a:gd fmla="*/ 4 w 393" name="T14"/>
                <a:gd fmla="*/ 156 h 391" name="T15"/>
                <a:gd fmla="*/ 0 w 393" name="T16"/>
                <a:gd fmla="*/ 196 h 391" name="T17"/>
                <a:gd fmla="*/ 0 w 393" name="T18"/>
                <a:gd fmla="*/ 216 h 391" name="T19"/>
                <a:gd fmla="*/ 8 w 393" name="T20"/>
                <a:gd fmla="*/ 254 h 391" name="T21"/>
                <a:gd fmla="*/ 24 w 393" name="T22"/>
                <a:gd fmla="*/ 290 h 391" name="T23"/>
                <a:gd fmla="*/ 44 w 393" name="T24"/>
                <a:gd fmla="*/ 321 h 391" name="T25"/>
                <a:gd fmla="*/ 70 w 393" name="T26"/>
                <a:gd fmla="*/ 347 h 391" name="T27"/>
                <a:gd fmla="*/ 102 w 393" name="T28"/>
                <a:gd fmla="*/ 369 h 391" name="T29"/>
                <a:gd fmla="*/ 138 w 393" name="T30"/>
                <a:gd fmla="*/ 383 h 391" name="T31"/>
                <a:gd fmla="*/ 176 w 393" name="T32"/>
                <a:gd fmla="*/ 391 h 391" name="T33"/>
                <a:gd fmla="*/ 196 w 393" name="T34"/>
                <a:gd fmla="*/ 391 h 391" name="T35"/>
                <a:gd fmla="*/ 236 w 393" name="T36"/>
                <a:gd fmla="*/ 387 h 391" name="T37"/>
                <a:gd fmla="*/ 272 w 393" name="T38"/>
                <a:gd fmla="*/ 377 h 391" name="T39"/>
                <a:gd fmla="*/ 305 w 393" name="T40"/>
                <a:gd fmla="*/ 359 h 391" name="T41"/>
                <a:gd fmla="*/ 335 w 393" name="T42"/>
                <a:gd fmla="*/ 335 h 391" name="T43"/>
                <a:gd fmla="*/ 359 w 393" name="T44"/>
                <a:gd fmla="*/ 306 h 391" name="T45"/>
                <a:gd fmla="*/ 377 w 393" name="T46"/>
                <a:gd fmla="*/ 272 h 391" name="T47"/>
                <a:gd fmla="*/ 389 w 393" name="T48"/>
                <a:gd fmla="*/ 236 h 391" name="T49"/>
                <a:gd fmla="*/ 393 w 393" name="T50"/>
                <a:gd fmla="*/ 196 h 391" name="T51"/>
                <a:gd fmla="*/ 391 w 393" name="T52"/>
                <a:gd fmla="*/ 176 h 391" name="T53"/>
                <a:gd fmla="*/ 383 w 393" name="T54"/>
                <a:gd fmla="*/ 138 h 391" name="T55"/>
                <a:gd fmla="*/ 369 w 393" name="T56"/>
                <a:gd fmla="*/ 102 h 391" name="T57"/>
                <a:gd fmla="*/ 347 w 393" name="T58"/>
                <a:gd fmla="*/ 70 h 391" name="T59"/>
                <a:gd fmla="*/ 321 w 393" name="T60"/>
                <a:gd fmla="*/ 44 h 391" name="T61"/>
                <a:gd fmla="*/ 290 w 393" name="T62"/>
                <a:gd fmla="*/ 22 h 391" name="T63"/>
                <a:gd fmla="*/ 254 w 393" name="T64"/>
                <a:gd fmla="*/ 8 h 391" name="T65"/>
                <a:gd fmla="*/ 216 w 393" name="T66"/>
                <a:gd fmla="*/ 0 h 391" name="T67"/>
                <a:gd fmla="*/ 196 w 393" name="T68"/>
                <a:gd fmla="*/ 0 h 391" name="T69"/>
                <a:gd fmla="*/ 301 w 393" name="T70"/>
                <a:gd fmla="*/ 264 h 391" name="T71"/>
                <a:gd fmla="*/ 301 w 393" name="T72"/>
                <a:gd fmla="*/ 274 h 391" name="T73"/>
                <a:gd fmla="*/ 296 w 393" name="T74"/>
                <a:gd fmla="*/ 288 h 391" name="T75"/>
                <a:gd fmla="*/ 284 w 393" name="T76"/>
                <a:gd fmla="*/ 300 h 391" name="T77"/>
                <a:gd fmla="*/ 270 w 393" name="T78"/>
                <a:gd fmla="*/ 306 h 391" name="T79"/>
                <a:gd fmla="*/ 130 w 393" name="T80"/>
                <a:gd fmla="*/ 306 h 391" name="T81"/>
                <a:gd fmla="*/ 122 w 393" name="T82"/>
                <a:gd fmla="*/ 306 h 391" name="T83"/>
                <a:gd fmla="*/ 106 w 393" name="T84"/>
                <a:gd fmla="*/ 300 h 391" name="T85"/>
                <a:gd fmla="*/ 96 w 393" name="T86"/>
                <a:gd fmla="*/ 288 h 391" name="T87"/>
                <a:gd fmla="*/ 90 w 393" name="T88"/>
                <a:gd fmla="*/ 274 h 391" name="T89"/>
                <a:gd fmla="*/ 88 w 393" name="T90"/>
                <a:gd fmla="*/ 178 h 391" name="T91"/>
                <a:gd fmla="*/ 88 w 393" name="T92"/>
                <a:gd fmla="*/ 134 h 391" name="T93"/>
                <a:gd fmla="*/ 92 w 393" name="T94"/>
                <a:gd fmla="*/ 118 h 391" name="T95"/>
                <a:gd fmla="*/ 100 w 393" name="T96"/>
                <a:gd fmla="*/ 104 h 391" name="T97"/>
                <a:gd fmla="*/ 114 w 393" name="T98"/>
                <a:gd fmla="*/ 96 h 391" name="T99"/>
                <a:gd fmla="*/ 130 w 393" name="T100"/>
                <a:gd fmla="*/ 92 h 391" name="T101"/>
                <a:gd fmla="*/ 262 w 393" name="T102"/>
                <a:gd fmla="*/ 92 h 391" name="T103"/>
                <a:gd fmla="*/ 278 w 393" name="T104"/>
                <a:gd fmla="*/ 96 h 391" name="T105"/>
                <a:gd fmla="*/ 290 w 393" name="T106"/>
                <a:gd fmla="*/ 104 h 391" name="T107"/>
                <a:gd fmla="*/ 300 w 393" name="T108"/>
                <a:gd fmla="*/ 118 h 391" name="T109"/>
                <a:gd fmla="*/ 301 w 393" name="T110"/>
                <a:gd fmla="*/ 134 h 391" name="T11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b="b" l="0" r="r" t="0"/>
              <a:pathLst>
                <a:path h="391" w="393">
                  <a:moveTo>
                    <a:pt x="196" y="0"/>
                  </a:moveTo>
                  <a:lnTo>
                    <a:pt x="196" y="0"/>
                  </a:lnTo>
                  <a:lnTo>
                    <a:pt x="176" y="0"/>
                  </a:lnTo>
                  <a:lnTo>
                    <a:pt x="156" y="4"/>
                  </a:lnTo>
                  <a:lnTo>
                    <a:pt x="138" y="8"/>
                  </a:lnTo>
                  <a:lnTo>
                    <a:pt x="120" y="14"/>
                  </a:lnTo>
                  <a:lnTo>
                    <a:pt x="102" y="22"/>
                  </a:lnTo>
                  <a:lnTo>
                    <a:pt x="86" y="32"/>
                  </a:lnTo>
                  <a:lnTo>
                    <a:pt x="70" y="44"/>
                  </a:lnTo>
                  <a:lnTo>
                    <a:pt x="58" y="56"/>
                  </a:lnTo>
                  <a:lnTo>
                    <a:pt x="44" y="70"/>
                  </a:lnTo>
                  <a:lnTo>
                    <a:pt x="32" y="86"/>
                  </a:lnTo>
                  <a:lnTo>
                    <a:pt x="24" y="102"/>
                  </a:lnTo>
                  <a:lnTo>
                    <a:pt x="14" y="120"/>
                  </a:lnTo>
                  <a:lnTo>
                    <a:pt x="8" y="138"/>
                  </a:lnTo>
                  <a:lnTo>
                    <a:pt x="4" y="156"/>
                  </a:lnTo>
                  <a:lnTo>
                    <a:pt x="0" y="176"/>
                  </a:lnTo>
                  <a:lnTo>
                    <a:pt x="0" y="196"/>
                  </a:lnTo>
                  <a:lnTo>
                    <a:pt x="0" y="196"/>
                  </a:lnTo>
                  <a:lnTo>
                    <a:pt x="0" y="216"/>
                  </a:lnTo>
                  <a:lnTo>
                    <a:pt x="4" y="236"/>
                  </a:lnTo>
                  <a:lnTo>
                    <a:pt x="8" y="254"/>
                  </a:lnTo>
                  <a:lnTo>
                    <a:pt x="14" y="272"/>
                  </a:lnTo>
                  <a:lnTo>
                    <a:pt x="24" y="290"/>
                  </a:lnTo>
                  <a:lnTo>
                    <a:pt x="32" y="306"/>
                  </a:lnTo>
                  <a:lnTo>
                    <a:pt x="44" y="321"/>
                  </a:lnTo>
                  <a:lnTo>
                    <a:pt x="58" y="335"/>
                  </a:lnTo>
                  <a:lnTo>
                    <a:pt x="70" y="347"/>
                  </a:lnTo>
                  <a:lnTo>
                    <a:pt x="86" y="359"/>
                  </a:lnTo>
                  <a:lnTo>
                    <a:pt x="102" y="369"/>
                  </a:lnTo>
                  <a:lnTo>
                    <a:pt x="120" y="377"/>
                  </a:lnTo>
                  <a:lnTo>
                    <a:pt x="138" y="383"/>
                  </a:lnTo>
                  <a:lnTo>
                    <a:pt x="156" y="387"/>
                  </a:lnTo>
                  <a:lnTo>
                    <a:pt x="176" y="391"/>
                  </a:lnTo>
                  <a:lnTo>
                    <a:pt x="196" y="391"/>
                  </a:lnTo>
                  <a:lnTo>
                    <a:pt x="196" y="391"/>
                  </a:lnTo>
                  <a:lnTo>
                    <a:pt x="216" y="391"/>
                  </a:lnTo>
                  <a:lnTo>
                    <a:pt x="236" y="387"/>
                  </a:lnTo>
                  <a:lnTo>
                    <a:pt x="254" y="383"/>
                  </a:lnTo>
                  <a:lnTo>
                    <a:pt x="272" y="377"/>
                  </a:lnTo>
                  <a:lnTo>
                    <a:pt x="290" y="369"/>
                  </a:lnTo>
                  <a:lnTo>
                    <a:pt x="305" y="359"/>
                  </a:lnTo>
                  <a:lnTo>
                    <a:pt x="321" y="347"/>
                  </a:lnTo>
                  <a:lnTo>
                    <a:pt x="335" y="335"/>
                  </a:lnTo>
                  <a:lnTo>
                    <a:pt x="347" y="321"/>
                  </a:lnTo>
                  <a:lnTo>
                    <a:pt x="359" y="306"/>
                  </a:lnTo>
                  <a:lnTo>
                    <a:pt x="369" y="290"/>
                  </a:lnTo>
                  <a:lnTo>
                    <a:pt x="377" y="272"/>
                  </a:lnTo>
                  <a:lnTo>
                    <a:pt x="383" y="254"/>
                  </a:lnTo>
                  <a:lnTo>
                    <a:pt x="389" y="236"/>
                  </a:lnTo>
                  <a:lnTo>
                    <a:pt x="391" y="216"/>
                  </a:lnTo>
                  <a:lnTo>
                    <a:pt x="393" y="196"/>
                  </a:lnTo>
                  <a:lnTo>
                    <a:pt x="393" y="196"/>
                  </a:lnTo>
                  <a:lnTo>
                    <a:pt x="391" y="176"/>
                  </a:lnTo>
                  <a:lnTo>
                    <a:pt x="389" y="156"/>
                  </a:lnTo>
                  <a:lnTo>
                    <a:pt x="383" y="138"/>
                  </a:lnTo>
                  <a:lnTo>
                    <a:pt x="377" y="120"/>
                  </a:lnTo>
                  <a:lnTo>
                    <a:pt x="369" y="102"/>
                  </a:lnTo>
                  <a:lnTo>
                    <a:pt x="359" y="86"/>
                  </a:lnTo>
                  <a:lnTo>
                    <a:pt x="347" y="70"/>
                  </a:lnTo>
                  <a:lnTo>
                    <a:pt x="335" y="56"/>
                  </a:lnTo>
                  <a:lnTo>
                    <a:pt x="321" y="44"/>
                  </a:lnTo>
                  <a:lnTo>
                    <a:pt x="305" y="32"/>
                  </a:lnTo>
                  <a:lnTo>
                    <a:pt x="290" y="22"/>
                  </a:lnTo>
                  <a:lnTo>
                    <a:pt x="272" y="14"/>
                  </a:lnTo>
                  <a:lnTo>
                    <a:pt x="254" y="8"/>
                  </a:lnTo>
                  <a:lnTo>
                    <a:pt x="236" y="4"/>
                  </a:lnTo>
                  <a:lnTo>
                    <a:pt x="216" y="0"/>
                  </a:lnTo>
                  <a:lnTo>
                    <a:pt x="196" y="0"/>
                  </a:lnTo>
                  <a:lnTo>
                    <a:pt x="196" y="0"/>
                  </a:lnTo>
                  <a:close/>
                  <a:moveTo>
                    <a:pt x="301" y="178"/>
                  </a:moveTo>
                  <a:lnTo>
                    <a:pt x="301" y="264"/>
                  </a:lnTo>
                  <a:lnTo>
                    <a:pt x="301" y="264"/>
                  </a:lnTo>
                  <a:lnTo>
                    <a:pt x="301" y="274"/>
                  </a:lnTo>
                  <a:lnTo>
                    <a:pt x="300" y="280"/>
                  </a:lnTo>
                  <a:lnTo>
                    <a:pt x="296" y="288"/>
                  </a:lnTo>
                  <a:lnTo>
                    <a:pt x="290" y="294"/>
                  </a:lnTo>
                  <a:lnTo>
                    <a:pt x="284" y="300"/>
                  </a:lnTo>
                  <a:lnTo>
                    <a:pt x="278" y="302"/>
                  </a:lnTo>
                  <a:lnTo>
                    <a:pt x="270" y="306"/>
                  </a:lnTo>
                  <a:lnTo>
                    <a:pt x="262" y="306"/>
                  </a:lnTo>
                  <a:lnTo>
                    <a:pt x="130" y="306"/>
                  </a:lnTo>
                  <a:lnTo>
                    <a:pt x="130" y="306"/>
                  </a:lnTo>
                  <a:lnTo>
                    <a:pt x="122" y="306"/>
                  </a:lnTo>
                  <a:lnTo>
                    <a:pt x="114" y="302"/>
                  </a:lnTo>
                  <a:lnTo>
                    <a:pt x="106" y="300"/>
                  </a:lnTo>
                  <a:lnTo>
                    <a:pt x="100" y="294"/>
                  </a:lnTo>
                  <a:lnTo>
                    <a:pt x="96" y="288"/>
                  </a:lnTo>
                  <a:lnTo>
                    <a:pt x="92" y="280"/>
                  </a:lnTo>
                  <a:lnTo>
                    <a:pt x="90" y="274"/>
                  </a:lnTo>
                  <a:lnTo>
                    <a:pt x="88" y="264"/>
                  </a:lnTo>
                  <a:lnTo>
                    <a:pt x="88" y="178"/>
                  </a:lnTo>
                  <a:lnTo>
                    <a:pt x="88" y="134"/>
                  </a:lnTo>
                  <a:lnTo>
                    <a:pt x="88" y="134"/>
                  </a:lnTo>
                  <a:lnTo>
                    <a:pt x="90" y="124"/>
                  </a:lnTo>
                  <a:lnTo>
                    <a:pt x="92" y="118"/>
                  </a:lnTo>
                  <a:lnTo>
                    <a:pt x="96" y="110"/>
                  </a:lnTo>
                  <a:lnTo>
                    <a:pt x="100" y="104"/>
                  </a:lnTo>
                  <a:lnTo>
                    <a:pt x="106" y="98"/>
                  </a:lnTo>
                  <a:lnTo>
                    <a:pt x="114" y="96"/>
                  </a:lnTo>
                  <a:lnTo>
                    <a:pt x="122" y="92"/>
                  </a:lnTo>
                  <a:lnTo>
                    <a:pt x="130" y="92"/>
                  </a:lnTo>
                  <a:lnTo>
                    <a:pt x="262" y="92"/>
                  </a:lnTo>
                  <a:lnTo>
                    <a:pt x="262" y="92"/>
                  </a:lnTo>
                  <a:lnTo>
                    <a:pt x="270" y="92"/>
                  </a:lnTo>
                  <a:lnTo>
                    <a:pt x="278" y="96"/>
                  </a:lnTo>
                  <a:lnTo>
                    <a:pt x="284" y="98"/>
                  </a:lnTo>
                  <a:lnTo>
                    <a:pt x="290" y="104"/>
                  </a:lnTo>
                  <a:lnTo>
                    <a:pt x="296" y="110"/>
                  </a:lnTo>
                  <a:lnTo>
                    <a:pt x="300" y="118"/>
                  </a:lnTo>
                  <a:lnTo>
                    <a:pt x="301" y="124"/>
                  </a:lnTo>
                  <a:lnTo>
                    <a:pt x="301" y="134"/>
                  </a:lnTo>
                  <a:lnTo>
                    <a:pt x="301" y="178"/>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a:endParaRPr lang="en-US" sz="5000"/>
            </a:p>
          </p:txBody>
        </p:sp>
        <p:sp>
          <p:nvSpPr>
            <p:cNvPr id="43" name="Freeform 158">
              <a:extLst>
                <a:ext uri="{FF2B5EF4-FFF2-40B4-BE49-F238E27FC236}">
                  <a16:creationId xmlns:a16="http://schemas.microsoft.com/office/drawing/2014/main" id="{251CDD79-1CC1-42C9-B237-DB1D8CB692CB}"/>
                </a:ext>
              </a:extLst>
            </p:cNvPr>
            <p:cNvSpPr/>
            <p:nvPr/>
          </p:nvSpPr>
          <p:spPr bwMode="auto">
            <a:xfrm>
              <a:off x="5762424" y="4683527"/>
              <a:ext cx="125685" cy="78919"/>
            </a:xfrm>
            <a:custGeom>
              <a:gdLst>
                <a:gd fmla="*/ 144 w 172" name="T0"/>
                <a:gd fmla="*/ 22 h 108" name="T1"/>
                <a:gd fmla="*/ 144 w 172" name="T2"/>
                <a:gd fmla="*/ 22 h 108" name="T3"/>
                <a:gd fmla="*/ 142 w 172" name="T4"/>
                <a:gd fmla="*/ 32 h 108" name="T5"/>
                <a:gd fmla="*/ 140 w 172" name="T6"/>
                <a:gd fmla="*/ 44 h 108" name="T7"/>
                <a:gd fmla="*/ 134 w 172" name="T8"/>
                <a:gd fmla="*/ 54 h 108" name="T9"/>
                <a:gd fmla="*/ 126 w 172" name="T10"/>
                <a:gd fmla="*/ 62 h 108" name="T11"/>
                <a:gd fmla="*/ 118 w 172" name="T12"/>
                <a:gd fmla="*/ 70 h 108" name="T13"/>
                <a:gd fmla="*/ 108 w 172" name="T14"/>
                <a:gd fmla="*/ 74 h 108" name="T15"/>
                <a:gd fmla="*/ 98 w 172" name="T16"/>
                <a:gd fmla="*/ 78 h 108" name="T17"/>
                <a:gd fmla="*/ 86 w 172" name="T18"/>
                <a:gd fmla="*/ 80 h 108" name="T19"/>
                <a:gd fmla="*/ 86 w 172" name="T20"/>
                <a:gd fmla="*/ 80 h 108" name="T21"/>
                <a:gd fmla="*/ 74 w 172" name="T22"/>
                <a:gd fmla="*/ 78 h 108" name="T23"/>
                <a:gd fmla="*/ 62 w 172" name="T24"/>
                <a:gd fmla="*/ 74 h 108" name="T25"/>
                <a:gd fmla="*/ 52 w 172" name="T26"/>
                <a:gd fmla="*/ 70 h 108" name="T27"/>
                <a:gd fmla="*/ 44 w 172" name="T28"/>
                <a:gd fmla="*/ 62 h 108" name="T29"/>
                <a:gd fmla="*/ 36 w 172" name="T30"/>
                <a:gd fmla="*/ 54 h 108" name="T31"/>
                <a:gd fmla="*/ 32 w 172" name="T32"/>
                <a:gd fmla="*/ 44 h 108" name="T33"/>
                <a:gd fmla="*/ 28 w 172" name="T34"/>
                <a:gd fmla="*/ 32 h 108" name="T35"/>
                <a:gd fmla="*/ 26 w 172" name="T36"/>
                <a:gd fmla="*/ 22 h 108" name="T37"/>
                <a:gd fmla="*/ 26 w 172" name="T38"/>
                <a:gd fmla="*/ 22 h 108" name="T39"/>
                <a:gd fmla="*/ 28 w 172" name="T40"/>
                <a:gd fmla="*/ 10 h 108" name="T41"/>
                <a:gd fmla="*/ 32 w 172" name="T42"/>
                <a:gd fmla="*/ 0 h 108" name="T43"/>
                <a:gd fmla="*/ 0 w 172" name="T44"/>
                <a:gd fmla="*/ 0 h 108" name="T45"/>
                <a:gd fmla="*/ 0 w 172" name="T46"/>
                <a:gd fmla="*/ 86 h 108" name="T47"/>
                <a:gd fmla="*/ 0 w 172" name="T48"/>
                <a:gd fmla="*/ 86 h 108" name="T49"/>
                <a:gd fmla="*/ 0 w 172" name="T50"/>
                <a:gd fmla="*/ 94 h 108" name="T51"/>
                <a:gd fmla="*/ 6 w 172" name="T52"/>
                <a:gd fmla="*/ 102 h 108" name="T53"/>
                <a:gd fmla="*/ 12 w 172" name="T54"/>
                <a:gd fmla="*/ 106 h 108" name="T55"/>
                <a:gd fmla="*/ 20 w 172" name="T56"/>
                <a:gd fmla="*/ 108 h 108" name="T57"/>
                <a:gd fmla="*/ 152 w 172" name="T58"/>
                <a:gd fmla="*/ 108 h 108" name="T59"/>
                <a:gd fmla="*/ 152 w 172" name="T60"/>
                <a:gd fmla="*/ 108 h 108" name="T61"/>
                <a:gd fmla="*/ 160 w 172" name="T62"/>
                <a:gd fmla="*/ 106 h 108" name="T63"/>
                <a:gd fmla="*/ 166 w 172" name="T64"/>
                <a:gd fmla="*/ 102 h 108" name="T65"/>
                <a:gd fmla="*/ 170 w 172" name="T66"/>
                <a:gd fmla="*/ 94 h 108" name="T67"/>
                <a:gd fmla="*/ 172 w 172" name="T68"/>
                <a:gd fmla="*/ 86 h 108" name="T69"/>
                <a:gd fmla="*/ 172 w 172" name="T70"/>
                <a:gd fmla="*/ 0 h 108" name="T71"/>
                <a:gd fmla="*/ 140 w 172" name="T72"/>
                <a:gd fmla="*/ 0 h 108" name="T73"/>
                <a:gd fmla="*/ 140 w 172" name="T74"/>
                <a:gd fmla="*/ 0 h 108" name="T75"/>
                <a:gd fmla="*/ 142 w 172" name="T76"/>
                <a:gd fmla="*/ 10 h 108" name="T77"/>
                <a:gd fmla="*/ 144 w 172" name="T78"/>
                <a:gd fmla="*/ 22 h 108" name="T79"/>
                <a:gd fmla="*/ 144 w 172" name="T80"/>
                <a:gd fmla="*/ 22 h 108" name="T8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b="b" l="0" r="r" t="0"/>
              <a:pathLst>
                <a:path h="108" w="172">
                  <a:moveTo>
                    <a:pt x="144" y="22"/>
                  </a:moveTo>
                  <a:lnTo>
                    <a:pt x="144" y="22"/>
                  </a:lnTo>
                  <a:lnTo>
                    <a:pt x="142" y="32"/>
                  </a:lnTo>
                  <a:lnTo>
                    <a:pt x="140" y="44"/>
                  </a:lnTo>
                  <a:lnTo>
                    <a:pt x="134" y="54"/>
                  </a:lnTo>
                  <a:lnTo>
                    <a:pt x="126" y="62"/>
                  </a:lnTo>
                  <a:lnTo>
                    <a:pt x="118" y="70"/>
                  </a:lnTo>
                  <a:lnTo>
                    <a:pt x="108" y="74"/>
                  </a:lnTo>
                  <a:lnTo>
                    <a:pt x="98" y="78"/>
                  </a:lnTo>
                  <a:lnTo>
                    <a:pt x="86" y="80"/>
                  </a:lnTo>
                  <a:lnTo>
                    <a:pt x="86" y="80"/>
                  </a:lnTo>
                  <a:lnTo>
                    <a:pt x="74" y="78"/>
                  </a:lnTo>
                  <a:lnTo>
                    <a:pt x="62" y="74"/>
                  </a:lnTo>
                  <a:lnTo>
                    <a:pt x="52" y="70"/>
                  </a:lnTo>
                  <a:lnTo>
                    <a:pt x="44" y="62"/>
                  </a:lnTo>
                  <a:lnTo>
                    <a:pt x="36" y="54"/>
                  </a:lnTo>
                  <a:lnTo>
                    <a:pt x="32" y="44"/>
                  </a:lnTo>
                  <a:lnTo>
                    <a:pt x="28" y="32"/>
                  </a:lnTo>
                  <a:lnTo>
                    <a:pt x="26" y="22"/>
                  </a:lnTo>
                  <a:lnTo>
                    <a:pt x="26" y="22"/>
                  </a:lnTo>
                  <a:lnTo>
                    <a:pt x="28" y="10"/>
                  </a:lnTo>
                  <a:lnTo>
                    <a:pt x="32" y="0"/>
                  </a:lnTo>
                  <a:lnTo>
                    <a:pt x="0" y="0"/>
                  </a:lnTo>
                  <a:lnTo>
                    <a:pt x="0" y="86"/>
                  </a:lnTo>
                  <a:lnTo>
                    <a:pt x="0" y="86"/>
                  </a:lnTo>
                  <a:lnTo>
                    <a:pt x="0" y="94"/>
                  </a:lnTo>
                  <a:lnTo>
                    <a:pt x="6" y="102"/>
                  </a:lnTo>
                  <a:lnTo>
                    <a:pt x="12" y="106"/>
                  </a:lnTo>
                  <a:lnTo>
                    <a:pt x="20" y="108"/>
                  </a:lnTo>
                  <a:lnTo>
                    <a:pt x="152" y="108"/>
                  </a:lnTo>
                  <a:lnTo>
                    <a:pt x="152" y="108"/>
                  </a:lnTo>
                  <a:lnTo>
                    <a:pt x="160" y="106"/>
                  </a:lnTo>
                  <a:lnTo>
                    <a:pt x="166" y="102"/>
                  </a:lnTo>
                  <a:lnTo>
                    <a:pt x="170" y="94"/>
                  </a:lnTo>
                  <a:lnTo>
                    <a:pt x="172" y="86"/>
                  </a:lnTo>
                  <a:lnTo>
                    <a:pt x="172" y="0"/>
                  </a:lnTo>
                  <a:lnTo>
                    <a:pt x="140" y="0"/>
                  </a:lnTo>
                  <a:lnTo>
                    <a:pt x="140" y="0"/>
                  </a:lnTo>
                  <a:lnTo>
                    <a:pt x="142" y="10"/>
                  </a:lnTo>
                  <a:lnTo>
                    <a:pt x="144" y="22"/>
                  </a:lnTo>
                  <a:lnTo>
                    <a:pt x="144" y="22"/>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a:endParaRPr lang="en-US" sz="5000"/>
            </a:p>
          </p:txBody>
        </p:sp>
      </p:grpSp>
      <p:grpSp>
        <p:nvGrpSpPr>
          <p:cNvPr id="44" name="Group 198">
            <a:extLst>
              <a:ext uri="{FF2B5EF4-FFF2-40B4-BE49-F238E27FC236}">
                <a16:creationId xmlns:a16="http://schemas.microsoft.com/office/drawing/2014/main" id="{375D77D8-C62D-494B-B43D-D29CF948E3EC}"/>
              </a:ext>
            </a:extLst>
          </p:cNvPr>
          <p:cNvGrpSpPr/>
          <p:nvPr/>
        </p:nvGrpSpPr>
        <p:grpSpPr>
          <a:xfrm>
            <a:off x="6540420" y="4771211"/>
            <a:ext cx="391952" cy="389964"/>
            <a:chOff x="6848284" y="4553457"/>
            <a:chExt cx="287906" cy="286445"/>
          </a:xfrm>
          <a:solidFill>
            <a:schemeClr val="bg1">
              <a:lumMod val="50000"/>
            </a:schemeClr>
          </a:solidFill>
        </p:grpSpPr>
        <p:sp>
          <p:nvSpPr>
            <p:cNvPr id="45" name="Freeform 163">
              <a:extLst>
                <a:ext uri="{FF2B5EF4-FFF2-40B4-BE49-F238E27FC236}">
                  <a16:creationId xmlns:a16="http://schemas.microsoft.com/office/drawing/2014/main" id="{4730BEA2-B2C9-4439-AA5E-256054B7956A}"/>
                </a:ext>
              </a:extLst>
            </p:cNvPr>
            <p:cNvSpPr/>
            <p:nvPr/>
          </p:nvSpPr>
          <p:spPr bwMode="auto">
            <a:xfrm>
              <a:off x="6943279" y="4638221"/>
              <a:ext cx="35075" cy="48228"/>
            </a:xfrm>
            <a:custGeom>
              <a:gdLst>
                <a:gd fmla="*/ 30 w 48" name="T0"/>
                <a:gd fmla="*/ 66 h 66" name="T1"/>
                <a:gd fmla="*/ 30 w 48" name="T2"/>
                <a:gd fmla="*/ 66 h 66" name="T3"/>
                <a:gd fmla="*/ 36 w 48" name="T4"/>
                <a:gd fmla="*/ 64 h 66" name="T5"/>
                <a:gd fmla="*/ 42 w 48" name="T6"/>
                <a:gd fmla="*/ 60 h 66" name="T7"/>
                <a:gd fmla="*/ 42 w 48" name="T8"/>
                <a:gd fmla="*/ 60 h 66" name="T9"/>
                <a:gd fmla="*/ 46 w 48" name="T10"/>
                <a:gd fmla="*/ 54 h 66" name="T11"/>
                <a:gd fmla="*/ 48 w 48" name="T12"/>
                <a:gd fmla="*/ 48 h 66" name="T13"/>
                <a:gd fmla="*/ 48 w 48" name="T14"/>
                <a:gd fmla="*/ 42 h 66" name="T15"/>
                <a:gd fmla="*/ 48 w 48" name="T16"/>
                <a:gd fmla="*/ 34 h 66" name="T17"/>
                <a:gd fmla="*/ 48 w 48" name="T18"/>
                <a:gd fmla="*/ 34 h 66" name="T19"/>
                <a:gd fmla="*/ 44 w 48" name="T20"/>
                <a:gd fmla="*/ 22 h 66" name="T21"/>
                <a:gd fmla="*/ 38 w 48" name="T22"/>
                <a:gd fmla="*/ 10 h 66" name="T23"/>
                <a:gd fmla="*/ 30 w 48" name="T24"/>
                <a:gd fmla="*/ 2 h 66" name="T25"/>
                <a:gd fmla="*/ 24 w 48" name="T26"/>
                <a:gd fmla="*/ 0 h 66" name="T27"/>
                <a:gd fmla="*/ 20 w 48" name="T28"/>
                <a:gd fmla="*/ 0 h 66" name="T29"/>
                <a:gd fmla="*/ 18 w 48" name="T30"/>
                <a:gd fmla="*/ 0 h 66" name="T31"/>
                <a:gd fmla="*/ 18 w 48" name="T32"/>
                <a:gd fmla="*/ 0 h 66" name="T33"/>
                <a:gd fmla="*/ 12 w 48" name="T34"/>
                <a:gd fmla="*/ 2 h 66" name="T35"/>
                <a:gd fmla="*/ 6 w 48" name="T36"/>
                <a:gd fmla="*/ 6 h 66" name="T37"/>
                <a:gd fmla="*/ 6 w 48" name="T38"/>
                <a:gd fmla="*/ 6 h 66" name="T39"/>
                <a:gd fmla="*/ 2 w 48" name="T40"/>
                <a:gd fmla="*/ 10 h 66" name="T41"/>
                <a:gd fmla="*/ 0 w 48" name="T42"/>
                <a:gd fmla="*/ 16 h 66" name="T43"/>
                <a:gd fmla="*/ 0 w 48" name="T44"/>
                <a:gd fmla="*/ 24 h 66" name="T45"/>
                <a:gd fmla="*/ 0 w 48" name="T46"/>
                <a:gd fmla="*/ 30 h 66" name="T47"/>
                <a:gd fmla="*/ 0 w 48" name="T48"/>
                <a:gd fmla="*/ 30 h 66" name="T49"/>
                <a:gd fmla="*/ 4 w 48" name="T50"/>
                <a:gd fmla="*/ 44 h 66" name="T51"/>
                <a:gd fmla="*/ 10 w 48" name="T52"/>
                <a:gd fmla="*/ 54 h 66" name="T53"/>
                <a:gd fmla="*/ 20 w 48" name="T54"/>
                <a:gd fmla="*/ 62 h 66" name="T55"/>
                <a:gd fmla="*/ 24 w 48" name="T56"/>
                <a:gd fmla="*/ 64 h 66" name="T57"/>
                <a:gd fmla="*/ 30 w 48" name="T58"/>
                <a:gd fmla="*/ 66 h 66" name="T59"/>
                <a:gd fmla="*/ 30 w 48" name="T60"/>
                <a:gd fmla="*/ 66 h 66" name="T6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b="b" l="0" r="r" t="0"/>
              <a:pathLst>
                <a:path h="66" w="48">
                  <a:moveTo>
                    <a:pt x="30" y="66"/>
                  </a:moveTo>
                  <a:lnTo>
                    <a:pt x="30" y="66"/>
                  </a:lnTo>
                  <a:lnTo>
                    <a:pt x="36" y="64"/>
                  </a:lnTo>
                  <a:lnTo>
                    <a:pt x="42" y="60"/>
                  </a:lnTo>
                  <a:lnTo>
                    <a:pt x="42" y="60"/>
                  </a:lnTo>
                  <a:lnTo>
                    <a:pt x="46" y="54"/>
                  </a:lnTo>
                  <a:lnTo>
                    <a:pt x="48" y="48"/>
                  </a:lnTo>
                  <a:lnTo>
                    <a:pt x="48" y="42"/>
                  </a:lnTo>
                  <a:lnTo>
                    <a:pt x="48" y="34"/>
                  </a:lnTo>
                  <a:lnTo>
                    <a:pt x="48" y="34"/>
                  </a:lnTo>
                  <a:lnTo>
                    <a:pt x="44" y="22"/>
                  </a:lnTo>
                  <a:lnTo>
                    <a:pt x="38" y="10"/>
                  </a:lnTo>
                  <a:lnTo>
                    <a:pt x="30" y="2"/>
                  </a:lnTo>
                  <a:lnTo>
                    <a:pt x="24" y="0"/>
                  </a:lnTo>
                  <a:lnTo>
                    <a:pt x="20" y="0"/>
                  </a:lnTo>
                  <a:lnTo>
                    <a:pt x="18" y="0"/>
                  </a:lnTo>
                  <a:lnTo>
                    <a:pt x="18" y="0"/>
                  </a:lnTo>
                  <a:lnTo>
                    <a:pt x="12" y="2"/>
                  </a:lnTo>
                  <a:lnTo>
                    <a:pt x="6" y="6"/>
                  </a:lnTo>
                  <a:lnTo>
                    <a:pt x="6" y="6"/>
                  </a:lnTo>
                  <a:lnTo>
                    <a:pt x="2" y="10"/>
                  </a:lnTo>
                  <a:lnTo>
                    <a:pt x="0" y="16"/>
                  </a:lnTo>
                  <a:lnTo>
                    <a:pt x="0" y="24"/>
                  </a:lnTo>
                  <a:lnTo>
                    <a:pt x="0" y="30"/>
                  </a:lnTo>
                  <a:lnTo>
                    <a:pt x="0" y="30"/>
                  </a:lnTo>
                  <a:lnTo>
                    <a:pt x="4" y="44"/>
                  </a:lnTo>
                  <a:lnTo>
                    <a:pt x="10" y="54"/>
                  </a:lnTo>
                  <a:lnTo>
                    <a:pt x="20" y="62"/>
                  </a:lnTo>
                  <a:lnTo>
                    <a:pt x="24" y="64"/>
                  </a:lnTo>
                  <a:lnTo>
                    <a:pt x="30" y="66"/>
                  </a:lnTo>
                  <a:lnTo>
                    <a:pt x="30" y="6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a:endParaRPr lang="en-US" sz="5000"/>
            </a:p>
          </p:txBody>
        </p:sp>
        <p:sp>
          <p:nvSpPr>
            <p:cNvPr id="46" name="Freeform 164">
              <a:extLst>
                <a:ext uri="{FF2B5EF4-FFF2-40B4-BE49-F238E27FC236}">
                  <a16:creationId xmlns:a16="http://schemas.microsoft.com/office/drawing/2014/main" id="{CE468097-3EFB-4089-BABC-C71899061220}"/>
                </a:ext>
              </a:extLst>
            </p:cNvPr>
            <p:cNvSpPr/>
            <p:nvPr/>
          </p:nvSpPr>
          <p:spPr bwMode="auto">
            <a:xfrm>
              <a:off x="6934510" y="4722986"/>
              <a:ext cx="55535" cy="40921"/>
            </a:xfrm>
            <a:custGeom>
              <a:gdLst>
                <a:gd fmla="*/ 56 w 76" name="T0"/>
                <a:gd fmla="*/ 4 h 56" name="T1"/>
                <a:gd fmla="*/ 56 w 76" name="T2"/>
                <a:gd fmla="*/ 4 h 56" name="T3"/>
                <a:gd fmla="*/ 52 w 76" name="T4"/>
                <a:gd fmla="*/ 2 h 56" name="T5"/>
                <a:gd fmla="*/ 52 w 76" name="T6"/>
                <a:gd fmla="*/ 2 h 56" name="T7"/>
                <a:gd fmla="*/ 40 w 76" name="T8"/>
                <a:gd fmla="*/ 0 h 56" name="T9"/>
                <a:gd fmla="*/ 38 w 76" name="T10"/>
                <a:gd fmla="*/ 0 h 56" name="T11"/>
                <a:gd fmla="*/ 38 w 76" name="T12"/>
                <a:gd fmla="*/ 0 h 56" name="T13"/>
                <a:gd fmla="*/ 24 w 76" name="T14"/>
                <a:gd fmla="*/ 2 h 56" name="T15"/>
                <a:gd fmla="*/ 10 w 76" name="T16"/>
                <a:gd fmla="*/ 8 h 56" name="T17"/>
                <a:gd fmla="*/ 6 w 76" name="T18"/>
                <a:gd fmla="*/ 12 h 56" name="T19"/>
                <a:gd fmla="*/ 2 w 76" name="T20"/>
                <a:gd fmla="*/ 16 h 56" name="T21"/>
                <a:gd fmla="*/ 0 w 76" name="T22"/>
                <a:gd fmla="*/ 22 h 56" name="T23"/>
                <a:gd fmla="*/ 0 w 76" name="T24"/>
                <a:gd fmla="*/ 26 h 56" name="T25"/>
                <a:gd fmla="*/ 0 w 76" name="T26"/>
                <a:gd fmla="*/ 26 h 56" name="T27"/>
                <a:gd fmla="*/ 0 w 76" name="T28"/>
                <a:gd fmla="*/ 32 h 56" name="T29"/>
                <a:gd fmla="*/ 2 w 76" name="T30"/>
                <a:gd fmla="*/ 38 h 56" name="T31"/>
                <a:gd fmla="*/ 6 w 76" name="T32"/>
                <a:gd fmla="*/ 42 h 56" name="T33"/>
                <a:gd fmla="*/ 10 w 76" name="T34"/>
                <a:gd fmla="*/ 46 h 56" name="T35"/>
                <a:gd fmla="*/ 20 w 76" name="T36"/>
                <a:gd fmla="*/ 52 h 56" name="T37"/>
                <a:gd fmla="*/ 36 w 76" name="T38"/>
                <a:gd fmla="*/ 56 h 56" name="T39"/>
                <a:gd fmla="*/ 36 w 76" name="T40"/>
                <a:gd fmla="*/ 56 h 56" name="T41"/>
                <a:gd fmla="*/ 52 w 76" name="T42"/>
                <a:gd fmla="*/ 54 h 56" name="T43"/>
                <a:gd fmla="*/ 60 w 76" name="T44"/>
                <a:gd fmla="*/ 52 h 56" name="T45"/>
                <a:gd fmla="*/ 66 w 76" name="T46"/>
                <a:gd fmla="*/ 48 h 56" name="T47"/>
                <a:gd fmla="*/ 70 w 76" name="T48"/>
                <a:gd fmla="*/ 44 h 56" name="T49"/>
                <a:gd fmla="*/ 72 w 76" name="T50"/>
                <a:gd fmla="*/ 40 h 56" name="T51"/>
                <a:gd fmla="*/ 74 w 76" name="T52"/>
                <a:gd fmla="*/ 34 h 56" name="T53"/>
                <a:gd fmla="*/ 76 w 76" name="T54"/>
                <a:gd fmla="*/ 28 h 56" name="T55"/>
                <a:gd fmla="*/ 76 w 76" name="T56"/>
                <a:gd fmla="*/ 28 h 56" name="T57"/>
                <a:gd fmla="*/ 74 w 76" name="T58"/>
                <a:gd fmla="*/ 22 h 56" name="T59"/>
                <a:gd fmla="*/ 74 w 76" name="T60"/>
                <a:gd fmla="*/ 22 h 56" name="T61"/>
                <a:gd fmla="*/ 72 w 76" name="T62"/>
                <a:gd fmla="*/ 18 h 56" name="T63"/>
                <a:gd fmla="*/ 68 w 76" name="T64"/>
                <a:gd fmla="*/ 14 h 56" name="T65"/>
                <a:gd fmla="*/ 56 w 76" name="T66"/>
                <a:gd fmla="*/ 4 h 56" name="T67"/>
                <a:gd fmla="*/ 56 w 76" name="T68"/>
                <a:gd fmla="*/ 4 h 56" name="T6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b="b" l="0" r="r" t="0"/>
              <a:pathLst>
                <a:path h="56" w="76">
                  <a:moveTo>
                    <a:pt x="56" y="4"/>
                  </a:moveTo>
                  <a:lnTo>
                    <a:pt x="56" y="4"/>
                  </a:lnTo>
                  <a:lnTo>
                    <a:pt x="52" y="2"/>
                  </a:lnTo>
                  <a:lnTo>
                    <a:pt x="52" y="2"/>
                  </a:lnTo>
                  <a:lnTo>
                    <a:pt x="40" y="0"/>
                  </a:lnTo>
                  <a:lnTo>
                    <a:pt x="38" y="0"/>
                  </a:lnTo>
                  <a:lnTo>
                    <a:pt x="38" y="0"/>
                  </a:lnTo>
                  <a:lnTo>
                    <a:pt x="24" y="2"/>
                  </a:lnTo>
                  <a:lnTo>
                    <a:pt x="10" y="8"/>
                  </a:lnTo>
                  <a:lnTo>
                    <a:pt x="6" y="12"/>
                  </a:lnTo>
                  <a:lnTo>
                    <a:pt x="2" y="16"/>
                  </a:lnTo>
                  <a:lnTo>
                    <a:pt x="0" y="22"/>
                  </a:lnTo>
                  <a:lnTo>
                    <a:pt x="0" y="26"/>
                  </a:lnTo>
                  <a:lnTo>
                    <a:pt x="0" y="26"/>
                  </a:lnTo>
                  <a:lnTo>
                    <a:pt x="0" y="32"/>
                  </a:lnTo>
                  <a:lnTo>
                    <a:pt x="2" y="38"/>
                  </a:lnTo>
                  <a:lnTo>
                    <a:pt x="6" y="42"/>
                  </a:lnTo>
                  <a:lnTo>
                    <a:pt x="10" y="46"/>
                  </a:lnTo>
                  <a:lnTo>
                    <a:pt x="20" y="52"/>
                  </a:lnTo>
                  <a:lnTo>
                    <a:pt x="36" y="56"/>
                  </a:lnTo>
                  <a:lnTo>
                    <a:pt x="36" y="56"/>
                  </a:lnTo>
                  <a:lnTo>
                    <a:pt x="52" y="54"/>
                  </a:lnTo>
                  <a:lnTo>
                    <a:pt x="60" y="52"/>
                  </a:lnTo>
                  <a:lnTo>
                    <a:pt x="66" y="48"/>
                  </a:lnTo>
                  <a:lnTo>
                    <a:pt x="70" y="44"/>
                  </a:lnTo>
                  <a:lnTo>
                    <a:pt x="72" y="40"/>
                  </a:lnTo>
                  <a:lnTo>
                    <a:pt x="74" y="34"/>
                  </a:lnTo>
                  <a:lnTo>
                    <a:pt x="76" y="28"/>
                  </a:lnTo>
                  <a:lnTo>
                    <a:pt x="76" y="28"/>
                  </a:lnTo>
                  <a:lnTo>
                    <a:pt x="74" y="22"/>
                  </a:lnTo>
                  <a:lnTo>
                    <a:pt x="74" y="22"/>
                  </a:lnTo>
                  <a:lnTo>
                    <a:pt x="72" y="18"/>
                  </a:lnTo>
                  <a:lnTo>
                    <a:pt x="68" y="14"/>
                  </a:lnTo>
                  <a:lnTo>
                    <a:pt x="56" y="4"/>
                  </a:lnTo>
                  <a:lnTo>
                    <a:pt x="56" y="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a:endParaRPr lang="en-US" sz="5000"/>
            </a:p>
          </p:txBody>
        </p:sp>
        <p:sp>
          <p:nvSpPr>
            <p:cNvPr id="47" name="Freeform 165">
              <a:extLst>
                <a:ext uri="{FF2B5EF4-FFF2-40B4-BE49-F238E27FC236}">
                  <a16:creationId xmlns:a16="http://schemas.microsoft.com/office/drawing/2014/main" id="{4678751E-4EF6-4E6B-A9D9-A567EE528CC0}"/>
                </a:ext>
              </a:extLst>
            </p:cNvPr>
            <p:cNvSpPr>
              <a:spLocks noEditPoints="1"/>
            </p:cNvSpPr>
            <p:nvPr/>
          </p:nvSpPr>
          <p:spPr bwMode="auto">
            <a:xfrm>
              <a:off x="6848284" y="4553457"/>
              <a:ext cx="287906" cy="286445"/>
            </a:xfrm>
            <a:custGeom>
              <a:gdLst>
                <a:gd fmla="*/ 156 w 393" name="T0"/>
                <a:gd fmla="*/ 4 h 391" name="T1"/>
                <a:gd fmla="*/ 86 w 393" name="T2"/>
                <a:gd fmla="*/ 32 h 391" name="T3"/>
                <a:gd fmla="*/ 32 w 393" name="T4"/>
                <a:gd fmla="*/ 86 h 391" name="T5"/>
                <a:gd fmla="*/ 4 w 393" name="T6"/>
                <a:gd fmla="*/ 156 h 391" name="T7"/>
                <a:gd fmla="*/ 0 w 393" name="T8"/>
                <a:gd fmla="*/ 216 h 391" name="T9"/>
                <a:gd fmla="*/ 24 w 393" name="T10"/>
                <a:gd fmla="*/ 290 h 391" name="T11"/>
                <a:gd fmla="*/ 70 w 393" name="T12"/>
                <a:gd fmla="*/ 347 h 391" name="T13"/>
                <a:gd fmla="*/ 138 w 393" name="T14"/>
                <a:gd fmla="*/ 383 h 391" name="T15"/>
                <a:gd fmla="*/ 196 w 393" name="T16"/>
                <a:gd fmla="*/ 391 h 391" name="T17"/>
                <a:gd fmla="*/ 271 w 393" name="T18"/>
                <a:gd fmla="*/ 377 h 391" name="T19"/>
                <a:gd fmla="*/ 335 w 393" name="T20"/>
                <a:gd fmla="*/ 335 h 391" name="T21"/>
                <a:gd fmla="*/ 377 w 393" name="T22"/>
                <a:gd fmla="*/ 272 h 391" name="T23"/>
                <a:gd fmla="*/ 393 w 393" name="T24"/>
                <a:gd fmla="*/ 196 h 391" name="T25"/>
                <a:gd fmla="*/ 383 w 393" name="T26"/>
                <a:gd fmla="*/ 138 h 391" name="T27"/>
                <a:gd fmla="*/ 347 w 393" name="T28"/>
                <a:gd fmla="*/ 70 h 391" name="T29"/>
                <a:gd fmla="*/ 289 w 393" name="T30"/>
                <a:gd fmla="*/ 22 h 391" name="T31"/>
                <a:gd fmla="*/ 216 w 393" name="T32"/>
                <a:gd fmla="*/ 0 h 391" name="T33"/>
                <a:gd fmla="*/ 178 w 393" name="T34"/>
                <a:gd fmla="*/ 304 h 391" name="T35"/>
                <a:gd fmla="*/ 138 w 393" name="T36"/>
                <a:gd fmla="*/ 306 h 391" name="T37"/>
                <a:gd fmla="*/ 102 w 393" name="T38"/>
                <a:gd fmla="*/ 294 h 391" name="T39"/>
                <a:gd fmla="*/ 86 w 393" name="T40"/>
                <a:gd fmla="*/ 272 h 391" name="T41"/>
                <a:gd fmla="*/ 88 w 393" name="T42"/>
                <a:gd fmla="*/ 250 h 391" name="T43"/>
                <a:gd fmla="*/ 106 w 393" name="T44"/>
                <a:gd fmla="*/ 230 h 391" name="T45"/>
                <a:gd fmla="*/ 140 w 393" name="T46"/>
                <a:gd fmla="*/ 216 h 391" name="T47"/>
                <a:gd fmla="*/ 152 w 393" name="T48"/>
                <a:gd fmla="*/ 216 h 391" name="T49"/>
                <a:gd fmla="*/ 148 w 393" name="T50"/>
                <a:gd fmla="*/ 198 h 391" name="T51"/>
                <a:gd fmla="*/ 120 w 393" name="T52"/>
                <a:gd fmla="*/ 188 h 391" name="T53"/>
                <a:gd fmla="*/ 100 w 393" name="T54"/>
                <a:gd fmla="*/ 158 h 391" name="T55"/>
                <a:gd fmla="*/ 102 w 393" name="T56"/>
                <a:gd fmla="*/ 134 h 391" name="T57"/>
                <a:gd fmla="*/ 136 w 393" name="T58"/>
                <a:gd fmla="*/ 102 h 391" name="T59"/>
                <a:gd fmla="*/ 218 w 393" name="T60"/>
                <a:gd fmla="*/ 98 h 391" name="T61"/>
                <a:gd fmla="*/ 224 w 393" name="T62"/>
                <a:gd fmla="*/ 100 h 391" name="T63"/>
                <a:gd fmla="*/ 208 w 393" name="T64"/>
                <a:gd fmla="*/ 116 h 391" name="T65"/>
                <a:gd fmla="*/ 204 w 393" name="T66"/>
                <a:gd fmla="*/ 124 h 391" name="T67"/>
                <a:gd fmla="*/ 210 w 393" name="T68"/>
                <a:gd fmla="*/ 148 h 391" name="T69"/>
                <a:gd fmla="*/ 190 w 393" name="T70"/>
                <a:gd fmla="*/ 184 h 391" name="T71"/>
                <a:gd fmla="*/ 180 w 393" name="T72"/>
                <a:gd fmla="*/ 198 h 391" name="T73"/>
                <a:gd fmla="*/ 206 w 393" name="T74"/>
                <a:gd fmla="*/ 222 h 391" name="T75"/>
                <a:gd fmla="*/ 218 w 393" name="T76"/>
                <a:gd fmla="*/ 258 h 391" name="T77"/>
                <a:gd fmla="*/ 208 w 393" name="T78"/>
                <a:gd fmla="*/ 286 h 391" name="T79"/>
                <a:gd fmla="*/ 178 w 393" name="T80"/>
                <a:gd fmla="*/ 304 h 391" name="T81"/>
                <a:gd fmla="*/ 315 w 393" name="T82"/>
                <a:gd fmla="*/ 200 h 391" name="T83"/>
                <a:gd fmla="*/ 277 w 393" name="T84"/>
                <a:gd fmla="*/ 238 h 391" name="T85"/>
                <a:gd fmla="*/ 263 w 393" name="T86"/>
                <a:gd fmla="*/ 242 h 391" name="T87"/>
                <a:gd fmla="*/ 224 w 393" name="T88"/>
                <a:gd fmla="*/ 202 h 391" name="T89"/>
                <a:gd fmla="*/ 218 w 393" name="T90"/>
                <a:gd fmla="*/ 188 h 391" name="T91"/>
                <a:gd fmla="*/ 257 w 393" name="T92"/>
                <a:gd fmla="*/ 182 h 391" name="T93"/>
                <a:gd fmla="*/ 263 w 393" name="T94"/>
                <a:gd fmla="*/ 142 h 391" name="T95"/>
                <a:gd fmla="*/ 277 w 393" name="T96"/>
                <a:gd fmla="*/ 148 h 391" name="T97"/>
                <a:gd fmla="*/ 315 w 393" name="T98"/>
                <a:gd fmla="*/ 184 h 391" name="T9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b="b" l="0" r="r" t="0"/>
              <a:pathLst>
                <a:path h="391" w="393">
                  <a:moveTo>
                    <a:pt x="196" y="0"/>
                  </a:moveTo>
                  <a:lnTo>
                    <a:pt x="196" y="0"/>
                  </a:lnTo>
                  <a:lnTo>
                    <a:pt x="176" y="0"/>
                  </a:lnTo>
                  <a:lnTo>
                    <a:pt x="156" y="4"/>
                  </a:lnTo>
                  <a:lnTo>
                    <a:pt x="138" y="8"/>
                  </a:lnTo>
                  <a:lnTo>
                    <a:pt x="120" y="14"/>
                  </a:lnTo>
                  <a:lnTo>
                    <a:pt x="102" y="22"/>
                  </a:lnTo>
                  <a:lnTo>
                    <a:pt x="86" y="32"/>
                  </a:lnTo>
                  <a:lnTo>
                    <a:pt x="70" y="44"/>
                  </a:lnTo>
                  <a:lnTo>
                    <a:pt x="58" y="56"/>
                  </a:lnTo>
                  <a:lnTo>
                    <a:pt x="44" y="70"/>
                  </a:lnTo>
                  <a:lnTo>
                    <a:pt x="32" y="86"/>
                  </a:lnTo>
                  <a:lnTo>
                    <a:pt x="24" y="102"/>
                  </a:lnTo>
                  <a:lnTo>
                    <a:pt x="14" y="120"/>
                  </a:lnTo>
                  <a:lnTo>
                    <a:pt x="8" y="138"/>
                  </a:lnTo>
                  <a:lnTo>
                    <a:pt x="4" y="156"/>
                  </a:lnTo>
                  <a:lnTo>
                    <a:pt x="0" y="176"/>
                  </a:lnTo>
                  <a:lnTo>
                    <a:pt x="0" y="196"/>
                  </a:lnTo>
                  <a:lnTo>
                    <a:pt x="0" y="196"/>
                  </a:lnTo>
                  <a:lnTo>
                    <a:pt x="0" y="216"/>
                  </a:lnTo>
                  <a:lnTo>
                    <a:pt x="4" y="236"/>
                  </a:lnTo>
                  <a:lnTo>
                    <a:pt x="8" y="254"/>
                  </a:lnTo>
                  <a:lnTo>
                    <a:pt x="14" y="272"/>
                  </a:lnTo>
                  <a:lnTo>
                    <a:pt x="24" y="290"/>
                  </a:lnTo>
                  <a:lnTo>
                    <a:pt x="32" y="306"/>
                  </a:lnTo>
                  <a:lnTo>
                    <a:pt x="44" y="321"/>
                  </a:lnTo>
                  <a:lnTo>
                    <a:pt x="58" y="335"/>
                  </a:lnTo>
                  <a:lnTo>
                    <a:pt x="70" y="347"/>
                  </a:lnTo>
                  <a:lnTo>
                    <a:pt x="86" y="359"/>
                  </a:lnTo>
                  <a:lnTo>
                    <a:pt x="102" y="369"/>
                  </a:lnTo>
                  <a:lnTo>
                    <a:pt x="120" y="377"/>
                  </a:lnTo>
                  <a:lnTo>
                    <a:pt x="138" y="383"/>
                  </a:lnTo>
                  <a:lnTo>
                    <a:pt x="156" y="387"/>
                  </a:lnTo>
                  <a:lnTo>
                    <a:pt x="176" y="391"/>
                  </a:lnTo>
                  <a:lnTo>
                    <a:pt x="196" y="391"/>
                  </a:lnTo>
                  <a:lnTo>
                    <a:pt x="196" y="391"/>
                  </a:lnTo>
                  <a:lnTo>
                    <a:pt x="216" y="391"/>
                  </a:lnTo>
                  <a:lnTo>
                    <a:pt x="235" y="387"/>
                  </a:lnTo>
                  <a:lnTo>
                    <a:pt x="253" y="383"/>
                  </a:lnTo>
                  <a:lnTo>
                    <a:pt x="271" y="377"/>
                  </a:lnTo>
                  <a:lnTo>
                    <a:pt x="289" y="369"/>
                  </a:lnTo>
                  <a:lnTo>
                    <a:pt x="305" y="359"/>
                  </a:lnTo>
                  <a:lnTo>
                    <a:pt x="321" y="347"/>
                  </a:lnTo>
                  <a:lnTo>
                    <a:pt x="335" y="335"/>
                  </a:lnTo>
                  <a:lnTo>
                    <a:pt x="347" y="321"/>
                  </a:lnTo>
                  <a:lnTo>
                    <a:pt x="359" y="306"/>
                  </a:lnTo>
                  <a:lnTo>
                    <a:pt x="369" y="290"/>
                  </a:lnTo>
                  <a:lnTo>
                    <a:pt x="377" y="272"/>
                  </a:lnTo>
                  <a:lnTo>
                    <a:pt x="383" y="254"/>
                  </a:lnTo>
                  <a:lnTo>
                    <a:pt x="389" y="236"/>
                  </a:lnTo>
                  <a:lnTo>
                    <a:pt x="391" y="216"/>
                  </a:lnTo>
                  <a:lnTo>
                    <a:pt x="393" y="196"/>
                  </a:lnTo>
                  <a:lnTo>
                    <a:pt x="393" y="196"/>
                  </a:lnTo>
                  <a:lnTo>
                    <a:pt x="391" y="176"/>
                  </a:lnTo>
                  <a:lnTo>
                    <a:pt x="389" y="156"/>
                  </a:lnTo>
                  <a:lnTo>
                    <a:pt x="383" y="138"/>
                  </a:lnTo>
                  <a:lnTo>
                    <a:pt x="377" y="120"/>
                  </a:lnTo>
                  <a:lnTo>
                    <a:pt x="369" y="102"/>
                  </a:lnTo>
                  <a:lnTo>
                    <a:pt x="359" y="86"/>
                  </a:lnTo>
                  <a:lnTo>
                    <a:pt x="347" y="70"/>
                  </a:lnTo>
                  <a:lnTo>
                    <a:pt x="335" y="56"/>
                  </a:lnTo>
                  <a:lnTo>
                    <a:pt x="321" y="44"/>
                  </a:lnTo>
                  <a:lnTo>
                    <a:pt x="305" y="32"/>
                  </a:lnTo>
                  <a:lnTo>
                    <a:pt x="289" y="22"/>
                  </a:lnTo>
                  <a:lnTo>
                    <a:pt x="271" y="14"/>
                  </a:lnTo>
                  <a:lnTo>
                    <a:pt x="253" y="8"/>
                  </a:lnTo>
                  <a:lnTo>
                    <a:pt x="235" y="4"/>
                  </a:lnTo>
                  <a:lnTo>
                    <a:pt x="216" y="0"/>
                  </a:lnTo>
                  <a:lnTo>
                    <a:pt x="196" y="0"/>
                  </a:lnTo>
                  <a:lnTo>
                    <a:pt x="196" y="0"/>
                  </a:lnTo>
                  <a:close/>
                  <a:moveTo>
                    <a:pt x="178" y="304"/>
                  </a:moveTo>
                  <a:lnTo>
                    <a:pt x="178" y="304"/>
                  </a:lnTo>
                  <a:lnTo>
                    <a:pt x="166" y="306"/>
                  </a:lnTo>
                  <a:lnTo>
                    <a:pt x="154" y="306"/>
                  </a:lnTo>
                  <a:lnTo>
                    <a:pt x="154" y="306"/>
                  </a:lnTo>
                  <a:lnTo>
                    <a:pt x="138" y="306"/>
                  </a:lnTo>
                  <a:lnTo>
                    <a:pt x="124" y="304"/>
                  </a:lnTo>
                  <a:lnTo>
                    <a:pt x="124" y="304"/>
                  </a:lnTo>
                  <a:lnTo>
                    <a:pt x="112" y="300"/>
                  </a:lnTo>
                  <a:lnTo>
                    <a:pt x="102" y="294"/>
                  </a:lnTo>
                  <a:lnTo>
                    <a:pt x="94" y="288"/>
                  </a:lnTo>
                  <a:lnTo>
                    <a:pt x="88" y="280"/>
                  </a:lnTo>
                  <a:lnTo>
                    <a:pt x="88" y="280"/>
                  </a:lnTo>
                  <a:lnTo>
                    <a:pt x="86" y="272"/>
                  </a:lnTo>
                  <a:lnTo>
                    <a:pt x="86" y="266"/>
                  </a:lnTo>
                  <a:lnTo>
                    <a:pt x="86" y="266"/>
                  </a:lnTo>
                  <a:lnTo>
                    <a:pt x="86" y="258"/>
                  </a:lnTo>
                  <a:lnTo>
                    <a:pt x="88" y="250"/>
                  </a:lnTo>
                  <a:lnTo>
                    <a:pt x="88" y="250"/>
                  </a:lnTo>
                  <a:lnTo>
                    <a:pt x="94" y="242"/>
                  </a:lnTo>
                  <a:lnTo>
                    <a:pt x="98" y="236"/>
                  </a:lnTo>
                  <a:lnTo>
                    <a:pt x="106" y="230"/>
                  </a:lnTo>
                  <a:lnTo>
                    <a:pt x="112" y="226"/>
                  </a:lnTo>
                  <a:lnTo>
                    <a:pt x="122" y="222"/>
                  </a:lnTo>
                  <a:lnTo>
                    <a:pt x="130" y="218"/>
                  </a:lnTo>
                  <a:lnTo>
                    <a:pt x="140" y="216"/>
                  </a:lnTo>
                  <a:lnTo>
                    <a:pt x="150" y="216"/>
                  </a:lnTo>
                  <a:lnTo>
                    <a:pt x="150" y="216"/>
                  </a:lnTo>
                  <a:lnTo>
                    <a:pt x="152" y="216"/>
                  </a:lnTo>
                  <a:lnTo>
                    <a:pt x="152" y="216"/>
                  </a:lnTo>
                  <a:lnTo>
                    <a:pt x="148" y="210"/>
                  </a:lnTo>
                  <a:lnTo>
                    <a:pt x="148" y="204"/>
                  </a:lnTo>
                  <a:lnTo>
                    <a:pt x="148" y="204"/>
                  </a:lnTo>
                  <a:lnTo>
                    <a:pt x="148" y="198"/>
                  </a:lnTo>
                  <a:lnTo>
                    <a:pt x="148" y="198"/>
                  </a:lnTo>
                  <a:lnTo>
                    <a:pt x="138" y="196"/>
                  </a:lnTo>
                  <a:lnTo>
                    <a:pt x="128" y="194"/>
                  </a:lnTo>
                  <a:lnTo>
                    <a:pt x="120" y="188"/>
                  </a:lnTo>
                  <a:lnTo>
                    <a:pt x="112" y="182"/>
                  </a:lnTo>
                  <a:lnTo>
                    <a:pt x="106" y="176"/>
                  </a:lnTo>
                  <a:lnTo>
                    <a:pt x="102" y="168"/>
                  </a:lnTo>
                  <a:lnTo>
                    <a:pt x="100" y="158"/>
                  </a:lnTo>
                  <a:lnTo>
                    <a:pt x="98" y="148"/>
                  </a:lnTo>
                  <a:lnTo>
                    <a:pt x="98" y="148"/>
                  </a:lnTo>
                  <a:lnTo>
                    <a:pt x="100" y="140"/>
                  </a:lnTo>
                  <a:lnTo>
                    <a:pt x="102" y="134"/>
                  </a:lnTo>
                  <a:lnTo>
                    <a:pt x="104" y="126"/>
                  </a:lnTo>
                  <a:lnTo>
                    <a:pt x="110" y="120"/>
                  </a:lnTo>
                  <a:lnTo>
                    <a:pt x="122" y="108"/>
                  </a:lnTo>
                  <a:lnTo>
                    <a:pt x="136" y="102"/>
                  </a:lnTo>
                  <a:lnTo>
                    <a:pt x="136" y="102"/>
                  </a:lnTo>
                  <a:lnTo>
                    <a:pt x="146" y="98"/>
                  </a:lnTo>
                  <a:lnTo>
                    <a:pt x="158" y="98"/>
                  </a:lnTo>
                  <a:lnTo>
                    <a:pt x="218" y="98"/>
                  </a:lnTo>
                  <a:lnTo>
                    <a:pt x="218" y="98"/>
                  </a:lnTo>
                  <a:lnTo>
                    <a:pt x="222" y="98"/>
                  </a:lnTo>
                  <a:lnTo>
                    <a:pt x="224" y="100"/>
                  </a:lnTo>
                  <a:lnTo>
                    <a:pt x="224" y="100"/>
                  </a:lnTo>
                  <a:lnTo>
                    <a:pt x="224" y="104"/>
                  </a:lnTo>
                  <a:lnTo>
                    <a:pt x="222" y="106"/>
                  </a:lnTo>
                  <a:lnTo>
                    <a:pt x="208" y="116"/>
                  </a:lnTo>
                  <a:lnTo>
                    <a:pt x="208" y="116"/>
                  </a:lnTo>
                  <a:lnTo>
                    <a:pt x="204" y="118"/>
                  </a:lnTo>
                  <a:lnTo>
                    <a:pt x="200" y="118"/>
                  </a:lnTo>
                  <a:lnTo>
                    <a:pt x="200" y="118"/>
                  </a:lnTo>
                  <a:lnTo>
                    <a:pt x="204" y="124"/>
                  </a:lnTo>
                  <a:lnTo>
                    <a:pt x="208" y="130"/>
                  </a:lnTo>
                  <a:lnTo>
                    <a:pt x="210" y="140"/>
                  </a:lnTo>
                  <a:lnTo>
                    <a:pt x="210" y="148"/>
                  </a:lnTo>
                  <a:lnTo>
                    <a:pt x="210" y="148"/>
                  </a:lnTo>
                  <a:lnTo>
                    <a:pt x="208" y="158"/>
                  </a:lnTo>
                  <a:lnTo>
                    <a:pt x="206" y="168"/>
                  </a:lnTo>
                  <a:lnTo>
                    <a:pt x="200" y="176"/>
                  </a:lnTo>
                  <a:lnTo>
                    <a:pt x="190" y="184"/>
                  </a:lnTo>
                  <a:lnTo>
                    <a:pt x="190" y="184"/>
                  </a:lnTo>
                  <a:lnTo>
                    <a:pt x="182" y="192"/>
                  </a:lnTo>
                  <a:lnTo>
                    <a:pt x="180" y="198"/>
                  </a:lnTo>
                  <a:lnTo>
                    <a:pt x="180" y="198"/>
                  </a:lnTo>
                  <a:lnTo>
                    <a:pt x="186" y="204"/>
                  </a:lnTo>
                  <a:lnTo>
                    <a:pt x="196" y="214"/>
                  </a:lnTo>
                  <a:lnTo>
                    <a:pt x="196" y="214"/>
                  </a:lnTo>
                  <a:lnTo>
                    <a:pt x="206" y="222"/>
                  </a:lnTo>
                  <a:lnTo>
                    <a:pt x="214" y="232"/>
                  </a:lnTo>
                  <a:lnTo>
                    <a:pt x="218" y="244"/>
                  </a:lnTo>
                  <a:lnTo>
                    <a:pt x="218" y="258"/>
                  </a:lnTo>
                  <a:lnTo>
                    <a:pt x="218" y="258"/>
                  </a:lnTo>
                  <a:lnTo>
                    <a:pt x="218" y="264"/>
                  </a:lnTo>
                  <a:lnTo>
                    <a:pt x="216" y="272"/>
                  </a:lnTo>
                  <a:lnTo>
                    <a:pt x="212" y="280"/>
                  </a:lnTo>
                  <a:lnTo>
                    <a:pt x="208" y="286"/>
                  </a:lnTo>
                  <a:lnTo>
                    <a:pt x="202" y="292"/>
                  </a:lnTo>
                  <a:lnTo>
                    <a:pt x="194" y="296"/>
                  </a:lnTo>
                  <a:lnTo>
                    <a:pt x="188" y="300"/>
                  </a:lnTo>
                  <a:lnTo>
                    <a:pt x="178" y="304"/>
                  </a:lnTo>
                  <a:lnTo>
                    <a:pt x="178" y="304"/>
                  </a:lnTo>
                  <a:close/>
                  <a:moveTo>
                    <a:pt x="317" y="198"/>
                  </a:moveTo>
                  <a:lnTo>
                    <a:pt x="317" y="198"/>
                  </a:lnTo>
                  <a:lnTo>
                    <a:pt x="315" y="200"/>
                  </a:lnTo>
                  <a:lnTo>
                    <a:pt x="311" y="202"/>
                  </a:lnTo>
                  <a:lnTo>
                    <a:pt x="277" y="202"/>
                  </a:lnTo>
                  <a:lnTo>
                    <a:pt x="277" y="238"/>
                  </a:lnTo>
                  <a:lnTo>
                    <a:pt x="277" y="238"/>
                  </a:lnTo>
                  <a:lnTo>
                    <a:pt x="275" y="240"/>
                  </a:lnTo>
                  <a:lnTo>
                    <a:pt x="271" y="242"/>
                  </a:lnTo>
                  <a:lnTo>
                    <a:pt x="263" y="242"/>
                  </a:lnTo>
                  <a:lnTo>
                    <a:pt x="263" y="242"/>
                  </a:lnTo>
                  <a:lnTo>
                    <a:pt x="259" y="240"/>
                  </a:lnTo>
                  <a:lnTo>
                    <a:pt x="257" y="238"/>
                  </a:lnTo>
                  <a:lnTo>
                    <a:pt x="257" y="202"/>
                  </a:lnTo>
                  <a:lnTo>
                    <a:pt x="224" y="202"/>
                  </a:lnTo>
                  <a:lnTo>
                    <a:pt x="224" y="202"/>
                  </a:lnTo>
                  <a:lnTo>
                    <a:pt x="220" y="200"/>
                  </a:lnTo>
                  <a:lnTo>
                    <a:pt x="218" y="198"/>
                  </a:lnTo>
                  <a:lnTo>
                    <a:pt x="218" y="188"/>
                  </a:lnTo>
                  <a:lnTo>
                    <a:pt x="218" y="188"/>
                  </a:lnTo>
                  <a:lnTo>
                    <a:pt x="220" y="184"/>
                  </a:lnTo>
                  <a:lnTo>
                    <a:pt x="224" y="182"/>
                  </a:lnTo>
                  <a:lnTo>
                    <a:pt x="257" y="182"/>
                  </a:lnTo>
                  <a:lnTo>
                    <a:pt x="257" y="148"/>
                  </a:lnTo>
                  <a:lnTo>
                    <a:pt x="257" y="148"/>
                  </a:lnTo>
                  <a:lnTo>
                    <a:pt x="259" y="144"/>
                  </a:lnTo>
                  <a:lnTo>
                    <a:pt x="263" y="142"/>
                  </a:lnTo>
                  <a:lnTo>
                    <a:pt x="271" y="142"/>
                  </a:lnTo>
                  <a:lnTo>
                    <a:pt x="271" y="142"/>
                  </a:lnTo>
                  <a:lnTo>
                    <a:pt x="275" y="144"/>
                  </a:lnTo>
                  <a:lnTo>
                    <a:pt x="277" y="148"/>
                  </a:lnTo>
                  <a:lnTo>
                    <a:pt x="277" y="182"/>
                  </a:lnTo>
                  <a:lnTo>
                    <a:pt x="311" y="182"/>
                  </a:lnTo>
                  <a:lnTo>
                    <a:pt x="311" y="182"/>
                  </a:lnTo>
                  <a:lnTo>
                    <a:pt x="315" y="184"/>
                  </a:lnTo>
                  <a:lnTo>
                    <a:pt x="317" y="188"/>
                  </a:lnTo>
                  <a:lnTo>
                    <a:pt x="317" y="198"/>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a:endParaRPr lang="en-US" sz="5000"/>
            </a:p>
          </p:txBody>
        </p:sp>
      </p:grpSp>
      <p:sp>
        <p:nvSpPr>
          <p:cNvPr id="48" name="Rectangle 202">
            <a:extLst>
              <a:ext uri="{FF2B5EF4-FFF2-40B4-BE49-F238E27FC236}">
                <a16:creationId xmlns:a16="http://schemas.microsoft.com/office/drawing/2014/main" id="{90F1CE99-4A04-454D-8961-4E93485C2191}"/>
              </a:ext>
            </a:extLst>
          </p:cNvPr>
          <p:cNvSpPr/>
          <p:nvPr/>
        </p:nvSpPr>
        <p:spPr>
          <a:xfrm>
            <a:off x="7046671" y="2098595"/>
            <a:ext cx="1844752" cy="335280"/>
          </a:xfrm>
          <a:prstGeom prst="rect">
            <a:avLst/>
          </a:prstGeom>
        </p:spPr>
        <p:txBody>
          <a:bodyPr wrap="square">
            <a:spAutoFit/>
          </a:bodyPr>
          <a:lstStyle/>
          <a:p>
            <a:pPr>
              <a:buClr>
                <a:srgbClr val="E24848"/>
              </a:buClr>
              <a:defRPr/>
            </a:pPr>
            <a:r>
              <a:rPr b="1" lang="en-US" noProof="1" sz="1600">
                <a:solidFill>
                  <a:schemeClr val="tx1">
                    <a:lumMod val="75000"/>
                    <a:lumOff val="25000"/>
                  </a:schemeClr>
                </a:solidFill>
                <a:latin charset="-122" panose="020b0400000000000000" pitchFamily="34" typeface="思源黑体 CN Normal"/>
                <a:ea charset="-122" panose="020b0400000000000000" pitchFamily="34" typeface="思源黑体 CN Normal"/>
                <a:cs charset="0" panose="020b0306030504020204" pitchFamily="34" typeface="Open Sans Light"/>
              </a:rPr>
              <a:t>Twitter</a:t>
            </a:r>
          </a:p>
        </p:txBody>
      </p:sp>
      <p:sp>
        <p:nvSpPr>
          <p:cNvPr id="49" name="Rectangle 203">
            <a:extLst>
              <a:ext uri="{FF2B5EF4-FFF2-40B4-BE49-F238E27FC236}">
                <a16:creationId xmlns:a16="http://schemas.microsoft.com/office/drawing/2014/main" id="{65D422F5-5C95-441F-9DCE-D9D0A70FA8A9}"/>
              </a:ext>
            </a:extLst>
          </p:cNvPr>
          <p:cNvSpPr/>
          <p:nvPr/>
        </p:nvSpPr>
        <p:spPr>
          <a:xfrm>
            <a:off x="7046676" y="2393979"/>
            <a:ext cx="3527610" cy="571500"/>
          </a:xfrm>
          <a:prstGeom prst="rect">
            <a:avLst/>
          </a:prstGeom>
        </p:spPr>
        <p:txBody>
          <a:bodyPr wrap="square">
            <a:spAutoFit/>
          </a:bodyPr>
          <a:lstStyle/>
          <a:p>
            <a:pPr>
              <a:lnSpc>
                <a:spcPct val="150000"/>
              </a:lnSpc>
            </a:pPr>
            <a:r>
              <a:rPr altLang="en-US" lang="zh-CN" sz="1050">
                <a:solidFill>
                  <a:schemeClr val="tx1">
                    <a:lumMod val="75000"/>
                    <a:lumOff val="25000"/>
                  </a:schemeClr>
                </a:solidFill>
                <a:latin typeface="+mn-ea"/>
              </a:rPr>
              <a:t>这里可以添加主要内容这里可以添加主要内容这里可以添加主要内容这里可以添加主要内容</a:t>
            </a:r>
          </a:p>
        </p:txBody>
      </p:sp>
      <p:sp>
        <p:nvSpPr>
          <p:cNvPr id="50" name="Rectangle 204">
            <a:extLst>
              <a:ext uri="{FF2B5EF4-FFF2-40B4-BE49-F238E27FC236}">
                <a16:creationId xmlns:a16="http://schemas.microsoft.com/office/drawing/2014/main" id="{5C31C04C-6F85-4961-8E5F-2286B6C07E59}"/>
              </a:ext>
            </a:extLst>
          </p:cNvPr>
          <p:cNvSpPr/>
          <p:nvPr/>
        </p:nvSpPr>
        <p:spPr>
          <a:xfrm>
            <a:off x="7046671" y="2960766"/>
            <a:ext cx="1844752" cy="335280"/>
          </a:xfrm>
          <a:prstGeom prst="rect">
            <a:avLst/>
          </a:prstGeom>
        </p:spPr>
        <p:txBody>
          <a:bodyPr wrap="square">
            <a:spAutoFit/>
          </a:bodyPr>
          <a:lstStyle/>
          <a:p>
            <a:pPr>
              <a:buClr>
                <a:srgbClr val="E24848"/>
              </a:buClr>
              <a:defRPr/>
            </a:pPr>
            <a:r>
              <a:rPr b="1" lang="en-US" noProof="1" sz="1600">
                <a:solidFill>
                  <a:schemeClr val="tx1">
                    <a:lumMod val="75000"/>
                    <a:lumOff val="25000"/>
                  </a:schemeClr>
                </a:solidFill>
                <a:latin charset="-122" panose="020b0400000000000000" pitchFamily="34" typeface="思源黑体 CN Normal"/>
                <a:ea charset="-122" panose="020b0400000000000000" pitchFamily="34" typeface="思源黑体 CN Normal"/>
                <a:cs charset="0" panose="020b0306030504020204" pitchFamily="34" typeface="Open Sans Light"/>
              </a:rPr>
              <a:t>Facebook</a:t>
            </a:r>
          </a:p>
        </p:txBody>
      </p:sp>
      <p:sp>
        <p:nvSpPr>
          <p:cNvPr id="51" name="Rectangle 205">
            <a:extLst>
              <a:ext uri="{FF2B5EF4-FFF2-40B4-BE49-F238E27FC236}">
                <a16:creationId xmlns:a16="http://schemas.microsoft.com/office/drawing/2014/main" id="{49B4A769-6675-4415-BE1D-FA831622F3D3}"/>
              </a:ext>
            </a:extLst>
          </p:cNvPr>
          <p:cNvSpPr/>
          <p:nvPr/>
        </p:nvSpPr>
        <p:spPr>
          <a:xfrm>
            <a:off x="7046676" y="3256150"/>
            <a:ext cx="3527610" cy="571500"/>
          </a:xfrm>
          <a:prstGeom prst="rect">
            <a:avLst/>
          </a:prstGeom>
        </p:spPr>
        <p:txBody>
          <a:bodyPr wrap="square">
            <a:spAutoFit/>
          </a:bodyPr>
          <a:lstStyle/>
          <a:p>
            <a:pPr>
              <a:lnSpc>
                <a:spcPct val="150000"/>
              </a:lnSpc>
            </a:pPr>
            <a:r>
              <a:rPr altLang="en-US" lang="zh-CN" sz="1050">
                <a:solidFill>
                  <a:schemeClr val="tx1">
                    <a:lumMod val="75000"/>
                    <a:lumOff val="25000"/>
                  </a:schemeClr>
                </a:solidFill>
                <a:latin typeface="+mn-ea"/>
              </a:rPr>
              <a:t>这里可以添加主要内容这里可以添加主要内容这里可以添加主要内容这里可以添加主要内容</a:t>
            </a:r>
          </a:p>
        </p:txBody>
      </p:sp>
      <p:sp>
        <p:nvSpPr>
          <p:cNvPr id="52" name="Rectangle 206">
            <a:extLst>
              <a:ext uri="{FF2B5EF4-FFF2-40B4-BE49-F238E27FC236}">
                <a16:creationId xmlns:a16="http://schemas.microsoft.com/office/drawing/2014/main" id="{9D9FB51E-0A43-4F98-9B95-39324DC8645F}"/>
              </a:ext>
            </a:extLst>
          </p:cNvPr>
          <p:cNvSpPr/>
          <p:nvPr/>
        </p:nvSpPr>
        <p:spPr>
          <a:xfrm>
            <a:off x="7046671" y="3824747"/>
            <a:ext cx="1844752" cy="335280"/>
          </a:xfrm>
          <a:prstGeom prst="rect">
            <a:avLst/>
          </a:prstGeom>
        </p:spPr>
        <p:txBody>
          <a:bodyPr wrap="square">
            <a:spAutoFit/>
          </a:bodyPr>
          <a:lstStyle/>
          <a:p>
            <a:pPr>
              <a:buClr>
                <a:srgbClr val="E24848"/>
              </a:buClr>
              <a:defRPr/>
            </a:pPr>
            <a:r>
              <a:rPr b="1" lang="en-US" noProof="1" sz="1600">
                <a:solidFill>
                  <a:schemeClr val="tx1">
                    <a:lumMod val="75000"/>
                    <a:lumOff val="25000"/>
                  </a:schemeClr>
                </a:solidFill>
                <a:latin charset="-122" panose="020b0400000000000000" pitchFamily="34" typeface="思源黑体 CN Normal"/>
                <a:ea charset="-122" panose="020b0400000000000000" pitchFamily="34" typeface="思源黑体 CN Normal"/>
                <a:cs charset="0" panose="020b0306030504020204" pitchFamily="34" typeface="Open Sans Light"/>
              </a:rPr>
              <a:t>Instagram</a:t>
            </a:r>
          </a:p>
        </p:txBody>
      </p:sp>
      <p:sp>
        <p:nvSpPr>
          <p:cNvPr id="53" name="Rectangle 207">
            <a:extLst>
              <a:ext uri="{FF2B5EF4-FFF2-40B4-BE49-F238E27FC236}">
                <a16:creationId xmlns:a16="http://schemas.microsoft.com/office/drawing/2014/main" id="{FD2110B8-30FA-4B3A-8D75-A15225971A9A}"/>
              </a:ext>
            </a:extLst>
          </p:cNvPr>
          <p:cNvSpPr/>
          <p:nvPr/>
        </p:nvSpPr>
        <p:spPr>
          <a:xfrm>
            <a:off x="7046676" y="4120135"/>
            <a:ext cx="3527610" cy="571500"/>
          </a:xfrm>
          <a:prstGeom prst="rect">
            <a:avLst/>
          </a:prstGeom>
        </p:spPr>
        <p:txBody>
          <a:bodyPr wrap="square">
            <a:spAutoFit/>
          </a:bodyPr>
          <a:lstStyle/>
          <a:p>
            <a:pPr lvl="0">
              <a:lnSpc>
                <a:spcPct val="150000"/>
              </a:lnSpc>
            </a:pPr>
            <a:r>
              <a:rPr altLang="en-US" lang="zh-CN" sz="1050">
                <a:solidFill>
                  <a:prstClr val="black">
                    <a:lumMod val="75000"/>
                    <a:lumOff val="25000"/>
                  </a:prstClr>
                </a:solidFill>
                <a:latin charset="-122" panose="02010600030101010101" pitchFamily="2" typeface="等线"/>
              </a:rPr>
              <a:t>这里可以添加主要内容这里可以添加主要内容这里可以添加主要内容这里可以添加主要内容</a:t>
            </a:r>
          </a:p>
        </p:txBody>
      </p:sp>
      <p:sp>
        <p:nvSpPr>
          <p:cNvPr id="54" name="Rectangle 208">
            <a:extLst>
              <a:ext uri="{FF2B5EF4-FFF2-40B4-BE49-F238E27FC236}">
                <a16:creationId xmlns:a16="http://schemas.microsoft.com/office/drawing/2014/main" id="{D13CEBE0-7B86-497C-8E6F-497769F3EA05}"/>
              </a:ext>
            </a:extLst>
          </p:cNvPr>
          <p:cNvSpPr/>
          <p:nvPr/>
        </p:nvSpPr>
        <p:spPr>
          <a:xfrm>
            <a:off x="7046671" y="4606079"/>
            <a:ext cx="1844752" cy="335280"/>
          </a:xfrm>
          <a:prstGeom prst="rect">
            <a:avLst/>
          </a:prstGeom>
        </p:spPr>
        <p:txBody>
          <a:bodyPr wrap="square">
            <a:spAutoFit/>
          </a:bodyPr>
          <a:lstStyle/>
          <a:p>
            <a:pPr>
              <a:buClr>
                <a:srgbClr val="E24848"/>
              </a:buClr>
              <a:defRPr/>
            </a:pPr>
            <a:r>
              <a:rPr b="1" lang="en-US" noProof="1" sz="1600">
                <a:solidFill>
                  <a:schemeClr val="tx1">
                    <a:lumMod val="75000"/>
                    <a:lumOff val="25000"/>
                  </a:schemeClr>
                </a:solidFill>
                <a:latin charset="-122" panose="020b0400000000000000" pitchFamily="34" typeface="思源黑体 CN Normal"/>
                <a:ea charset="-122" panose="020b0400000000000000" pitchFamily="34" typeface="思源黑体 CN Normal"/>
                <a:cs charset="0" panose="020b0306030504020204" pitchFamily="34" typeface="Open Sans Light"/>
              </a:rPr>
              <a:t>Google +</a:t>
            </a:r>
          </a:p>
        </p:txBody>
      </p:sp>
      <p:sp>
        <p:nvSpPr>
          <p:cNvPr id="55" name="Rectangle 209">
            <a:extLst>
              <a:ext uri="{FF2B5EF4-FFF2-40B4-BE49-F238E27FC236}">
                <a16:creationId xmlns:a16="http://schemas.microsoft.com/office/drawing/2014/main" id="{FFE92032-5A60-453E-BE29-CC51862D697F}"/>
              </a:ext>
            </a:extLst>
          </p:cNvPr>
          <p:cNvSpPr/>
          <p:nvPr/>
        </p:nvSpPr>
        <p:spPr>
          <a:xfrm>
            <a:off x="7046676" y="4901462"/>
            <a:ext cx="3527610" cy="571500"/>
          </a:xfrm>
          <a:prstGeom prst="rect">
            <a:avLst/>
          </a:prstGeom>
        </p:spPr>
        <p:txBody>
          <a:bodyPr wrap="square">
            <a:spAutoFit/>
          </a:bodyPr>
          <a:lstStyle/>
          <a:p>
            <a:pPr lvl="0">
              <a:lnSpc>
                <a:spcPct val="150000"/>
              </a:lnSpc>
            </a:pPr>
            <a:r>
              <a:rPr altLang="en-US" lang="zh-CN" sz="1050">
                <a:solidFill>
                  <a:prstClr val="black">
                    <a:lumMod val="75000"/>
                    <a:lumOff val="25000"/>
                  </a:prstClr>
                </a:solidFill>
                <a:latin charset="-122" panose="02010600030101010101" pitchFamily="2" typeface="等线"/>
              </a:rPr>
              <a:t>这里可以添加主要内容这里可以添加主要内容这里可以添加主要内容这里可以添加主要内容</a:t>
            </a:r>
          </a:p>
        </p:txBody>
      </p:sp>
    </p:spTree>
    <p:extLst>
      <p:ext uri="{BB962C8B-B14F-4D97-AF65-F5344CB8AC3E}">
        <p14:creationId val="2181836365"/>
      </p:ext>
    </p:extLst>
  </p:cSld>
  <p:clrMapOvr>
    <a:masterClrMapping/>
  </p:clrMapOvr>
  <mc:AlternateContent>
    <mc:Choice Requires="p14">
      <p:transition p14:dur="1500" spd="slow">
        <p:random/>
      </p:transition>
    </mc:Choice>
    <mc:Fallback>
      <p:transition spd="slow">
        <p:random/>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decel="100000" fill="hold" grpId="0" id="5" nodeType="withEffect" presetClass="entr" presetID="50" presetSubtype="0">
                                  <p:stCondLst>
                                    <p:cond delay="0"/>
                                  </p:stCondLst>
                                  <p:childTnLst>
                                    <p:set>
                                      <p:cBhvr>
                                        <p:cTn dur="1" fill="hold" id="6">
                                          <p:stCondLst>
                                            <p:cond delay="0"/>
                                          </p:stCondLst>
                                        </p:cTn>
                                        <p:tgtEl>
                                          <p:spTgt spid="10"/>
                                        </p:tgtEl>
                                        <p:attrNameLst>
                                          <p:attrName>style.visibility</p:attrName>
                                        </p:attrNameLst>
                                      </p:cBhvr>
                                      <p:to>
                                        <p:strVal val="visible"/>
                                      </p:to>
                                    </p:set>
                                    <p:anim calcmode="lin" valueType="num">
                                      <p:cBhvr>
                                        <p:cTn dur="1000" fill="hold" id="7"/>
                                        <p:tgtEl>
                                          <p:spTgt spid="10"/>
                                        </p:tgtEl>
                                        <p:attrNameLst>
                                          <p:attrName>ppt_w</p:attrName>
                                        </p:attrNameLst>
                                      </p:cBhvr>
                                      <p:tavLst>
                                        <p:tav tm="0">
                                          <p:val>
                                            <p:strVal val="#ppt_w+.3"/>
                                          </p:val>
                                        </p:tav>
                                        <p:tav tm="100000">
                                          <p:val>
                                            <p:strVal val="#ppt_w"/>
                                          </p:val>
                                        </p:tav>
                                      </p:tavLst>
                                    </p:anim>
                                    <p:anim calcmode="lin" valueType="num">
                                      <p:cBhvr>
                                        <p:cTn dur="1000" fill="hold" id="8"/>
                                        <p:tgtEl>
                                          <p:spTgt spid="10"/>
                                        </p:tgtEl>
                                        <p:attrNameLst>
                                          <p:attrName>ppt_h</p:attrName>
                                        </p:attrNameLst>
                                      </p:cBhvr>
                                      <p:tavLst>
                                        <p:tav tm="0">
                                          <p:val>
                                            <p:strVal val="#ppt_h"/>
                                          </p:val>
                                        </p:tav>
                                        <p:tav tm="100000">
                                          <p:val>
                                            <p:strVal val="#ppt_h"/>
                                          </p:val>
                                        </p:tav>
                                      </p:tavLst>
                                    </p:anim>
                                    <p:animEffect filter="fade" transition="in">
                                      <p:cBhvr>
                                        <p:cTn dur="1000" id="9"/>
                                        <p:tgtEl>
                                          <p:spTgt spid="10"/>
                                        </p:tgtEl>
                                      </p:cBhvr>
                                    </p:animEffect>
                                  </p:childTnLst>
                                </p:cTn>
                              </p:par>
                              <p:par>
                                <p:cTn fill="hold" id="10" nodeType="withEffect" presetClass="entr" presetID="53" presetSubtype="0">
                                  <p:stCondLst>
                                    <p:cond delay="250"/>
                                  </p:stCondLst>
                                  <p:childTnLst>
                                    <p:set>
                                      <p:cBhvr>
                                        <p:cTn dur="1" fill="hold" id="11">
                                          <p:stCondLst>
                                            <p:cond delay="0"/>
                                          </p:stCondLst>
                                        </p:cTn>
                                        <p:tgtEl>
                                          <p:spTgt spid="15"/>
                                        </p:tgtEl>
                                        <p:attrNameLst>
                                          <p:attrName>style.visibility</p:attrName>
                                        </p:attrNameLst>
                                      </p:cBhvr>
                                      <p:to>
                                        <p:strVal val="visible"/>
                                      </p:to>
                                    </p:set>
                                    <p:anim calcmode="lin" valueType="num">
                                      <p:cBhvr>
                                        <p:cTn dur="500" fill="hold" id="12"/>
                                        <p:tgtEl>
                                          <p:spTgt spid="15"/>
                                        </p:tgtEl>
                                        <p:attrNameLst>
                                          <p:attrName>ppt_w</p:attrName>
                                        </p:attrNameLst>
                                      </p:cBhvr>
                                      <p:tavLst>
                                        <p:tav tm="0">
                                          <p:val>
                                            <p:fltVal val="0"/>
                                          </p:val>
                                        </p:tav>
                                        <p:tav tm="100000">
                                          <p:val>
                                            <p:strVal val="#ppt_w"/>
                                          </p:val>
                                        </p:tav>
                                      </p:tavLst>
                                    </p:anim>
                                    <p:anim calcmode="lin" valueType="num">
                                      <p:cBhvr>
                                        <p:cTn dur="500" fill="hold" id="13"/>
                                        <p:tgtEl>
                                          <p:spTgt spid="15"/>
                                        </p:tgtEl>
                                        <p:attrNameLst>
                                          <p:attrName>ppt_h</p:attrName>
                                        </p:attrNameLst>
                                      </p:cBhvr>
                                      <p:tavLst>
                                        <p:tav tm="0">
                                          <p:val>
                                            <p:fltVal val="0"/>
                                          </p:val>
                                        </p:tav>
                                        <p:tav tm="100000">
                                          <p:val>
                                            <p:strVal val="#ppt_h"/>
                                          </p:val>
                                        </p:tav>
                                      </p:tavLst>
                                    </p:anim>
                                    <p:animEffect filter="fade" transition="in">
                                      <p:cBhvr>
                                        <p:cTn dur="500" id="14"/>
                                        <p:tgtEl>
                                          <p:spTgt spid="15"/>
                                        </p:tgtEl>
                                      </p:cBhvr>
                                    </p:animEffect>
                                  </p:childTnLst>
                                </p:cTn>
                              </p:par>
                              <p:par>
                                <p:cTn fill="hold" id="15" nodeType="withEffect" presetClass="entr" presetID="53" presetSubtype="0">
                                  <p:stCondLst>
                                    <p:cond delay="250"/>
                                  </p:stCondLst>
                                  <p:childTnLst>
                                    <p:set>
                                      <p:cBhvr>
                                        <p:cTn dur="1" fill="hold" id="16">
                                          <p:stCondLst>
                                            <p:cond delay="0"/>
                                          </p:stCondLst>
                                        </p:cTn>
                                        <p:tgtEl>
                                          <p:spTgt spid="16"/>
                                        </p:tgtEl>
                                        <p:attrNameLst>
                                          <p:attrName>style.visibility</p:attrName>
                                        </p:attrNameLst>
                                      </p:cBhvr>
                                      <p:to>
                                        <p:strVal val="visible"/>
                                      </p:to>
                                    </p:set>
                                    <p:anim calcmode="lin" valueType="num">
                                      <p:cBhvr>
                                        <p:cTn dur="500" fill="hold" id="17"/>
                                        <p:tgtEl>
                                          <p:spTgt spid="16"/>
                                        </p:tgtEl>
                                        <p:attrNameLst>
                                          <p:attrName>ppt_w</p:attrName>
                                        </p:attrNameLst>
                                      </p:cBhvr>
                                      <p:tavLst>
                                        <p:tav tm="0">
                                          <p:val>
                                            <p:fltVal val="0"/>
                                          </p:val>
                                        </p:tav>
                                        <p:tav tm="100000">
                                          <p:val>
                                            <p:strVal val="#ppt_w"/>
                                          </p:val>
                                        </p:tav>
                                      </p:tavLst>
                                    </p:anim>
                                    <p:anim calcmode="lin" valueType="num">
                                      <p:cBhvr>
                                        <p:cTn dur="500" fill="hold" id="18"/>
                                        <p:tgtEl>
                                          <p:spTgt spid="16"/>
                                        </p:tgtEl>
                                        <p:attrNameLst>
                                          <p:attrName>ppt_h</p:attrName>
                                        </p:attrNameLst>
                                      </p:cBhvr>
                                      <p:tavLst>
                                        <p:tav tm="0">
                                          <p:val>
                                            <p:fltVal val="0"/>
                                          </p:val>
                                        </p:tav>
                                        <p:tav tm="100000">
                                          <p:val>
                                            <p:strVal val="#ppt_h"/>
                                          </p:val>
                                        </p:tav>
                                      </p:tavLst>
                                    </p:anim>
                                    <p:animEffect filter="fade" transition="in">
                                      <p:cBhvr>
                                        <p:cTn dur="500" id="19"/>
                                        <p:tgtEl>
                                          <p:spTgt spid="16"/>
                                        </p:tgtEl>
                                      </p:cBhvr>
                                    </p:animEffect>
                                  </p:childTnLst>
                                </p:cTn>
                              </p:par>
                              <p:par>
                                <p:cTn fill="hold" id="20" nodeType="withEffect" presetClass="entr" presetID="22" presetSubtype="8">
                                  <p:stCondLst>
                                    <p:cond delay="750"/>
                                  </p:stCondLst>
                                  <p:childTnLst>
                                    <p:set>
                                      <p:cBhvr>
                                        <p:cTn dur="1" fill="hold" id="21">
                                          <p:stCondLst>
                                            <p:cond delay="0"/>
                                          </p:stCondLst>
                                        </p:cTn>
                                        <p:tgtEl>
                                          <p:spTgt spid="13"/>
                                        </p:tgtEl>
                                        <p:attrNameLst>
                                          <p:attrName>style.visibility</p:attrName>
                                        </p:attrNameLst>
                                      </p:cBhvr>
                                      <p:to>
                                        <p:strVal val="visible"/>
                                      </p:to>
                                    </p:set>
                                    <p:animEffect filter="wipe(left)" transition="in">
                                      <p:cBhvr>
                                        <p:cTn dur="250" id="22"/>
                                        <p:tgtEl>
                                          <p:spTgt spid="13"/>
                                        </p:tgtEl>
                                      </p:cBhvr>
                                    </p:animEffect>
                                  </p:childTnLst>
                                </p:cTn>
                              </p:par>
                              <p:par>
                                <p:cTn fill="hold" id="23" nodeType="withEffect" presetClass="entr" presetID="22" presetSubtype="2">
                                  <p:stCondLst>
                                    <p:cond delay="750"/>
                                  </p:stCondLst>
                                  <p:childTnLst>
                                    <p:set>
                                      <p:cBhvr>
                                        <p:cTn dur="1" fill="hold" id="24">
                                          <p:stCondLst>
                                            <p:cond delay="0"/>
                                          </p:stCondLst>
                                        </p:cTn>
                                        <p:tgtEl>
                                          <p:spTgt spid="18"/>
                                        </p:tgtEl>
                                        <p:attrNameLst>
                                          <p:attrName>style.visibility</p:attrName>
                                        </p:attrNameLst>
                                      </p:cBhvr>
                                      <p:to>
                                        <p:strVal val="visible"/>
                                      </p:to>
                                    </p:set>
                                    <p:animEffect filter="wipe(right)" transition="in">
                                      <p:cBhvr>
                                        <p:cTn dur="250" id="25"/>
                                        <p:tgtEl>
                                          <p:spTgt spid="18"/>
                                        </p:tgtEl>
                                      </p:cBhvr>
                                    </p:animEffect>
                                  </p:childTnLst>
                                </p:cTn>
                              </p:par>
                            </p:childTnLst>
                          </p:cTn>
                        </p:par>
                        <p:par>
                          <p:cTn fill="hold" id="26" nodeType="afterGroup">
                            <p:stCondLst>
                              <p:cond delay="1000"/>
                            </p:stCondLst>
                            <p:childTnLst>
                              <p:par>
                                <p:cTn fill="hold" grpId="0" id="27" nodeType="afterEffect" presetClass="entr" presetID="42" presetSubtype="0">
                                  <p:stCondLst>
                                    <p:cond delay="0"/>
                                  </p:stCondLst>
                                  <p:childTnLst>
                                    <p:set>
                                      <p:cBhvr>
                                        <p:cTn dur="1" fill="hold" id="28">
                                          <p:stCondLst>
                                            <p:cond delay="0"/>
                                          </p:stCondLst>
                                        </p:cTn>
                                        <p:tgtEl>
                                          <p:spTgt spid="26"/>
                                        </p:tgtEl>
                                        <p:attrNameLst>
                                          <p:attrName>style.visibility</p:attrName>
                                        </p:attrNameLst>
                                      </p:cBhvr>
                                      <p:to>
                                        <p:strVal val="visible"/>
                                      </p:to>
                                    </p:set>
                                    <p:animEffect filter="fade" transition="in">
                                      <p:cBhvr>
                                        <p:cTn dur="1000" id="29"/>
                                        <p:tgtEl>
                                          <p:spTgt spid="26"/>
                                        </p:tgtEl>
                                      </p:cBhvr>
                                    </p:animEffect>
                                    <p:anim calcmode="lin" valueType="num">
                                      <p:cBhvr>
                                        <p:cTn dur="1000" fill="hold" id="30"/>
                                        <p:tgtEl>
                                          <p:spTgt spid="26"/>
                                        </p:tgtEl>
                                        <p:attrNameLst>
                                          <p:attrName>ppt_x</p:attrName>
                                        </p:attrNameLst>
                                      </p:cBhvr>
                                      <p:tavLst>
                                        <p:tav tm="0">
                                          <p:val>
                                            <p:strVal val="#ppt_x"/>
                                          </p:val>
                                        </p:tav>
                                        <p:tav tm="100000">
                                          <p:val>
                                            <p:strVal val="#ppt_x"/>
                                          </p:val>
                                        </p:tav>
                                      </p:tavLst>
                                    </p:anim>
                                    <p:anim calcmode="lin" valueType="num">
                                      <p:cBhvr>
                                        <p:cTn dur="1000" fill="hold" id="31"/>
                                        <p:tgtEl>
                                          <p:spTgt spid="26"/>
                                        </p:tgtEl>
                                        <p:attrNameLst>
                                          <p:attrName>ppt_y</p:attrName>
                                        </p:attrNameLst>
                                      </p:cBhvr>
                                      <p:tavLst>
                                        <p:tav tm="0">
                                          <p:val>
                                            <p:strVal val="#ppt_y+.1"/>
                                          </p:val>
                                        </p:tav>
                                        <p:tav tm="100000">
                                          <p:val>
                                            <p:strVal val="#ppt_y"/>
                                          </p:val>
                                        </p:tav>
                                      </p:tavLst>
                                    </p:anim>
                                  </p:childTnLst>
                                </p:cTn>
                              </p:par>
                            </p:childTnLst>
                          </p:cTn>
                        </p:par>
                        <p:par>
                          <p:cTn fill="hold" id="32" nodeType="afterGroup">
                            <p:stCondLst>
                              <p:cond delay="2000"/>
                            </p:stCondLst>
                            <p:childTnLst>
                              <p:par>
                                <p:cTn fill="hold" grpId="0" id="33" nodeType="afterEffect" presetClass="entr" presetID="2" presetSubtype="8">
                                  <p:stCondLst>
                                    <p:cond delay="0"/>
                                  </p:stCondLst>
                                  <p:childTnLst>
                                    <p:set>
                                      <p:cBhvr>
                                        <p:cTn dur="1" fill="hold" id="34">
                                          <p:stCondLst>
                                            <p:cond delay="0"/>
                                          </p:stCondLst>
                                        </p:cTn>
                                        <p:tgtEl>
                                          <p:spTgt spid="11"/>
                                        </p:tgtEl>
                                        <p:attrNameLst>
                                          <p:attrName>style.visibility</p:attrName>
                                        </p:attrNameLst>
                                      </p:cBhvr>
                                      <p:to>
                                        <p:strVal val="visible"/>
                                      </p:to>
                                    </p:set>
                                    <p:anim calcmode="lin" valueType="num">
                                      <p:cBhvr additive="base">
                                        <p:cTn dur="500" fill="hold" id="35"/>
                                        <p:tgtEl>
                                          <p:spTgt spid="11"/>
                                        </p:tgtEl>
                                        <p:attrNameLst>
                                          <p:attrName>ppt_x</p:attrName>
                                        </p:attrNameLst>
                                      </p:cBhvr>
                                      <p:tavLst>
                                        <p:tav tm="0">
                                          <p:val>
                                            <p:strVal val="0-#ppt_w/2"/>
                                          </p:val>
                                        </p:tav>
                                        <p:tav tm="100000">
                                          <p:val>
                                            <p:strVal val="#ppt_x"/>
                                          </p:val>
                                        </p:tav>
                                      </p:tavLst>
                                    </p:anim>
                                    <p:anim calcmode="lin" valueType="num">
                                      <p:cBhvr additive="base">
                                        <p:cTn dur="500" fill="hold" id="36"/>
                                        <p:tgtEl>
                                          <p:spTgt spid="11"/>
                                        </p:tgtEl>
                                        <p:attrNameLst>
                                          <p:attrName>ppt_y</p:attrName>
                                        </p:attrNameLst>
                                      </p:cBhvr>
                                      <p:tavLst>
                                        <p:tav tm="0">
                                          <p:val>
                                            <p:strVal val="#ppt_y"/>
                                          </p:val>
                                        </p:tav>
                                        <p:tav tm="100000">
                                          <p:val>
                                            <p:strVal val="#ppt_y"/>
                                          </p:val>
                                        </p:tav>
                                      </p:tavLst>
                                    </p:anim>
                                  </p:childTnLst>
                                </p:cTn>
                              </p:par>
                              <p:par>
                                <p:cTn fill="hold" grpId="0" id="37" nodeType="withEffect" presetClass="entr" presetID="2" presetSubtype="8">
                                  <p:stCondLst>
                                    <p:cond delay="0"/>
                                  </p:stCondLst>
                                  <p:childTnLst>
                                    <p:set>
                                      <p:cBhvr>
                                        <p:cTn dur="1" fill="hold" id="38">
                                          <p:stCondLst>
                                            <p:cond delay="0"/>
                                          </p:stCondLst>
                                        </p:cTn>
                                        <p:tgtEl>
                                          <p:spTgt spid="12"/>
                                        </p:tgtEl>
                                        <p:attrNameLst>
                                          <p:attrName>style.visibility</p:attrName>
                                        </p:attrNameLst>
                                      </p:cBhvr>
                                      <p:to>
                                        <p:strVal val="visible"/>
                                      </p:to>
                                    </p:set>
                                    <p:anim calcmode="lin" valueType="num">
                                      <p:cBhvr additive="base">
                                        <p:cTn dur="500" fill="hold" id="39"/>
                                        <p:tgtEl>
                                          <p:spTgt spid="12"/>
                                        </p:tgtEl>
                                        <p:attrNameLst>
                                          <p:attrName>ppt_x</p:attrName>
                                        </p:attrNameLst>
                                      </p:cBhvr>
                                      <p:tavLst>
                                        <p:tav tm="0">
                                          <p:val>
                                            <p:strVal val="0-#ppt_w/2"/>
                                          </p:val>
                                        </p:tav>
                                        <p:tav tm="100000">
                                          <p:val>
                                            <p:strVal val="#ppt_x"/>
                                          </p:val>
                                        </p:tav>
                                      </p:tavLst>
                                    </p:anim>
                                    <p:anim calcmode="lin" valueType="num">
                                      <p:cBhvr additive="base">
                                        <p:cTn dur="500" fill="hold" id="40"/>
                                        <p:tgtEl>
                                          <p:spTgt spid="12"/>
                                        </p:tgtEl>
                                        <p:attrNameLst>
                                          <p:attrName>ppt_y</p:attrName>
                                        </p:attrNameLst>
                                      </p:cBhvr>
                                      <p:tavLst>
                                        <p:tav tm="0">
                                          <p:val>
                                            <p:strVal val="#ppt_y"/>
                                          </p:val>
                                        </p:tav>
                                        <p:tav tm="100000">
                                          <p:val>
                                            <p:strVal val="#ppt_y"/>
                                          </p:val>
                                        </p:tav>
                                      </p:tavLst>
                                    </p:anim>
                                  </p:childTnLst>
                                </p:cTn>
                              </p:par>
                              <p:par>
                                <p:cTn fill="hold" id="41" nodeType="withEffect" presetClass="entr" presetID="2" presetSubtype="8">
                                  <p:stCondLst>
                                    <p:cond delay="0"/>
                                  </p:stCondLst>
                                  <p:childTnLst>
                                    <p:set>
                                      <p:cBhvr>
                                        <p:cTn dur="1" fill="hold" id="42">
                                          <p:stCondLst>
                                            <p:cond delay="0"/>
                                          </p:stCondLst>
                                        </p:cTn>
                                        <p:tgtEl>
                                          <p:spTgt spid="14"/>
                                        </p:tgtEl>
                                        <p:attrNameLst>
                                          <p:attrName>style.visibility</p:attrName>
                                        </p:attrNameLst>
                                      </p:cBhvr>
                                      <p:to>
                                        <p:strVal val="visible"/>
                                      </p:to>
                                    </p:set>
                                    <p:anim calcmode="lin" valueType="num">
                                      <p:cBhvr additive="base">
                                        <p:cTn dur="500" fill="hold" id="43"/>
                                        <p:tgtEl>
                                          <p:spTgt spid="14"/>
                                        </p:tgtEl>
                                        <p:attrNameLst>
                                          <p:attrName>ppt_x</p:attrName>
                                        </p:attrNameLst>
                                      </p:cBhvr>
                                      <p:tavLst>
                                        <p:tav tm="0">
                                          <p:val>
                                            <p:strVal val="0-#ppt_w/2"/>
                                          </p:val>
                                        </p:tav>
                                        <p:tav tm="100000">
                                          <p:val>
                                            <p:strVal val="#ppt_x"/>
                                          </p:val>
                                        </p:tav>
                                      </p:tavLst>
                                    </p:anim>
                                    <p:anim calcmode="lin" valueType="num">
                                      <p:cBhvr additive="base">
                                        <p:cTn dur="500" fill="hold" id="44"/>
                                        <p:tgtEl>
                                          <p:spTgt spid="14"/>
                                        </p:tgtEl>
                                        <p:attrNameLst>
                                          <p:attrName>ppt_y</p:attrName>
                                        </p:attrNameLst>
                                      </p:cBhvr>
                                      <p:tavLst>
                                        <p:tav tm="0">
                                          <p:val>
                                            <p:strVal val="#ppt_y"/>
                                          </p:val>
                                        </p:tav>
                                        <p:tav tm="100000">
                                          <p:val>
                                            <p:strVal val="#ppt_y"/>
                                          </p:val>
                                        </p:tav>
                                      </p:tavLst>
                                    </p:anim>
                                  </p:childTnLst>
                                </p:cTn>
                              </p:par>
                              <p:par>
                                <p:cTn fill="hold" id="45" nodeType="withEffect" presetClass="entr" presetID="2" presetSubtype="8">
                                  <p:stCondLst>
                                    <p:cond delay="0"/>
                                  </p:stCondLst>
                                  <p:childTnLst>
                                    <p:set>
                                      <p:cBhvr>
                                        <p:cTn dur="1" fill="hold" id="46">
                                          <p:stCondLst>
                                            <p:cond delay="0"/>
                                          </p:stCondLst>
                                        </p:cTn>
                                        <p:tgtEl>
                                          <p:spTgt spid="22"/>
                                        </p:tgtEl>
                                        <p:attrNameLst>
                                          <p:attrName>style.visibility</p:attrName>
                                        </p:attrNameLst>
                                      </p:cBhvr>
                                      <p:to>
                                        <p:strVal val="visible"/>
                                      </p:to>
                                    </p:set>
                                    <p:anim calcmode="lin" valueType="num">
                                      <p:cBhvr additive="base">
                                        <p:cTn dur="500" fill="hold" id="47"/>
                                        <p:tgtEl>
                                          <p:spTgt spid="22"/>
                                        </p:tgtEl>
                                        <p:attrNameLst>
                                          <p:attrName>ppt_x</p:attrName>
                                        </p:attrNameLst>
                                      </p:cBhvr>
                                      <p:tavLst>
                                        <p:tav tm="0">
                                          <p:val>
                                            <p:strVal val="0-#ppt_w/2"/>
                                          </p:val>
                                        </p:tav>
                                        <p:tav tm="100000">
                                          <p:val>
                                            <p:strVal val="#ppt_x"/>
                                          </p:val>
                                        </p:tav>
                                      </p:tavLst>
                                    </p:anim>
                                    <p:anim calcmode="lin" valueType="num">
                                      <p:cBhvr additive="base">
                                        <p:cTn dur="500" fill="hold" id="48"/>
                                        <p:tgtEl>
                                          <p:spTgt spid="22"/>
                                        </p:tgtEl>
                                        <p:attrNameLst>
                                          <p:attrName>ppt_y</p:attrName>
                                        </p:attrNameLst>
                                      </p:cBhvr>
                                      <p:tavLst>
                                        <p:tav tm="0">
                                          <p:val>
                                            <p:strVal val="#ppt_y"/>
                                          </p:val>
                                        </p:tav>
                                        <p:tav tm="100000">
                                          <p:val>
                                            <p:strVal val="#ppt_y"/>
                                          </p:val>
                                        </p:tav>
                                      </p:tavLst>
                                    </p:anim>
                                  </p:childTnLst>
                                </p:cTn>
                              </p:par>
                            </p:childTnLst>
                          </p:cTn>
                        </p:par>
                        <p:par>
                          <p:cTn fill="hold" id="49" nodeType="afterGroup">
                            <p:stCondLst>
                              <p:cond delay="2500"/>
                            </p:stCondLst>
                            <p:childTnLst>
                              <p:par>
                                <p:cTn fill="hold" grpId="0" id="50" nodeType="afterEffect" presetClass="entr" presetID="2" presetSubtype="4">
                                  <p:stCondLst>
                                    <p:cond delay="0"/>
                                  </p:stCondLst>
                                  <p:childTnLst>
                                    <p:set>
                                      <p:cBhvr>
                                        <p:cTn dur="1" fill="hold" id="51">
                                          <p:stCondLst>
                                            <p:cond delay="0"/>
                                          </p:stCondLst>
                                        </p:cTn>
                                        <p:tgtEl>
                                          <p:spTgt spid="37"/>
                                        </p:tgtEl>
                                        <p:attrNameLst>
                                          <p:attrName>style.visibility</p:attrName>
                                        </p:attrNameLst>
                                      </p:cBhvr>
                                      <p:to>
                                        <p:strVal val="visible"/>
                                      </p:to>
                                    </p:set>
                                    <p:anim calcmode="lin" valueType="num">
                                      <p:cBhvr additive="base">
                                        <p:cTn dur="500" fill="hold" id="52"/>
                                        <p:tgtEl>
                                          <p:spTgt spid="37"/>
                                        </p:tgtEl>
                                        <p:attrNameLst>
                                          <p:attrName>ppt_x</p:attrName>
                                        </p:attrNameLst>
                                      </p:cBhvr>
                                      <p:tavLst>
                                        <p:tav tm="0">
                                          <p:val>
                                            <p:strVal val="#ppt_x"/>
                                          </p:val>
                                        </p:tav>
                                        <p:tav tm="100000">
                                          <p:val>
                                            <p:strVal val="#ppt_x"/>
                                          </p:val>
                                        </p:tav>
                                      </p:tavLst>
                                    </p:anim>
                                    <p:anim calcmode="lin" valueType="num">
                                      <p:cBhvr additive="base">
                                        <p:cTn dur="500" fill="hold" id="53"/>
                                        <p:tgtEl>
                                          <p:spTgt spid="37"/>
                                        </p:tgtEl>
                                        <p:attrNameLst>
                                          <p:attrName>ppt_y</p:attrName>
                                        </p:attrNameLst>
                                      </p:cBhvr>
                                      <p:tavLst>
                                        <p:tav tm="0">
                                          <p:val>
                                            <p:strVal val="1+#ppt_h/2"/>
                                          </p:val>
                                        </p:tav>
                                        <p:tav tm="100000">
                                          <p:val>
                                            <p:strVal val="#ppt_y"/>
                                          </p:val>
                                        </p:tav>
                                      </p:tavLst>
                                    </p:anim>
                                  </p:childTnLst>
                                </p:cTn>
                              </p:par>
                              <p:par>
                                <p:cTn fill="hold" grpId="0" id="54" nodeType="withEffect" presetClass="entr" presetID="2" presetSubtype="4">
                                  <p:stCondLst>
                                    <p:cond delay="0"/>
                                  </p:stCondLst>
                                  <p:childTnLst>
                                    <p:set>
                                      <p:cBhvr>
                                        <p:cTn dur="1" fill="hold" id="55">
                                          <p:stCondLst>
                                            <p:cond delay="0"/>
                                          </p:stCondLst>
                                        </p:cTn>
                                        <p:tgtEl>
                                          <p:spTgt spid="38"/>
                                        </p:tgtEl>
                                        <p:attrNameLst>
                                          <p:attrName>style.visibility</p:attrName>
                                        </p:attrNameLst>
                                      </p:cBhvr>
                                      <p:to>
                                        <p:strVal val="visible"/>
                                      </p:to>
                                    </p:set>
                                    <p:anim calcmode="lin" valueType="num">
                                      <p:cBhvr additive="base">
                                        <p:cTn dur="500" fill="hold" id="56"/>
                                        <p:tgtEl>
                                          <p:spTgt spid="38"/>
                                        </p:tgtEl>
                                        <p:attrNameLst>
                                          <p:attrName>ppt_x</p:attrName>
                                        </p:attrNameLst>
                                      </p:cBhvr>
                                      <p:tavLst>
                                        <p:tav tm="0">
                                          <p:val>
                                            <p:strVal val="#ppt_x"/>
                                          </p:val>
                                        </p:tav>
                                        <p:tav tm="100000">
                                          <p:val>
                                            <p:strVal val="#ppt_x"/>
                                          </p:val>
                                        </p:tav>
                                      </p:tavLst>
                                    </p:anim>
                                    <p:anim calcmode="lin" valueType="num">
                                      <p:cBhvr additive="base">
                                        <p:cTn dur="500" fill="hold" id="57"/>
                                        <p:tgtEl>
                                          <p:spTgt spid="38"/>
                                        </p:tgtEl>
                                        <p:attrNameLst>
                                          <p:attrName>ppt_y</p:attrName>
                                        </p:attrNameLst>
                                      </p:cBhvr>
                                      <p:tavLst>
                                        <p:tav tm="0">
                                          <p:val>
                                            <p:strVal val="1+#ppt_h/2"/>
                                          </p:val>
                                        </p:tav>
                                        <p:tav tm="100000">
                                          <p:val>
                                            <p:strVal val="#ppt_y"/>
                                          </p:val>
                                        </p:tav>
                                      </p:tavLst>
                                    </p:anim>
                                  </p:childTnLst>
                                </p:cTn>
                              </p:par>
                              <p:par>
                                <p:cTn fill="hold" id="58" nodeType="withEffect" presetClass="entr" presetID="2" presetSubtype="4">
                                  <p:stCondLst>
                                    <p:cond delay="0"/>
                                  </p:stCondLst>
                                  <p:childTnLst>
                                    <p:set>
                                      <p:cBhvr>
                                        <p:cTn dur="1" fill="hold" id="59">
                                          <p:stCondLst>
                                            <p:cond delay="0"/>
                                          </p:stCondLst>
                                        </p:cTn>
                                        <p:tgtEl>
                                          <p:spTgt spid="39"/>
                                        </p:tgtEl>
                                        <p:attrNameLst>
                                          <p:attrName>style.visibility</p:attrName>
                                        </p:attrNameLst>
                                      </p:cBhvr>
                                      <p:to>
                                        <p:strVal val="visible"/>
                                      </p:to>
                                    </p:set>
                                    <p:anim calcmode="lin" valueType="num">
                                      <p:cBhvr additive="base">
                                        <p:cTn dur="500" fill="hold" id="60"/>
                                        <p:tgtEl>
                                          <p:spTgt spid="39"/>
                                        </p:tgtEl>
                                        <p:attrNameLst>
                                          <p:attrName>ppt_x</p:attrName>
                                        </p:attrNameLst>
                                      </p:cBhvr>
                                      <p:tavLst>
                                        <p:tav tm="0">
                                          <p:val>
                                            <p:strVal val="#ppt_x"/>
                                          </p:val>
                                        </p:tav>
                                        <p:tav tm="100000">
                                          <p:val>
                                            <p:strVal val="#ppt_x"/>
                                          </p:val>
                                        </p:tav>
                                      </p:tavLst>
                                    </p:anim>
                                    <p:anim calcmode="lin" valueType="num">
                                      <p:cBhvr additive="base">
                                        <p:cTn dur="500" fill="hold" id="61"/>
                                        <p:tgtEl>
                                          <p:spTgt spid="39"/>
                                        </p:tgtEl>
                                        <p:attrNameLst>
                                          <p:attrName>ppt_y</p:attrName>
                                        </p:attrNameLst>
                                      </p:cBhvr>
                                      <p:tavLst>
                                        <p:tav tm="0">
                                          <p:val>
                                            <p:strVal val="1+#ppt_h/2"/>
                                          </p:val>
                                        </p:tav>
                                        <p:tav tm="100000">
                                          <p:val>
                                            <p:strVal val="#ppt_y"/>
                                          </p:val>
                                        </p:tav>
                                      </p:tavLst>
                                    </p:anim>
                                  </p:childTnLst>
                                </p:cTn>
                              </p:par>
                              <p:par>
                                <p:cTn fill="hold" id="62" nodeType="withEffect" presetClass="entr" presetID="2" presetSubtype="4">
                                  <p:stCondLst>
                                    <p:cond delay="0"/>
                                  </p:stCondLst>
                                  <p:childTnLst>
                                    <p:set>
                                      <p:cBhvr>
                                        <p:cTn dur="1" fill="hold" id="63">
                                          <p:stCondLst>
                                            <p:cond delay="0"/>
                                          </p:stCondLst>
                                        </p:cTn>
                                        <p:tgtEl>
                                          <p:spTgt spid="44"/>
                                        </p:tgtEl>
                                        <p:attrNameLst>
                                          <p:attrName>style.visibility</p:attrName>
                                        </p:attrNameLst>
                                      </p:cBhvr>
                                      <p:to>
                                        <p:strVal val="visible"/>
                                      </p:to>
                                    </p:set>
                                    <p:anim calcmode="lin" valueType="num">
                                      <p:cBhvr additive="base">
                                        <p:cTn dur="500" fill="hold" id="64"/>
                                        <p:tgtEl>
                                          <p:spTgt spid="44"/>
                                        </p:tgtEl>
                                        <p:attrNameLst>
                                          <p:attrName>ppt_x</p:attrName>
                                        </p:attrNameLst>
                                      </p:cBhvr>
                                      <p:tavLst>
                                        <p:tav tm="0">
                                          <p:val>
                                            <p:strVal val="#ppt_x"/>
                                          </p:val>
                                        </p:tav>
                                        <p:tav tm="100000">
                                          <p:val>
                                            <p:strVal val="#ppt_x"/>
                                          </p:val>
                                        </p:tav>
                                      </p:tavLst>
                                    </p:anim>
                                    <p:anim calcmode="lin" valueType="num">
                                      <p:cBhvr additive="base">
                                        <p:cTn dur="500" fill="hold" id="65"/>
                                        <p:tgtEl>
                                          <p:spTgt spid="44"/>
                                        </p:tgtEl>
                                        <p:attrNameLst>
                                          <p:attrName>ppt_y</p:attrName>
                                        </p:attrNameLst>
                                      </p:cBhvr>
                                      <p:tavLst>
                                        <p:tav tm="0">
                                          <p:val>
                                            <p:strVal val="1+#ppt_h/2"/>
                                          </p:val>
                                        </p:tav>
                                        <p:tav tm="100000">
                                          <p:val>
                                            <p:strVal val="#ppt_y"/>
                                          </p:val>
                                        </p:tav>
                                      </p:tavLst>
                                    </p:anim>
                                  </p:childTnLst>
                                </p:cTn>
                              </p:par>
                            </p:childTnLst>
                          </p:cTn>
                        </p:par>
                        <p:par>
                          <p:cTn fill="hold" id="66" nodeType="afterGroup">
                            <p:stCondLst>
                              <p:cond delay="3000"/>
                            </p:stCondLst>
                            <p:childTnLst>
                              <p:par>
                                <p:cTn fill="hold" grpId="0" id="67" nodeType="afterEffect" presetClass="entr" presetID="22" presetSubtype="8">
                                  <p:stCondLst>
                                    <p:cond delay="0"/>
                                  </p:stCondLst>
                                  <p:childTnLst>
                                    <p:set>
                                      <p:cBhvr>
                                        <p:cTn dur="1" fill="hold" id="68">
                                          <p:stCondLst>
                                            <p:cond delay="0"/>
                                          </p:stCondLst>
                                        </p:cTn>
                                        <p:tgtEl>
                                          <p:spTgt spid="48"/>
                                        </p:tgtEl>
                                        <p:attrNameLst>
                                          <p:attrName>style.visibility</p:attrName>
                                        </p:attrNameLst>
                                      </p:cBhvr>
                                      <p:to>
                                        <p:strVal val="visible"/>
                                      </p:to>
                                    </p:set>
                                    <p:animEffect filter="wipe(left)" transition="in">
                                      <p:cBhvr>
                                        <p:cTn dur="500" id="69"/>
                                        <p:tgtEl>
                                          <p:spTgt spid="48"/>
                                        </p:tgtEl>
                                      </p:cBhvr>
                                    </p:animEffect>
                                  </p:childTnLst>
                                </p:cTn>
                              </p:par>
                              <p:par>
                                <p:cTn fill="hold" grpId="0" id="70" nodeType="withEffect" presetClass="entr" presetID="22" presetSubtype="8">
                                  <p:stCondLst>
                                    <p:cond delay="0"/>
                                  </p:stCondLst>
                                  <p:childTnLst>
                                    <p:set>
                                      <p:cBhvr>
                                        <p:cTn dur="1" fill="hold" id="71">
                                          <p:stCondLst>
                                            <p:cond delay="0"/>
                                          </p:stCondLst>
                                        </p:cTn>
                                        <p:tgtEl>
                                          <p:spTgt spid="49"/>
                                        </p:tgtEl>
                                        <p:attrNameLst>
                                          <p:attrName>style.visibility</p:attrName>
                                        </p:attrNameLst>
                                      </p:cBhvr>
                                      <p:to>
                                        <p:strVal val="visible"/>
                                      </p:to>
                                    </p:set>
                                    <p:animEffect filter="wipe(left)" transition="in">
                                      <p:cBhvr>
                                        <p:cTn dur="500" id="72"/>
                                        <p:tgtEl>
                                          <p:spTgt spid="49"/>
                                        </p:tgtEl>
                                      </p:cBhvr>
                                    </p:animEffect>
                                  </p:childTnLst>
                                </p:cTn>
                              </p:par>
                            </p:childTnLst>
                          </p:cTn>
                        </p:par>
                        <p:par>
                          <p:cTn fill="hold" id="73" nodeType="afterGroup">
                            <p:stCondLst>
                              <p:cond delay="3500"/>
                            </p:stCondLst>
                            <p:childTnLst>
                              <p:par>
                                <p:cTn fill="hold" grpId="0" id="74" nodeType="afterEffect" presetClass="entr" presetID="22" presetSubtype="8">
                                  <p:stCondLst>
                                    <p:cond delay="0"/>
                                  </p:stCondLst>
                                  <p:childTnLst>
                                    <p:set>
                                      <p:cBhvr>
                                        <p:cTn dur="1" fill="hold" id="75">
                                          <p:stCondLst>
                                            <p:cond delay="0"/>
                                          </p:stCondLst>
                                        </p:cTn>
                                        <p:tgtEl>
                                          <p:spTgt spid="51"/>
                                        </p:tgtEl>
                                        <p:attrNameLst>
                                          <p:attrName>style.visibility</p:attrName>
                                        </p:attrNameLst>
                                      </p:cBhvr>
                                      <p:to>
                                        <p:strVal val="visible"/>
                                      </p:to>
                                    </p:set>
                                    <p:animEffect filter="wipe(left)" transition="in">
                                      <p:cBhvr>
                                        <p:cTn dur="500" id="76"/>
                                        <p:tgtEl>
                                          <p:spTgt spid="51"/>
                                        </p:tgtEl>
                                      </p:cBhvr>
                                    </p:animEffect>
                                  </p:childTnLst>
                                </p:cTn>
                              </p:par>
                              <p:par>
                                <p:cTn fill="hold" grpId="0" id="77" nodeType="withEffect" presetClass="entr" presetID="22" presetSubtype="8">
                                  <p:stCondLst>
                                    <p:cond delay="0"/>
                                  </p:stCondLst>
                                  <p:childTnLst>
                                    <p:set>
                                      <p:cBhvr>
                                        <p:cTn dur="1" fill="hold" id="78">
                                          <p:stCondLst>
                                            <p:cond delay="0"/>
                                          </p:stCondLst>
                                        </p:cTn>
                                        <p:tgtEl>
                                          <p:spTgt spid="50"/>
                                        </p:tgtEl>
                                        <p:attrNameLst>
                                          <p:attrName>style.visibility</p:attrName>
                                        </p:attrNameLst>
                                      </p:cBhvr>
                                      <p:to>
                                        <p:strVal val="visible"/>
                                      </p:to>
                                    </p:set>
                                    <p:animEffect filter="wipe(left)" transition="in">
                                      <p:cBhvr>
                                        <p:cTn dur="500" id="79"/>
                                        <p:tgtEl>
                                          <p:spTgt spid="50"/>
                                        </p:tgtEl>
                                      </p:cBhvr>
                                    </p:animEffect>
                                  </p:childTnLst>
                                </p:cTn>
                              </p:par>
                            </p:childTnLst>
                          </p:cTn>
                        </p:par>
                        <p:par>
                          <p:cTn fill="hold" id="80" nodeType="afterGroup">
                            <p:stCondLst>
                              <p:cond delay="4000"/>
                            </p:stCondLst>
                            <p:childTnLst>
                              <p:par>
                                <p:cTn fill="hold" grpId="0" id="81" nodeType="afterEffect" presetClass="entr" presetID="22" presetSubtype="8">
                                  <p:stCondLst>
                                    <p:cond delay="0"/>
                                  </p:stCondLst>
                                  <p:childTnLst>
                                    <p:set>
                                      <p:cBhvr>
                                        <p:cTn dur="1" fill="hold" id="82">
                                          <p:stCondLst>
                                            <p:cond delay="0"/>
                                          </p:stCondLst>
                                        </p:cTn>
                                        <p:tgtEl>
                                          <p:spTgt spid="52"/>
                                        </p:tgtEl>
                                        <p:attrNameLst>
                                          <p:attrName>style.visibility</p:attrName>
                                        </p:attrNameLst>
                                      </p:cBhvr>
                                      <p:to>
                                        <p:strVal val="visible"/>
                                      </p:to>
                                    </p:set>
                                    <p:animEffect filter="wipe(left)" transition="in">
                                      <p:cBhvr>
                                        <p:cTn dur="500" id="83"/>
                                        <p:tgtEl>
                                          <p:spTgt spid="52"/>
                                        </p:tgtEl>
                                      </p:cBhvr>
                                    </p:animEffect>
                                  </p:childTnLst>
                                </p:cTn>
                              </p:par>
                              <p:par>
                                <p:cTn fill="hold" grpId="0" id="84" nodeType="withEffect" presetClass="entr" presetID="22" presetSubtype="8">
                                  <p:stCondLst>
                                    <p:cond delay="0"/>
                                  </p:stCondLst>
                                  <p:childTnLst>
                                    <p:set>
                                      <p:cBhvr>
                                        <p:cTn dur="1" fill="hold" id="85">
                                          <p:stCondLst>
                                            <p:cond delay="0"/>
                                          </p:stCondLst>
                                        </p:cTn>
                                        <p:tgtEl>
                                          <p:spTgt spid="53"/>
                                        </p:tgtEl>
                                        <p:attrNameLst>
                                          <p:attrName>style.visibility</p:attrName>
                                        </p:attrNameLst>
                                      </p:cBhvr>
                                      <p:to>
                                        <p:strVal val="visible"/>
                                      </p:to>
                                    </p:set>
                                    <p:animEffect filter="wipe(left)" transition="in">
                                      <p:cBhvr>
                                        <p:cTn dur="500" id="86"/>
                                        <p:tgtEl>
                                          <p:spTgt spid="53"/>
                                        </p:tgtEl>
                                      </p:cBhvr>
                                    </p:animEffect>
                                  </p:childTnLst>
                                </p:cTn>
                              </p:par>
                            </p:childTnLst>
                          </p:cTn>
                        </p:par>
                        <p:par>
                          <p:cTn fill="hold" id="87" nodeType="afterGroup">
                            <p:stCondLst>
                              <p:cond delay="4500"/>
                            </p:stCondLst>
                            <p:childTnLst>
                              <p:par>
                                <p:cTn fill="hold" grpId="0" id="88" nodeType="afterEffect" presetClass="entr" presetID="22" presetSubtype="8">
                                  <p:stCondLst>
                                    <p:cond delay="0"/>
                                  </p:stCondLst>
                                  <p:childTnLst>
                                    <p:set>
                                      <p:cBhvr>
                                        <p:cTn dur="1" fill="hold" id="89">
                                          <p:stCondLst>
                                            <p:cond delay="0"/>
                                          </p:stCondLst>
                                        </p:cTn>
                                        <p:tgtEl>
                                          <p:spTgt spid="54"/>
                                        </p:tgtEl>
                                        <p:attrNameLst>
                                          <p:attrName>style.visibility</p:attrName>
                                        </p:attrNameLst>
                                      </p:cBhvr>
                                      <p:to>
                                        <p:strVal val="visible"/>
                                      </p:to>
                                    </p:set>
                                    <p:animEffect filter="wipe(left)" transition="in">
                                      <p:cBhvr>
                                        <p:cTn dur="500" id="90"/>
                                        <p:tgtEl>
                                          <p:spTgt spid="54"/>
                                        </p:tgtEl>
                                      </p:cBhvr>
                                    </p:animEffect>
                                  </p:childTnLst>
                                </p:cTn>
                              </p:par>
                              <p:par>
                                <p:cTn fill="hold" grpId="0" id="91" nodeType="withEffect" presetClass="entr" presetID="22" presetSubtype="8">
                                  <p:stCondLst>
                                    <p:cond delay="0"/>
                                  </p:stCondLst>
                                  <p:childTnLst>
                                    <p:set>
                                      <p:cBhvr>
                                        <p:cTn dur="1" fill="hold" id="92">
                                          <p:stCondLst>
                                            <p:cond delay="0"/>
                                          </p:stCondLst>
                                        </p:cTn>
                                        <p:tgtEl>
                                          <p:spTgt spid="55"/>
                                        </p:tgtEl>
                                        <p:attrNameLst>
                                          <p:attrName>style.visibility</p:attrName>
                                        </p:attrNameLst>
                                      </p:cBhvr>
                                      <p:to>
                                        <p:strVal val="visible"/>
                                      </p:to>
                                    </p:set>
                                    <p:animEffect filter="wipe(left)" transition="in">
                                      <p:cBhvr>
                                        <p:cTn dur="500" id="93"/>
                                        <p:tgtEl>
                                          <p:spTgt spid="55"/>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10"/>
      <p:bldP grpId="0" spid="11"/>
      <p:bldP grpId="0" spid="12"/>
      <p:bldP grpId="0" spid="37"/>
      <p:bldP grpId="0" spid="38"/>
      <p:bldP grpId="0" spid="48"/>
      <p:bldP grpId="0" spid="49"/>
      <p:bldP grpId="0" spid="50"/>
      <p:bldP grpId="0" spid="51"/>
      <p:bldP grpId="0" spid="52"/>
      <p:bldP grpId="0" spid="53"/>
      <p:bldP grpId="0" spid="54"/>
      <p:bldP grpId="0" spid="55"/>
      <p:bldGraphic grpId="0" spid="26">
        <p:bldAsOne/>
      </p:bldGraphic>
    </p:bldLst>
  </p:timing>
</p:sld>
</file>

<file path=ppt/slides/slide8.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7" name="椭圆 6">
            <a:extLst>
              <a:ext uri="{FF2B5EF4-FFF2-40B4-BE49-F238E27FC236}">
                <a16:creationId xmlns:a16="http://schemas.microsoft.com/office/drawing/2014/main" id="{97F35CCF-B1AD-40AD-9D77-E1886CA3C847}"/>
              </a:ext>
            </a:extLst>
          </p:cNvPr>
          <p:cNvSpPr/>
          <p:nvPr/>
        </p:nvSpPr>
        <p:spPr>
          <a:xfrm>
            <a:off x="11325281" y="5957455"/>
            <a:ext cx="1193212" cy="1193212"/>
          </a:xfrm>
          <a:prstGeom prst="ellipse">
            <a:avLst/>
          </a:prstGeom>
          <a:solidFill>
            <a:srgbClr val="A0CBD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10" name="文本框 9">
            <a:extLst>
              <a:ext uri="{FF2B5EF4-FFF2-40B4-BE49-F238E27FC236}">
                <a16:creationId xmlns:a16="http://schemas.microsoft.com/office/drawing/2014/main" id="{3EF1E9ED-80AB-4909-8BA5-A43F4FCE2334}"/>
              </a:ext>
            </a:extLst>
          </p:cNvPr>
          <p:cNvSpPr txBox="1"/>
          <p:nvPr/>
        </p:nvSpPr>
        <p:spPr>
          <a:xfrm>
            <a:off x="4133850" y="390618"/>
            <a:ext cx="3924300" cy="640080"/>
          </a:xfrm>
          <a:prstGeom prst="rect">
            <a:avLst/>
          </a:prstGeom>
          <a:noFill/>
        </p:spPr>
        <p:txBody>
          <a:bodyPr rtlCol="0" wrap="square">
            <a:spAutoFit/>
          </a:bodyPr>
          <a:lstStyle/>
          <a:p>
            <a:pPr algn="ctr"/>
            <a:r>
              <a:rPr altLang="en-US" lang="zh-CN" sz="3600">
                <a:solidFill>
                  <a:schemeClr val="tx1">
                    <a:lumMod val="85000"/>
                    <a:lumOff val="15000"/>
                  </a:schemeClr>
                </a:solidFill>
                <a:latin charset="-122" panose="02000500000000000000" pitchFamily="2" typeface="方正雅士黑 简"/>
                <a:ea charset="-122" panose="02000500000000000000" pitchFamily="2" typeface="方正雅士黑 简"/>
              </a:rPr>
              <a:t>目标完成情况</a:t>
            </a:r>
          </a:p>
        </p:txBody>
      </p:sp>
      <p:cxnSp>
        <p:nvCxnSpPr>
          <p:cNvPr id="13" name="直接连接符 12">
            <a:extLst>
              <a:ext uri="{FF2B5EF4-FFF2-40B4-BE49-F238E27FC236}">
                <a16:creationId xmlns:a16="http://schemas.microsoft.com/office/drawing/2014/main" id="{63C006F1-C17E-4B5D-A667-14B1AFD009FE}"/>
              </a:ext>
            </a:extLst>
          </p:cNvPr>
          <p:cNvCxnSpPr/>
          <p:nvPr/>
        </p:nvCxnSpPr>
        <p:spPr>
          <a:xfrm>
            <a:off x="7791452" y="683005"/>
            <a:ext cx="571498" cy="0"/>
          </a:xfrm>
          <a:prstGeom prst="line">
            <a:avLst/>
          </a:prstGeom>
          <a:ln cap="rnd" w="19050">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pic>
        <p:nvPicPr>
          <p:cNvPr id="15" name="图形 14">
            <a:extLst>
              <a:ext uri="{FF2B5EF4-FFF2-40B4-BE49-F238E27FC236}">
                <a16:creationId xmlns:a16="http://schemas.microsoft.com/office/drawing/2014/main" id="{D0B6809A-9193-440B-AB59-9B5857A764E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314825" y="597280"/>
            <a:ext cx="171450" cy="171450"/>
          </a:xfrm>
          <a:prstGeom prst="rect">
            <a:avLst/>
          </a:prstGeom>
        </p:spPr>
      </p:pic>
      <p:pic>
        <p:nvPicPr>
          <p:cNvPr id="16" name="图形 15">
            <a:extLst>
              <a:ext uri="{FF2B5EF4-FFF2-40B4-BE49-F238E27FC236}">
                <a16:creationId xmlns:a16="http://schemas.microsoft.com/office/drawing/2014/main" id="{1508760C-4270-4AAF-AD1C-A51CD87667C3}"/>
              </a:ext>
            </a:extLst>
          </p:cNvPr>
          <p:cNvPicPr>
            <a:picLocks noChangeAspect="1"/>
          </p:cNvPicPr>
          <p:nvPr/>
        </p:nvPicPr>
        <p:blipFill>
          <a:blip r:embed="rId3">
            <a:extLst>
              <a:ext uri="{96DAC541-7B7A-43D3-8B79-37D633B846F1}">
                <asvg:svgBlip xmlns:asvg="http://schemas.microsoft.com/office/drawing/2016/SVG/main" r:embed="rId5"/>
              </a:ext>
            </a:extLst>
          </a:blip>
          <a:stretch>
            <a:fillRect/>
          </a:stretch>
        </p:blipFill>
        <p:spPr>
          <a:xfrm>
            <a:off x="7705727" y="597280"/>
            <a:ext cx="171450" cy="171450"/>
          </a:xfrm>
          <a:prstGeom prst="rect">
            <a:avLst/>
          </a:prstGeom>
        </p:spPr>
      </p:pic>
      <p:cxnSp>
        <p:nvCxnSpPr>
          <p:cNvPr id="18" name="直接连接符 17">
            <a:extLst>
              <a:ext uri="{FF2B5EF4-FFF2-40B4-BE49-F238E27FC236}">
                <a16:creationId xmlns:a16="http://schemas.microsoft.com/office/drawing/2014/main" id="{D59B9B17-AB83-41D0-BA0B-C09A6571714C}"/>
              </a:ext>
            </a:extLst>
          </p:cNvPr>
          <p:cNvCxnSpPr/>
          <p:nvPr/>
        </p:nvCxnSpPr>
        <p:spPr>
          <a:xfrm>
            <a:off x="3829052" y="683005"/>
            <a:ext cx="571498" cy="0"/>
          </a:xfrm>
          <a:prstGeom prst="line">
            <a:avLst/>
          </a:prstGeom>
          <a:ln cap="rnd" w="19050">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grpSp>
        <p:nvGrpSpPr>
          <p:cNvPr id="103" name="组合 102">
            <a:extLst>
              <a:ext uri="{FF2B5EF4-FFF2-40B4-BE49-F238E27FC236}">
                <a16:creationId xmlns:a16="http://schemas.microsoft.com/office/drawing/2014/main" id="{AF2BDDFB-6CF7-4DBE-8437-DE30BAB4B640}"/>
              </a:ext>
            </a:extLst>
          </p:cNvPr>
          <p:cNvGrpSpPr/>
          <p:nvPr/>
        </p:nvGrpSpPr>
        <p:grpSpPr>
          <a:xfrm>
            <a:off x="1663700" y="2610438"/>
            <a:ext cx="2470150" cy="3022600"/>
            <a:chOff x="1663700" y="2610438"/>
            <a:chExt cx="2470150" cy="3022600"/>
          </a:xfrm>
        </p:grpSpPr>
        <p:sp>
          <p:nvSpPr>
            <p:cNvPr id="4" name="图文框 3">
              <a:extLst>
                <a:ext uri="{FF2B5EF4-FFF2-40B4-BE49-F238E27FC236}">
                  <a16:creationId xmlns:a16="http://schemas.microsoft.com/office/drawing/2014/main" id="{48982E76-925E-4909-BC26-F6C7A54C18EB}"/>
                </a:ext>
              </a:extLst>
            </p:cNvPr>
            <p:cNvSpPr/>
            <p:nvPr/>
          </p:nvSpPr>
          <p:spPr>
            <a:xfrm>
              <a:off x="1663700" y="2610438"/>
              <a:ext cx="2470150" cy="3022600"/>
            </a:xfrm>
            <a:prstGeom prst="frame">
              <a:avLst>
                <a:gd fmla="val 3486" name="adj1"/>
              </a:avLst>
            </a:prstGeom>
            <a:blipFill>
              <a:blip r:embed="rId6"/>
              <a:stretch>
                <a:fillRect b="-6214" t="-6272"/>
              </a:stretch>
            </a:blip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solidFill>
                  <a:schemeClr val="tx1"/>
                </a:solidFill>
              </a:endParaRPr>
            </a:p>
          </p:txBody>
        </p:sp>
        <p:sp>
          <p:nvSpPr>
            <p:cNvPr id="6" name="矩形 5">
              <a:extLst>
                <a:ext uri="{FF2B5EF4-FFF2-40B4-BE49-F238E27FC236}">
                  <a16:creationId xmlns:a16="http://schemas.microsoft.com/office/drawing/2014/main" id="{BDEF3373-E743-4623-B904-E8E5EAEB5EE2}"/>
                </a:ext>
              </a:extLst>
            </p:cNvPr>
            <p:cNvSpPr/>
            <p:nvPr/>
          </p:nvSpPr>
          <p:spPr>
            <a:xfrm>
              <a:off x="1741711" y="2694428"/>
              <a:ext cx="2311177" cy="2849122"/>
            </a:xfrm>
            <a:prstGeom prst="rect">
              <a:avLst/>
            </a:prstGeom>
            <a:blipFill>
              <a:blip r:embed="rId7"/>
              <a:stretch>
                <a:fillRect b="-6214" t="-6272"/>
              </a:stretch>
            </a:blip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grpSp>
      <p:sp>
        <p:nvSpPr>
          <p:cNvPr id="81" name="文本框 80">
            <a:extLst>
              <a:ext uri="{FF2B5EF4-FFF2-40B4-BE49-F238E27FC236}">
                <a16:creationId xmlns:a16="http://schemas.microsoft.com/office/drawing/2014/main" id="{C762DA90-684E-4F68-8F34-FEA220B82031}"/>
              </a:ext>
            </a:extLst>
          </p:cNvPr>
          <p:cNvSpPr txBox="1"/>
          <p:nvPr/>
        </p:nvSpPr>
        <p:spPr>
          <a:xfrm>
            <a:off x="2204163" y="2015903"/>
            <a:ext cx="1386272" cy="396240"/>
          </a:xfrm>
          <a:prstGeom prst="rect">
            <a:avLst/>
          </a:prstGeom>
          <a:noFill/>
        </p:spPr>
        <p:txBody>
          <a:bodyPr rtlCol="0" wrap="square">
            <a:spAutoFit/>
          </a:bodyPr>
          <a:lstStyle/>
          <a:p>
            <a:pPr algn="ctr"/>
            <a:r>
              <a:rPr altLang="en-US" lang="zh-CN" sz="2000">
                <a:solidFill>
                  <a:schemeClr val="tx1">
                    <a:lumMod val="85000"/>
                    <a:lumOff val="15000"/>
                  </a:schemeClr>
                </a:solidFill>
                <a:effectLst>
                  <a:outerShdw algn="tl" dir="2700000" dist="38100">
                    <a:srgbClr val="000000">
                      <a:alpha val="43137"/>
                    </a:srgbClr>
                  </a:outerShdw>
                </a:effectLst>
              </a:rPr>
              <a:t>输入文本</a:t>
            </a:r>
          </a:p>
        </p:txBody>
      </p:sp>
      <p:grpSp>
        <p:nvGrpSpPr>
          <p:cNvPr id="108" name="组合 107">
            <a:extLst>
              <a:ext uri="{FF2B5EF4-FFF2-40B4-BE49-F238E27FC236}">
                <a16:creationId xmlns:a16="http://schemas.microsoft.com/office/drawing/2014/main" id="{5B63B513-6C5F-418A-975B-1A401F6CF6CF}"/>
              </a:ext>
            </a:extLst>
          </p:cNvPr>
          <p:cNvGrpSpPr/>
          <p:nvPr/>
        </p:nvGrpSpPr>
        <p:grpSpPr>
          <a:xfrm>
            <a:off x="2204163" y="2789407"/>
            <a:ext cx="1386272" cy="633991"/>
            <a:chOff x="2204163" y="2789407"/>
            <a:chExt cx="1386272" cy="633991"/>
          </a:xfrm>
        </p:grpSpPr>
        <p:sp>
          <p:nvSpPr>
            <p:cNvPr id="8" name="等腰三角形 7">
              <a:extLst>
                <a:ext uri="{FF2B5EF4-FFF2-40B4-BE49-F238E27FC236}">
                  <a16:creationId xmlns:a16="http://schemas.microsoft.com/office/drawing/2014/main" id="{A9A61BF3-C382-457D-AD26-FD7AE5D1C3B8}"/>
                </a:ext>
              </a:extLst>
            </p:cNvPr>
            <p:cNvSpPr/>
            <p:nvPr/>
          </p:nvSpPr>
          <p:spPr>
            <a:xfrm flipV="1">
              <a:off x="2533238" y="2795706"/>
              <a:ext cx="728122" cy="627692"/>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82" name="文本框 81">
              <a:extLst>
                <a:ext uri="{FF2B5EF4-FFF2-40B4-BE49-F238E27FC236}">
                  <a16:creationId xmlns:a16="http://schemas.microsoft.com/office/drawing/2014/main" id="{E06A37D6-AEEF-4BD4-A5C6-17DCE8FAFB4A}"/>
                </a:ext>
              </a:extLst>
            </p:cNvPr>
            <p:cNvSpPr txBox="1"/>
            <p:nvPr/>
          </p:nvSpPr>
          <p:spPr>
            <a:xfrm>
              <a:off x="2204163" y="2789407"/>
              <a:ext cx="1386272" cy="396240"/>
            </a:xfrm>
            <a:prstGeom prst="rect">
              <a:avLst/>
            </a:prstGeom>
            <a:noFill/>
          </p:spPr>
          <p:txBody>
            <a:bodyPr rtlCol="0" wrap="square">
              <a:spAutoFit/>
            </a:bodyPr>
            <a:lstStyle/>
            <a:p>
              <a:pPr algn="ctr"/>
              <a:r>
                <a:rPr altLang="zh-CN" lang="en-US" sz="2000">
                  <a:solidFill>
                    <a:schemeClr val="tx1">
                      <a:lumMod val="85000"/>
                      <a:lumOff val="15000"/>
                    </a:schemeClr>
                  </a:solidFill>
                </a:rPr>
                <a:t>01</a:t>
              </a:r>
            </a:p>
          </p:txBody>
        </p:sp>
      </p:grpSp>
      <p:grpSp>
        <p:nvGrpSpPr>
          <p:cNvPr id="100" name="组合 99">
            <a:extLst>
              <a:ext uri="{FF2B5EF4-FFF2-40B4-BE49-F238E27FC236}">
                <a16:creationId xmlns:a16="http://schemas.microsoft.com/office/drawing/2014/main" id="{6F80FA50-A13E-49C6-AA78-4AD504D5BEA3}"/>
              </a:ext>
            </a:extLst>
          </p:cNvPr>
          <p:cNvGrpSpPr/>
          <p:nvPr/>
        </p:nvGrpSpPr>
        <p:grpSpPr>
          <a:xfrm>
            <a:off x="1657796" y="1790700"/>
            <a:ext cx="2470150" cy="1939378"/>
            <a:chOff x="1657796" y="1790700"/>
            <a:chExt cx="2470150" cy="1939378"/>
          </a:xfrm>
        </p:grpSpPr>
        <p:sp>
          <p:nvSpPr>
            <p:cNvPr id="80" name="任意多边形: 形状 79">
              <a:extLst>
                <a:ext uri="{FF2B5EF4-FFF2-40B4-BE49-F238E27FC236}">
                  <a16:creationId xmlns:a16="http://schemas.microsoft.com/office/drawing/2014/main" id="{0253EFD3-E273-4F2D-9B7B-E993B6AE76BA}"/>
                </a:ext>
              </a:extLst>
            </p:cNvPr>
            <p:cNvSpPr/>
            <p:nvPr/>
          </p:nvSpPr>
          <p:spPr>
            <a:xfrm flipV="1">
              <a:off x="1657796" y="1790700"/>
              <a:ext cx="2405758" cy="1939378"/>
            </a:xfrm>
            <a:custGeom>
              <a:gdLst>
                <a:gd fmla="*/ 655764 w 2405758" name="connsiteX0"/>
                <a:gd fmla="*/ 882103 h 1939378" name="connsiteY0"/>
                <a:gd fmla="*/ 750209 w 2405758" name="connsiteX1"/>
                <a:gd fmla="*/ 882103 h 1939378" name="connsiteY1"/>
                <a:gd fmla="*/ 1202879 w 2405758" name="connsiteX2"/>
                <a:gd fmla="*/ 152272 h 1939378" name="connsiteY2"/>
                <a:gd fmla="*/ 1655549 w 2405758" name="connsiteX3"/>
                <a:gd fmla="*/ 882103 h 1939378" name="connsiteY3"/>
                <a:gd fmla="*/ 1749994 w 2405758" name="connsiteX4"/>
                <a:gd fmla="*/ 882103 h 1939378" name="connsiteY4"/>
                <a:gd fmla="*/ 1202879 w 2405758" name="connsiteX5"/>
                <a:gd fmla="*/ 0 h 1939378" name="connsiteY5"/>
                <a:gd fmla="*/ 0 w 2405758" name="connsiteX6"/>
                <a:gd fmla="*/ 1939378 h 1939378" name="connsiteY6"/>
                <a:gd fmla="*/ 2405758 w 2405758" name="connsiteX7"/>
                <a:gd fmla="*/ 1939378 h 1939378" name="connsiteY7"/>
                <a:gd fmla="*/ 1968582 w 2405758" name="connsiteX8"/>
                <a:gd fmla="*/ 1234528 h 1939378" name="connsiteY8"/>
                <a:gd fmla="*/ 1874137 w 2405758" name="connsiteX9"/>
                <a:gd fmla="*/ 1234528 h 1939378" name="connsiteY9"/>
                <a:gd fmla="*/ 2256407 w 2405758" name="connsiteX10"/>
                <a:gd fmla="*/ 1850854 h 1939378" name="connsiteY10"/>
                <a:gd fmla="*/ 149352 w 2405758" name="connsiteX11"/>
                <a:gd fmla="*/ 1850854 h 1939378" name="connsiteY11"/>
                <a:gd fmla="*/ 531621 w 2405758" name="connsiteX12"/>
                <a:gd fmla="*/ 1234528 h 1939378" name="connsiteY12"/>
                <a:gd fmla="*/ 437176 w 2405758" name="connsiteX13"/>
                <a:gd fmla="*/ 1234528 h 1939378" name="connsiteY1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b="b" l="l" r="r" t="t"/>
              <a:pathLst>
                <a:path h="1939378" w="2405758">
                  <a:moveTo>
                    <a:pt x="655764" y="882103"/>
                  </a:moveTo>
                  <a:lnTo>
                    <a:pt x="750209" y="882103"/>
                  </a:lnTo>
                  <a:lnTo>
                    <a:pt x="1202879" y="152272"/>
                  </a:lnTo>
                  <a:lnTo>
                    <a:pt x="1655549" y="882103"/>
                  </a:lnTo>
                  <a:lnTo>
                    <a:pt x="1749994" y="882103"/>
                  </a:lnTo>
                  <a:lnTo>
                    <a:pt x="1202879" y="0"/>
                  </a:lnTo>
                  <a:close/>
                  <a:moveTo>
                    <a:pt x="0" y="1939378"/>
                  </a:moveTo>
                  <a:lnTo>
                    <a:pt x="2405758" y="1939378"/>
                  </a:lnTo>
                  <a:lnTo>
                    <a:pt x="1968582" y="1234528"/>
                  </a:lnTo>
                  <a:lnTo>
                    <a:pt x="1874137" y="1234528"/>
                  </a:lnTo>
                  <a:lnTo>
                    <a:pt x="2256407" y="1850854"/>
                  </a:lnTo>
                  <a:lnTo>
                    <a:pt x="149352" y="1850854"/>
                  </a:lnTo>
                  <a:lnTo>
                    <a:pt x="531621" y="1234528"/>
                  </a:lnTo>
                  <a:lnTo>
                    <a:pt x="437176" y="1234528"/>
                  </a:ln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83" name="任意多边形: 形状 82">
              <a:extLst>
                <a:ext uri="{FF2B5EF4-FFF2-40B4-BE49-F238E27FC236}">
                  <a16:creationId xmlns:a16="http://schemas.microsoft.com/office/drawing/2014/main" id="{F92DEB6A-A141-49A5-A4B1-D3D2613F5E90}"/>
                </a:ext>
              </a:extLst>
            </p:cNvPr>
            <p:cNvSpPr/>
            <p:nvPr/>
          </p:nvSpPr>
          <p:spPr>
            <a:xfrm flipV="1">
              <a:off x="1722188" y="1790700"/>
              <a:ext cx="2405758" cy="1939378"/>
            </a:xfrm>
            <a:custGeom>
              <a:gdLst>
                <a:gd fmla="*/ 655764 w 2405758" name="connsiteX0"/>
                <a:gd fmla="*/ 882103 h 1939378" name="connsiteY0"/>
                <a:gd fmla="*/ 750209 w 2405758" name="connsiteX1"/>
                <a:gd fmla="*/ 882103 h 1939378" name="connsiteY1"/>
                <a:gd fmla="*/ 1202879 w 2405758" name="connsiteX2"/>
                <a:gd fmla="*/ 152272 h 1939378" name="connsiteY2"/>
                <a:gd fmla="*/ 1655549 w 2405758" name="connsiteX3"/>
                <a:gd fmla="*/ 882103 h 1939378" name="connsiteY3"/>
                <a:gd fmla="*/ 1749994 w 2405758" name="connsiteX4"/>
                <a:gd fmla="*/ 882103 h 1939378" name="connsiteY4"/>
                <a:gd fmla="*/ 1202879 w 2405758" name="connsiteX5"/>
                <a:gd fmla="*/ 0 h 1939378" name="connsiteY5"/>
                <a:gd fmla="*/ 0 w 2405758" name="connsiteX6"/>
                <a:gd fmla="*/ 1939378 h 1939378" name="connsiteY6"/>
                <a:gd fmla="*/ 2405758 w 2405758" name="connsiteX7"/>
                <a:gd fmla="*/ 1939378 h 1939378" name="connsiteY7"/>
                <a:gd fmla="*/ 1968582 w 2405758" name="connsiteX8"/>
                <a:gd fmla="*/ 1234528 h 1939378" name="connsiteY8"/>
                <a:gd fmla="*/ 1874137 w 2405758" name="connsiteX9"/>
                <a:gd fmla="*/ 1234528 h 1939378" name="connsiteY9"/>
                <a:gd fmla="*/ 2256407 w 2405758" name="connsiteX10"/>
                <a:gd fmla="*/ 1850854 h 1939378" name="connsiteY10"/>
                <a:gd fmla="*/ 149352 w 2405758" name="connsiteX11"/>
                <a:gd fmla="*/ 1850854 h 1939378" name="connsiteY11"/>
                <a:gd fmla="*/ 531621 w 2405758" name="connsiteX12"/>
                <a:gd fmla="*/ 1234528 h 1939378" name="connsiteY12"/>
                <a:gd fmla="*/ 437176 w 2405758" name="connsiteX13"/>
                <a:gd fmla="*/ 1234528 h 1939378" name="connsiteY1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b="b" l="l" r="r" t="t"/>
              <a:pathLst>
                <a:path h="1939378" w="2405758">
                  <a:moveTo>
                    <a:pt x="655764" y="882103"/>
                  </a:moveTo>
                  <a:lnTo>
                    <a:pt x="750209" y="882103"/>
                  </a:lnTo>
                  <a:lnTo>
                    <a:pt x="1202879" y="152272"/>
                  </a:lnTo>
                  <a:lnTo>
                    <a:pt x="1655549" y="882103"/>
                  </a:lnTo>
                  <a:lnTo>
                    <a:pt x="1749994" y="882103"/>
                  </a:lnTo>
                  <a:lnTo>
                    <a:pt x="1202879" y="0"/>
                  </a:lnTo>
                  <a:close/>
                  <a:moveTo>
                    <a:pt x="0" y="1939378"/>
                  </a:moveTo>
                  <a:lnTo>
                    <a:pt x="2405758" y="1939378"/>
                  </a:lnTo>
                  <a:lnTo>
                    <a:pt x="1968582" y="1234528"/>
                  </a:lnTo>
                  <a:lnTo>
                    <a:pt x="1874137" y="1234528"/>
                  </a:lnTo>
                  <a:lnTo>
                    <a:pt x="2256407" y="1850854"/>
                  </a:lnTo>
                  <a:lnTo>
                    <a:pt x="149352" y="1850854"/>
                  </a:lnTo>
                  <a:lnTo>
                    <a:pt x="531621" y="1234528"/>
                  </a:lnTo>
                  <a:lnTo>
                    <a:pt x="437176" y="1234528"/>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grpSp>
      <p:grpSp>
        <p:nvGrpSpPr>
          <p:cNvPr id="105" name="组合 104">
            <a:extLst>
              <a:ext uri="{FF2B5EF4-FFF2-40B4-BE49-F238E27FC236}">
                <a16:creationId xmlns:a16="http://schemas.microsoft.com/office/drawing/2014/main" id="{FC42F378-A0D4-4C9B-B462-8C47EADB66BE}"/>
              </a:ext>
            </a:extLst>
          </p:cNvPr>
          <p:cNvGrpSpPr/>
          <p:nvPr/>
        </p:nvGrpSpPr>
        <p:grpSpPr>
          <a:xfrm>
            <a:off x="4882889" y="2610438"/>
            <a:ext cx="2470150" cy="3022600"/>
            <a:chOff x="4882889" y="2610438"/>
            <a:chExt cx="2470150" cy="3022600"/>
          </a:xfrm>
        </p:grpSpPr>
        <p:sp>
          <p:nvSpPr>
            <p:cNvPr id="85" name="图文框 84">
              <a:extLst>
                <a:ext uri="{FF2B5EF4-FFF2-40B4-BE49-F238E27FC236}">
                  <a16:creationId xmlns:a16="http://schemas.microsoft.com/office/drawing/2014/main" id="{A65382F5-52CF-459F-ACC4-5F2AE6EC0AD5}"/>
                </a:ext>
              </a:extLst>
            </p:cNvPr>
            <p:cNvSpPr/>
            <p:nvPr/>
          </p:nvSpPr>
          <p:spPr>
            <a:xfrm>
              <a:off x="4882889" y="2610438"/>
              <a:ext cx="2470150" cy="3022600"/>
            </a:xfrm>
            <a:prstGeom prst="frame">
              <a:avLst>
                <a:gd fmla="val 3486" name="adj1"/>
              </a:avLst>
            </a:prstGeom>
            <a:blipFill>
              <a:blip r:embed="rId6"/>
              <a:stretch>
                <a:fillRect b="-6214" t="-6272"/>
              </a:stretch>
            </a:blip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solidFill>
                  <a:schemeClr val="tx1"/>
                </a:solidFill>
              </a:endParaRPr>
            </a:p>
          </p:txBody>
        </p:sp>
        <p:sp>
          <p:nvSpPr>
            <p:cNvPr id="86" name="矩形 85">
              <a:extLst>
                <a:ext uri="{FF2B5EF4-FFF2-40B4-BE49-F238E27FC236}">
                  <a16:creationId xmlns:a16="http://schemas.microsoft.com/office/drawing/2014/main" id="{EAD67B76-C0BE-442C-981F-19180980E2B2}"/>
                </a:ext>
              </a:extLst>
            </p:cNvPr>
            <p:cNvSpPr/>
            <p:nvPr/>
          </p:nvSpPr>
          <p:spPr>
            <a:xfrm>
              <a:off x="4960900" y="2694428"/>
              <a:ext cx="2311177" cy="2849122"/>
            </a:xfrm>
            <a:prstGeom prst="rect">
              <a:avLst/>
            </a:prstGeom>
            <a:blipFill>
              <a:blip r:embed="rId8"/>
              <a:stretch>
                <a:fillRect b="-6214" t="-6272"/>
              </a:stretch>
            </a:blip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grpSp>
      <p:sp>
        <p:nvSpPr>
          <p:cNvPr id="89" name="文本框 88">
            <a:extLst>
              <a:ext uri="{FF2B5EF4-FFF2-40B4-BE49-F238E27FC236}">
                <a16:creationId xmlns:a16="http://schemas.microsoft.com/office/drawing/2014/main" id="{81AB1574-E94D-434D-87C7-D2FC205AC7BC}"/>
              </a:ext>
            </a:extLst>
          </p:cNvPr>
          <p:cNvSpPr txBox="1"/>
          <p:nvPr/>
        </p:nvSpPr>
        <p:spPr>
          <a:xfrm>
            <a:off x="5423352" y="2015903"/>
            <a:ext cx="1386272" cy="396240"/>
          </a:xfrm>
          <a:prstGeom prst="rect">
            <a:avLst/>
          </a:prstGeom>
          <a:noFill/>
        </p:spPr>
        <p:txBody>
          <a:bodyPr rtlCol="0" wrap="square">
            <a:spAutoFit/>
          </a:bodyPr>
          <a:lstStyle/>
          <a:p>
            <a:pPr algn="ctr"/>
            <a:r>
              <a:rPr altLang="en-US" lang="zh-CN" sz="2000">
                <a:solidFill>
                  <a:schemeClr val="tx1">
                    <a:lumMod val="85000"/>
                    <a:lumOff val="15000"/>
                  </a:schemeClr>
                </a:solidFill>
                <a:effectLst>
                  <a:outerShdw algn="tl" dir="2700000" dist="38100">
                    <a:srgbClr val="000000">
                      <a:alpha val="43137"/>
                    </a:srgbClr>
                  </a:outerShdw>
                </a:effectLst>
              </a:rPr>
              <a:t>输入文本</a:t>
            </a:r>
          </a:p>
        </p:txBody>
      </p:sp>
      <p:grpSp>
        <p:nvGrpSpPr>
          <p:cNvPr id="109" name="组合 108">
            <a:extLst>
              <a:ext uri="{FF2B5EF4-FFF2-40B4-BE49-F238E27FC236}">
                <a16:creationId xmlns:a16="http://schemas.microsoft.com/office/drawing/2014/main" id="{0EE16BD0-52FF-435D-B868-8DEABC6199D0}"/>
              </a:ext>
            </a:extLst>
          </p:cNvPr>
          <p:cNvGrpSpPr/>
          <p:nvPr/>
        </p:nvGrpSpPr>
        <p:grpSpPr>
          <a:xfrm>
            <a:off x="5423352" y="2789407"/>
            <a:ext cx="1386272" cy="633991"/>
            <a:chOff x="5423352" y="2789407"/>
            <a:chExt cx="1386272" cy="633991"/>
          </a:xfrm>
        </p:grpSpPr>
        <p:sp>
          <p:nvSpPr>
            <p:cNvPr id="87" name="等腰三角形 86">
              <a:extLst>
                <a:ext uri="{FF2B5EF4-FFF2-40B4-BE49-F238E27FC236}">
                  <a16:creationId xmlns:a16="http://schemas.microsoft.com/office/drawing/2014/main" id="{5E24B89C-9969-45ED-8AEE-7ACEFDA1D686}"/>
                </a:ext>
              </a:extLst>
            </p:cNvPr>
            <p:cNvSpPr/>
            <p:nvPr/>
          </p:nvSpPr>
          <p:spPr>
            <a:xfrm flipV="1">
              <a:off x="5752427" y="2795706"/>
              <a:ext cx="728122" cy="627692"/>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90" name="文本框 89">
              <a:extLst>
                <a:ext uri="{FF2B5EF4-FFF2-40B4-BE49-F238E27FC236}">
                  <a16:creationId xmlns:a16="http://schemas.microsoft.com/office/drawing/2014/main" id="{BA0277D0-774F-4970-8860-443266A0566F}"/>
                </a:ext>
              </a:extLst>
            </p:cNvPr>
            <p:cNvSpPr txBox="1"/>
            <p:nvPr/>
          </p:nvSpPr>
          <p:spPr>
            <a:xfrm>
              <a:off x="5423352" y="2789407"/>
              <a:ext cx="1386272" cy="396240"/>
            </a:xfrm>
            <a:prstGeom prst="rect">
              <a:avLst/>
            </a:prstGeom>
            <a:noFill/>
          </p:spPr>
          <p:txBody>
            <a:bodyPr rtlCol="0" wrap="square">
              <a:spAutoFit/>
            </a:bodyPr>
            <a:lstStyle/>
            <a:p>
              <a:pPr algn="ctr"/>
              <a:r>
                <a:rPr altLang="zh-CN" lang="en-US" sz="2000">
                  <a:solidFill>
                    <a:schemeClr val="tx1">
                      <a:lumMod val="85000"/>
                      <a:lumOff val="15000"/>
                    </a:schemeClr>
                  </a:solidFill>
                </a:rPr>
                <a:t>02</a:t>
              </a:r>
            </a:p>
          </p:txBody>
        </p:sp>
      </p:grpSp>
      <p:grpSp>
        <p:nvGrpSpPr>
          <p:cNvPr id="101" name="组合 100">
            <a:extLst>
              <a:ext uri="{FF2B5EF4-FFF2-40B4-BE49-F238E27FC236}">
                <a16:creationId xmlns:a16="http://schemas.microsoft.com/office/drawing/2014/main" id="{766FCC09-2A6B-402F-89B1-E2C6E47B6AAF}"/>
              </a:ext>
            </a:extLst>
          </p:cNvPr>
          <p:cNvGrpSpPr/>
          <p:nvPr/>
        </p:nvGrpSpPr>
        <p:grpSpPr>
          <a:xfrm>
            <a:off x="4876985" y="1790700"/>
            <a:ext cx="2470150" cy="1939378"/>
            <a:chOff x="4876985" y="1790700"/>
            <a:chExt cx="2470150" cy="1939378"/>
          </a:xfrm>
        </p:grpSpPr>
        <p:sp>
          <p:nvSpPr>
            <p:cNvPr id="88" name="任意多边形: 形状 87">
              <a:extLst>
                <a:ext uri="{FF2B5EF4-FFF2-40B4-BE49-F238E27FC236}">
                  <a16:creationId xmlns:a16="http://schemas.microsoft.com/office/drawing/2014/main" id="{D14B6788-B1A9-4462-B7EE-CEC0473E8A6B}"/>
                </a:ext>
              </a:extLst>
            </p:cNvPr>
            <p:cNvSpPr/>
            <p:nvPr/>
          </p:nvSpPr>
          <p:spPr>
            <a:xfrm flipV="1">
              <a:off x="4876985" y="1790700"/>
              <a:ext cx="2405758" cy="1939378"/>
            </a:xfrm>
            <a:custGeom>
              <a:gdLst>
                <a:gd fmla="*/ 655764 w 2405758" name="connsiteX0"/>
                <a:gd fmla="*/ 882103 h 1939378" name="connsiteY0"/>
                <a:gd fmla="*/ 750209 w 2405758" name="connsiteX1"/>
                <a:gd fmla="*/ 882103 h 1939378" name="connsiteY1"/>
                <a:gd fmla="*/ 1202879 w 2405758" name="connsiteX2"/>
                <a:gd fmla="*/ 152272 h 1939378" name="connsiteY2"/>
                <a:gd fmla="*/ 1655549 w 2405758" name="connsiteX3"/>
                <a:gd fmla="*/ 882103 h 1939378" name="connsiteY3"/>
                <a:gd fmla="*/ 1749994 w 2405758" name="connsiteX4"/>
                <a:gd fmla="*/ 882103 h 1939378" name="connsiteY4"/>
                <a:gd fmla="*/ 1202879 w 2405758" name="connsiteX5"/>
                <a:gd fmla="*/ 0 h 1939378" name="connsiteY5"/>
                <a:gd fmla="*/ 0 w 2405758" name="connsiteX6"/>
                <a:gd fmla="*/ 1939378 h 1939378" name="connsiteY6"/>
                <a:gd fmla="*/ 2405758 w 2405758" name="connsiteX7"/>
                <a:gd fmla="*/ 1939378 h 1939378" name="connsiteY7"/>
                <a:gd fmla="*/ 1968582 w 2405758" name="connsiteX8"/>
                <a:gd fmla="*/ 1234528 h 1939378" name="connsiteY8"/>
                <a:gd fmla="*/ 1874137 w 2405758" name="connsiteX9"/>
                <a:gd fmla="*/ 1234528 h 1939378" name="connsiteY9"/>
                <a:gd fmla="*/ 2256407 w 2405758" name="connsiteX10"/>
                <a:gd fmla="*/ 1850854 h 1939378" name="connsiteY10"/>
                <a:gd fmla="*/ 149352 w 2405758" name="connsiteX11"/>
                <a:gd fmla="*/ 1850854 h 1939378" name="connsiteY11"/>
                <a:gd fmla="*/ 531621 w 2405758" name="connsiteX12"/>
                <a:gd fmla="*/ 1234528 h 1939378" name="connsiteY12"/>
                <a:gd fmla="*/ 437176 w 2405758" name="connsiteX13"/>
                <a:gd fmla="*/ 1234528 h 1939378" name="connsiteY1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b="b" l="l" r="r" t="t"/>
              <a:pathLst>
                <a:path h="1939378" w="2405758">
                  <a:moveTo>
                    <a:pt x="655764" y="882103"/>
                  </a:moveTo>
                  <a:lnTo>
                    <a:pt x="750209" y="882103"/>
                  </a:lnTo>
                  <a:lnTo>
                    <a:pt x="1202879" y="152272"/>
                  </a:lnTo>
                  <a:lnTo>
                    <a:pt x="1655549" y="882103"/>
                  </a:lnTo>
                  <a:lnTo>
                    <a:pt x="1749994" y="882103"/>
                  </a:lnTo>
                  <a:lnTo>
                    <a:pt x="1202879" y="0"/>
                  </a:lnTo>
                  <a:close/>
                  <a:moveTo>
                    <a:pt x="0" y="1939378"/>
                  </a:moveTo>
                  <a:lnTo>
                    <a:pt x="2405758" y="1939378"/>
                  </a:lnTo>
                  <a:lnTo>
                    <a:pt x="1968582" y="1234528"/>
                  </a:lnTo>
                  <a:lnTo>
                    <a:pt x="1874137" y="1234528"/>
                  </a:lnTo>
                  <a:lnTo>
                    <a:pt x="2256407" y="1850854"/>
                  </a:lnTo>
                  <a:lnTo>
                    <a:pt x="149352" y="1850854"/>
                  </a:lnTo>
                  <a:lnTo>
                    <a:pt x="531621" y="1234528"/>
                  </a:lnTo>
                  <a:lnTo>
                    <a:pt x="437176" y="1234528"/>
                  </a:ln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91" name="任意多边形: 形状 90">
              <a:extLst>
                <a:ext uri="{FF2B5EF4-FFF2-40B4-BE49-F238E27FC236}">
                  <a16:creationId xmlns:a16="http://schemas.microsoft.com/office/drawing/2014/main" id="{EDF1F412-13A8-420C-A44D-DD28C8C00201}"/>
                </a:ext>
              </a:extLst>
            </p:cNvPr>
            <p:cNvSpPr/>
            <p:nvPr/>
          </p:nvSpPr>
          <p:spPr>
            <a:xfrm flipV="1">
              <a:off x="4941377" y="1790700"/>
              <a:ext cx="2405758" cy="1939378"/>
            </a:xfrm>
            <a:custGeom>
              <a:gdLst>
                <a:gd fmla="*/ 655764 w 2405758" name="connsiteX0"/>
                <a:gd fmla="*/ 882103 h 1939378" name="connsiteY0"/>
                <a:gd fmla="*/ 750209 w 2405758" name="connsiteX1"/>
                <a:gd fmla="*/ 882103 h 1939378" name="connsiteY1"/>
                <a:gd fmla="*/ 1202879 w 2405758" name="connsiteX2"/>
                <a:gd fmla="*/ 152272 h 1939378" name="connsiteY2"/>
                <a:gd fmla="*/ 1655549 w 2405758" name="connsiteX3"/>
                <a:gd fmla="*/ 882103 h 1939378" name="connsiteY3"/>
                <a:gd fmla="*/ 1749994 w 2405758" name="connsiteX4"/>
                <a:gd fmla="*/ 882103 h 1939378" name="connsiteY4"/>
                <a:gd fmla="*/ 1202879 w 2405758" name="connsiteX5"/>
                <a:gd fmla="*/ 0 h 1939378" name="connsiteY5"/>
                <a:gd fmla="*/ 0 w 2405758" name="connsiteX6"/>
                <a:gd fmla="*/ 1939378 h 1939378" name="connsiteY6"/>
                <a:gd fmla="*/ 2405758 w 2405758" name="connsiteX7"/>
                <a:gd fmla="*/ 1939378 h 1939378" name="connsiteY7"/>
                <a:gd fmla="*/ 1968582 w 2405758" name="connsiteX8"/>
                <a:gd fmla="*/ 1234528 h 1939378" name="connsiteY8"/>
                <a:gd fmla="*/ 1874137 w 2405758" name="connsiteX9"/>
                <a:gd fmla="*/ 1234528 h 1939378" name="connsiteY9"/>
                <a:gd fmla="*/ 2256407 w 2405758" name="connsiteX10"/>
                <a:gd fmla="*/ 1850854 h 1939378" name="connsiteY10"/>
                <a:gd fmla="*/ 149352 w 2405758" name="connsiteX11"/>
                <a:gd fmla="*/ 1850854 h 1939378" name="connsiteY11"/>
                <a:gd fmla="*/ 531621 w 2405758" name="connsiteX12"/>
                <a:gd fmla="*/ 1234528 h 1939378" name="connsiteY12"/>
                <a:gd fmla="*/ 437176 w 2405758" name="connsiteX13"/>
                <a:gd fmla="*/ 1234528 h 1939378" name="connsiteY1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b="b" l="l" r="r" t="t"/>
              <a:pathLst>
                <a:path h="1939378" w="2405758">
                  <a:moveTo>
                    <a:pt x="655764" y="882103"/>
                  </a:moveTo>
                  <a:lnTo>
                    <a:pt x="750209" y="882103"/>
                  </a:lnTo>
                  <a:lnTo>
                    <a:pt x="1202879" y="152272"/>
                  </a:lnTo>
                  <a:lnTo>
                    <a:pt x="1655549" y="882103"/>
                  </a:lnTo>
                  <a:lnTo>
                    <a:pt x="1749994" y="882103"/>
                  </a:lnTo>
                  <a:lnTo>
                    <a:pt x="1202879" y="0"/>
                  </a:lnTo>
                  <a:close/>
                  <a:moveTo>
                    <a:pt x="0" y="1939378"/>
                  </a:moveTo>
                  <a:lnTo>
                    <a:pt x="2405758" y="1939378"/>
                  </a:lnTo>
                  <a:lnTo>
                    <a:pt x="1968582" y="1234528"/>
                  </a:lnTo>
                  <a:lnTo>
                    <a:pt x="1874137" y="1234528"/>
                  </a:lnTo>
                  <a:lnTo>
                    <a:pt x="2256407" y="1850854"/>
                  </a:lnTo>
                  <a:lnTo>
                    <a:pt x="149352" y="1850854"/>
                  </a:lnTo>
                  <a:lnTo>
                    <a:pt x="531621" y="1234528"/>
                  </a:lnTo>
                  <a:lnTo>
                    <a:pt x="437176" y="1234528"/>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grpSp>
      <p:grpSp>
        <p:nvGrpSpPr>
          <p:cNvPr id="106" name="组合 105">
            <a:extLst>
              <a:ext uri="{FF2B5EF4-FFF2-40B4-BE49-F238E27FC236}">
                <a16:creationId xmlns:a16="http://schemas.microsoft.com/office/drawing/2014/main" id="{D71D74D1-93AF-4C3C-A006-C70102D46831}"/>
              </a:ext>
            </a:extLst>
          </p:cNvPr>
          <p:cNvGrpSpPr/>
          <p:nvPr/>
        </p:nvGrpSpPr>
        <p:grpSpPr>
          <a:xfrm>
            <a:off x="8202286" y="2610438"/>
            <a:ext cx="2470150" cy="3022600"/>
            <a:chOff x="8202286" y="2610438"/>
            <a:chExt cx="2470150" cy="3022600"/>
          </a:xfrm>
        </p:grpSpPr>
        <p:sp>
          <p:nvSpPr>
            <p:cNvPr id="92" name="图文框 91">
              <a:extLst>
                <a:ext uri="{FF2B5EF4-FFF2-40B4-BE49-F238E27FC236}">
                  <a16:creationId xmlns:a16="http://schemas.microsoft.com/office/drawing/2014/main" id="{0FA90988-8F5E-4853-BE6D-E28B2A8D08A7}"/>
                </a:ext>
              </a:extLst>
            </p:cNvPr>
            <p:cNvSpPr/>
            <p:nvPr/>
          </p:nvSpPr>
          <p:spPr>
            <a:xfrm>
              <a:off x="8202286" y="2610438"/>
              <a:ext cx="2470150" cy="3022600"/>
            </a:xfrm>
            <a:prstGeom prst="frame">
              <a:avLst>
                <a:gd fmla="val 3486" name="adj1"/>
              </a:avLst>
            </a:prstGeom>
            <a:blipFill>
              <a:blip r:embed="rId6"/>
              <a:stretch>
                <a:fillRect b="-6214" t="-6272"/>
              </a:stretch>
            </a:blip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solidFill>
                  <a:schemeClr val="tx1"/>
                </a:solidFill>
              </a:endParaRPr>
            </a:p>
          </p:txBody>
        </p:sp>
        <p:sp>
          <p:nvSpPr>
            <p:cNvPr id="93" name="矩形 92">
              <a:extLst>
                <a:ext uri="{FF2B5EF4-FFF2-40B4-BE49-F238E27FC236}">
                  <a16:creationId xmlns:a16="http://schemas.microsoft.com/office/drawing/2014/main" id="{DE8C6FCA-98B0-42D1-B8D9-91A6F8BC9E36}"/>
                </a:ext>
              </a:extLst>
            </p:cNvPr>
            <p:cNvSpPr/>
            <p:nvPr/>
          </p:nvSpPr>
          <p:spPr>
            <a:xfrm>
              <a:off x="8280297" y="2694428"/>
              <a:ext cx="2311177" cy="2849122"/>
            </a:xfrm>
            <a:prstGeom prst="rect">
              <a:avLst/>
            </a:prstGeom>
            <a:blipFill>
              <a:blip r:embed="rId9"/>
              <a:stretch>
                <a:fillRect b="-6214" t="-6272"/>
              </a:stretch>
            </a:blip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grpSp>
      <p:sp>
        <p:nvSpPr>
          <p:cNvPr id="96" name="文本框 95">
            <a:extLst>
              <a:ext uri="{FF2B5EF4-FFF2-40B4-BE49-F238E27FC236}">
                <a16:creationId xmlns:a16="http://schemas.microsoft.com/office/drawing/2014/main" id="{2823551B-8738-4F8A-8FA4-E2C9B8C116CD}"/>
              </a:ext>
            </a:extLst>
          </p:cNvPr>
          <p:cNvSpPr txBox="1"/>
          <p:nvPr/>
        </p:nvSpPr>
        <p:spPr>
          <a:xfrm>
            <a:off x="8742750" y="2015903"/>
            <a:ext cx="1386272" cy="396240"/>
          </a:xfrm>
          <a:prstGeom prst="rect">
            <a:avLst/>
          </a:prstGeom>
          <a:noFill/>
        </p:spPr>
        <p:txBody>
          <a:bodyPr rtlCol="0" wrap="square">
            <a:spAutoFit/>
          </a:bodyPr>
          <a:lstStyle/>
          <a:p>
            <a:pPr algn="ctr"/>
            <a:r>
              <a:rPr altLang="en-US" lang="zh-CN" sz="2000">
                <a:solidFill>
                  <a:schemeClr val="tx1">
                    <a:lumMod val="85000"/>
                    <a:lumOff val="15000"/>
                  </a:schemeClr>
                </a:solidFill>
                <a:effectLst>
                  <a:outerShdw algn="tl" dir="2700000" dist="38100">
                    <a:srgbClr val="000000">
                      <a:alpha val="43137"/>
                    </a:srgbClr>
                  </a:outerShdw>
                </a:effectLst>
              </a:rPr>
              <a:t>输入文本</a:t>
            </a:r>
          </a:p>
        </p:txBody>
      </p:sp>
      <p:grpSp>
        <p:nvGrpSpPr>
          <p:cNvPr id="110" name="组合 109">
            <a:extLst>
              <a:ext uri="{FF2B5EF4-FFF2-40B4-BE49-F238E27FC236}">
                <a16:creationId xmlns:a16="http://schemas.microsoft.com/office/drawing/2014/main" id="{C2ED1B4F-5126-4773-BBD3-DC8DCEE1DA78}"/>
              </a:ext>
            </a:extLst>
          </p:cNvPr>
          <p:cNvGrpSpPr/>
          <p:nvPr/>
        </p:nvGrpSpPr>
        <p:grpSpPr>
          <a:xfrm>
            <a:off x="8742749" y="2789407"/>
            <a:ext cx="1386272" cy="633991"/>
            <a:chOff x="8742749" y="2789407"/>
            <a:chExt cx="1386272" cy="633991"/>
          </a:xfrm>
        </p:grpSpPr>
        <p:sp>
          <p:nvSpPr>
            <p:cNvPr id="94" name="等腰三角形 93">
              <a:extLst>
                <a:ext uri="{FF2B5EF4-FFF2-40B4-BE49-F238E27FC236}">
                  <a16:creationId xmlns:a16="http://schemas.microsoft.com/office/drawing/2014/main" id="{1E721B76-49FB-4A2D-826A-70898E3C2E42}"/>
                </a:ext>
              </a:extLst>
            </p:cNvPr>
            <p:cNvSpPr/>
            <p:nvPr/>
          </p:nvSpPr>
          <p:spPr>
            <a:xfrm flipV="1">
              <a:off x="9071824" y="2795706"/>
              <a:ext cx="728122" cy="627692"/>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97" name="文本框 96">
              <a:extLst>
                <a:ext uri="{FF2B5EF4-FFF2-40B4-BE49-F238E27FC236}">
                  <a16:creationId xmlns:a16="http://schemas.microsoft.com/office/drawing/2014/main" id="{0E07F76E-97DE-4ACB-94CC-327C26D1ACE9}"/>
                </a:ext>
              </a:extLst>
            </p:cNvPr>
            <p:cNvSpPr txBox="1"/>
            <p:nvPr/>
          </p:nvSpPr>
          <p:spPr>
            <a:xfrm>
              <a:off x="8742750" y="2789407"/>
              <a:ext cx="1386272" cy="396240"/>
            </a:xfrm>
            <a:prstGeom prst="rect">
              <a:avLst/>
            </a:prstGeom>
            <a:noFill/>
          </p:spPr>
          <p:txBody>
            <a:bodyPr rtlCol="0" wrap="square">
              <a:spAutoFit/>
            </a:bodyPr>
            <a:lstStyle/>
            <a:p>
              <a:pPr algn="ctr"/>
              <a:r>
                <a:rPr altLang="zh-CN" lang="en-US" sz="2000">
                  <a:solidFill>
                    <a:schemeClr val="tx1">
                      <a:lumMod val="85000"/>
                      <a:lumOff val="15000"/>
                    </a:schemeClr>
                  </a:solidFill>
                </a:rPr>
                <a:t>03</a:t>
              </a:r>
            </a:p>
          </p:txBody>
        </p:sp>
      </p:grpSp>
      <p:grpSp>
        <p:nvGrpSpPr>
          <p:cNvPr id="102" name="组合 101">
            <a:extLst>
              <a:ext uri="{FF2B5EF4-FFF2-40B4-BE49-F238E27FC236}">
                <a16:creationId xmlns:a16="http://schemas.microsoft.com/office/drawing/2014/main" id="{7AF04BFF-97B1-4FF7-83E2-CFE27F08A29D}"/>
              </a:ext>
            </a:extLst>
          </p:cNvPr>
          <p:cNvGrpSpPr/>
          <p:nvPr/>
        </p:nvGrpSpPr>
        <p:grpSpPr>
          <a:xfrm>
            <a:off x="8196382" y="1790700"/>
            <a:ext cx="2470150" cy="1939378"/>
            <a:chOff x="8196382" y="1790700"/>
            <a:chExt cx="2470150" cy="1939378"/>
          </a:xfrm>
        </p:grpSpPr>
        <p:sp>
          <p:nvSpPr>
            <p:cNvPr id="95" name="任意多边形: 形状 94">
              <a:extLst>
                <a:ext uri="{FF2B5EF4-FFF2-40B4-BE49-F238E27FC236}">
                  <a16:creationId xmlns:a16="http://schemas.microsoft.com/office/drawing/2014/main" id="{E5DE025F-EC8C-4363-882B-FA781F0D68C0}"/>
                </a:ext>
              </a:extLst>
            </p:cNvPr>
            <p:cNvSpPr/>
            <p:nvPr/>
          </p:nvSpPr>
          <p:spPr>
            <a:xfrm flipV="1">
              <a:off x="8196382" y="1790700"/>
              <a:ext cx="2405758" cy="1939378"/>
            </a:xfrm>
            <a:custGeom>
              <a:gdLst>
                <a:gd fmla="*/ 655764 w 2405758" name="connsiteX0"/>
                <a:gd fmla="*/ 882103 h 1939378" name="connsiteY0"/>
                <a:gd fmla="*/ 750209 w 2405758" name="connsiteX1"/>
                <a:gd fmla="*/ 882103 h 1939378" name="connsiteY1"/>
                <a:gd fmla="*/ 1202879 w 2405758" name="connsiteX2"/>
                <a:gd fmla="*/ 152272 h 1939378" name="connsiteY2"/>
                <a:gd fmla="*/ 1655549 w 2405758" name="connsiteX3"/>
                <a:gd fmla="*/ 882103 h 1939378" name="connsiteY3"/>
                <a:gd fmla="*/ 1749994 w 2405758" name="connsiteX4"/>
                <a:gd fmla="*/ 882103 h 1939378" name="connsiteY4"/>
                <a:gd fmla="*/ 1202879 w 2405758" name="connsiteX5"/>
                <a:gd fmla="*/ 0 h 1939378" name="connsiteY5"/>
                <a:gd fmla="*/ 0 w 2405758" name="connsiteX6"/>
                <a:gd fmla="*/ 1939378 h 1939378" name="connsiteY6"/>
                <a:gd fmla="*/ 2405758 w 2405758" name="connsiteX7"/>
                <a:gd fmla="*/ 1939378 h 1939378" name="connsiteY7"/>
                <a:gd fmla="*/ 1968582 w 2405758" name="connsiteX8"/>
                <a:gd fmla="*/ 1234528 h 1939378" name="connsiteY8"/>
                <a:gd fmla="*/ 1874137 w 2405758" name="connsiteX9"/>
                <a:gd fmla="*/ 1234528 h 1939378" name="connsiteY9"/>
                <a:gd fmla="*/ 2256407 w 2405758" name="connsiteX10"/>
                <a:gd fmla="*/ 1850854 h 1939378" name="connsiteY10"/>
                <a:gd fmla="*/ 149352 w 2405758" name="connsiteX11"/>
                <a:gd fmla="*/ 1850854 h 1939378" name="connsiteY11"/>
                <a:gd fmla="*/ 531621 w 2405758" name="connsiteX12"/>
                <a:gd fmla="*/ 1234528 h 1939378" name="connsiteY12"/>
                <a:gd fmla="*/ 437176 w 2405758" name="connsiteX13"/>
                <a:gd fmla="*/ 1234528 h 1939378" name="connsiteY1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b="b" l="l" r="r" t="t"/>
              <a:pathLst>
                <a:path h="1939378" w="2405758">
                  <a:moveTo>
                    <a:pt x="655764" y="882103"/>
                  </a:moveTo>
                  <a:lnTo>
                    <a:pt x="750209" y="882103"/>
                  </a:lnTo>
                  <a:lnTo>
                    <a:pt x="1202879" y="152272"/>
                  </a:lnTo>
                  <a:lnTo>
                    <a:pt x="1655549" y="882103"/>
                  </a:lnTo>
                  <a:lnTo>
                    <a:pt x="1749994" y="882103"/>
                  </a:lnTo>
                  <a:lnTo>
                    <a:pt x="1202879" y="0"/>
                  </a:lnTo>
                  <a:close/>
                  <a:moveTo>
                    <a:pt x="0" y="1939378"/>
                  </a:moveTo>
                  <a:lnTo>
                    <a:pt x="2405758" y="1939378"/>
                  </a:lnTo>
                  <a:lnTo>
                    <a:pt x="1968582" y="1234528"/>
                  </a:lnTo>
                  <a:lnTo>
                    <a:pt x="1874137" y="1234528"/>
                  </a:lnTo>
                  <a:lnTo>
                    <a:pt x="2256407" y="1850854"/>
                  </a:lnTo>
                  <a:lnTo>
                    <a:pt x="149352" y="1850854"/>
                  </a:lnTo>
                  <a:lnTo>
                    <a:pt x="531621" y="1234528"/>
                  </a:lnTo>
                  <a:lnTo>
                    <a:pt x="437176" y="1234528"/>
                  </a:ln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98" name="任意多边形: 形状 97">
              <a:extLst>
                <a:ext uri="{FF2B5EF4-FFF2-40B4-BE49-F238E27FC236}">
                  <a16:creationId xmlns:a16="http://schemas.microsoft.com/office/drawing/2014/main" id="{B558ACB4-7735-4914-9DD8-1B1774FD829C}"/>
                </a:ext>
              </a:extLst>
            </p:cNvPr>
            <p:cNvSpPr/>
            <p:nvPr/>
          </p:nvSpPr>
          <p:spPr>
            <a:xfrm flipV="1">
              <a:off x="8260774" y="1790700"/>
              <a:ext cx="2405758" cy="1939378"/>
            </a:xfrm>
            <a:custGeom>
              <a:gdLst>
                <a:gd fmla="*/ 655764 w 2405758" name="connsiteX0"/>
                <a:gd fmla="*/ 882103 h 1939378" name="connsiteY0"/>
                <a:gd fmla="*/ 750209 w 2405758" name="connsiteX1"/>
                <a:gd fmla="*/ 882103 h 1939378" name="connsiteY1"/>
                <a:gd fmla="*/ 1202879 w 2405758" name="connsiteX2"/>
                <a:gd fmla="*/ 152272 h 1939378" name="connsiteY2"/>
                <a:gd fmla="*/ 1655549 w 2405758" name="connsiteX3"/>
                <a:gd fmla="*/ 882103 h 1939378" name="connsiteY3"/>
                <a:gd fmla="*/ 1749994 w 2405758" name="connsiteX4"/>
                <a:gd fmla="*/ 882103 h 1939378" name="connsiteY4"/>
                <a:gd fmla="*/ 1202879 w 2405758" name="connsiteX5"/>
                <a:gd fmla="*/ 0 h 1939378" name="connsiteY5"/>
                <a:gd fmla="*/ 0 w 2405758" name="connsiteX6"/>
                <a:gd fmla="*/ 1939378 h 1939378" name="connsiteY6"/>
                <a:gd fmla="*/ 2405758 w 2405758" name="connsiteX7"/>
                <a:gd fmla="*/ 1939378 h 1939378" name="connsiteY7"/>
                <a:gd fmla="*/ 1968582 w 2405758" name="connsiteX8"/>
                <a:gd fmla="*/ 1234528 h 1939378" name="connsiteY8"/>
                <a:gd fmla="*/ 1874137 w 2405758" name="connsiteX9"/>
                <a:gd fmla="*/ 1234528 h 1939378" name="connsiteY9"/>
                <a:gd fmla="*/ 2256407 w 2405758" name="connsiteX10"/>
                <a:gd fmla="*/ 1850854 h 1939378" name="connsiteY10"/>
                <a:gd fmla="*/ 149352 w 2405758" name="connsiteX11"/>
                <a:gd fmla="*/ 1850854 h 1939378" name="connsiteY11"/>
                <a:gd fmla="*/ 531621 w 2405758" name="connsiteX12"/>
                <a:gd fmla="*/ 1234528 h 1939378" name="connsiteY12"/>
                <a:gd fmla="*/ 437176 w 2405758" name="connsiteX13"/>
                <a:gd fmla="*/ 1234528 h 1939378" name="connsiteY13"/>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b="b" l="l" r="r" t="t"/>
              <a:pathLst>
                <a:path h="1939378" w="2405758">
                  <a:moveTo>
                    <a:pt x="655764" y="882103"/>
                  </a:moveTo>
                  <a:lnTo>
                    <a:pt x="750209" y="882103"/>
                  </a:lnTo>
                  <a:lnTo>
                    <a:pt x="1202879" y="152272"/>
                  </a:lnTo>
                  <a:lnTo>
                    <a:pt x="1655549" y="882103"/>
                  </a:lnTo>
                  <a:lnTo>
                    <a:pt x="1749994" y="882103"/>
                  </a:lnTo>
                  <a:lnTo>
                    <a:pt x="1202879" y="0"/>
                  </a:lnTo>
                  <a:close/>
                  <a:moveTo>
                    <a:pt x="0" y="1939378"/>
                  </a:moveTo>
                  <a:lnTo>
                    <a:pt x="2405758" y="1939378"/>
                  </a:lnTo>
                  <a:lnTo>
                    <a:pt x="1968582" y="1234528"/>
                  </a:lnTo>
                  <a:lnTo>
                    <a:pt x="1874137" y="1234528"/>
                  </a:lnTo>
                  <a:lnTo>
                    <a:pt x="2256407" y="1850854"/>
                  </a:lnTo>
                  <a:lnTo>
                    <a:pt x="149352" y="1850854"/>
                  </a:lnTo>
                  <a:lnTo>
                    <a:pt x="531621" y="1234528"/>
                  </a:lnTo>
                  <a:lnTo>
                    <a:pt x="437176" y="1234528"/>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grpSp>
      <p:pic>
        <p:nvPicPr>
          <p:cNvPr id="99" name="图形 98">
            <a:extLst>
              <a:ext uri="{FF2B5EF4-FFF2-40B4-BE49-F238E27FC236}">
                <a16:creationId xmlns:a16="http://schemas.microsoft.com/office/drawing/2014/main" id="{C11C17B7-AB94-42EB-827B-17CF8AA40228}"/>
              </a:ext>
            </a:extLst>
          </p:cNvPr>
          <p:cNvPicPr>
            <a:picLocks noChangeAspect="1"/>
          </p:cNvPicPr>
          <p:nvPr/>
        </p:nvPicPr>
        <p:blipFill>
          <a:blip r:embed="rId10">
            <a:extLst>
              <a:ext uri="{96DAC541-7B7A-43D3-8B79-37D633B846F1}">
                <asvg:svgBlip xmlns:asvg="http://schemas.microsoft.com/office/drawing/2016/SVG/main" r:embed="rId11"/>
              </a:ext>
            </a:extLst>
          </a:blip>
          <a:srcRect b="5167" l="7384" r="26979" t="2999"/>
          <a:stretch>
            <a:fillRect/>
          </a:stretch>
        </p:blipFill>
        <p:spPr>
          <a:xfrm>
            <a:off x="11325281" y="5618178"/>
            <a:ext cx="527258" cy="935883"/>
          </a:xfrm>
          <a:custGeom>
            <a:rect b="b" l="l" r="r" t="t"/>
            <a:pathLst>
              <a:path h="1837631" w="1035286">
                <a:moveTo>
                  <a:pt x="619939" y="0"/>
                </a:moveTo>
                <a:lnTo>
                  <a:pt x="1035286" y="0"/>
                </a:lnTo>
                <a:lnTo>
                  <a:pt x="1035286" y="1837632"/>
                </a:lnTo>
                <a:lnTo>
                  <a:pt x="527503" y="1837632"/>
                </a:lnTo>
                <a:lnTo>
                  <a:pt x="527503" y="633496"/>
                </a:lnTo>
                <a:cubicBezTo>
                  <a:pt x="445337" y="695942"/>
                  <a:pt x="365842" y="746474"/>
                  <a:pt x="289017" y="785092"/>
                </a:cubicBezTo>
                <a:cubicBezTo>
                  <a:pt x="212192" y="823710"/>
                  <a:pt x="115853" y="860684"/>
                  <a:pt x="0" y="896015"/>
                </a:cubicBezTo>
                <a:lnTo>
                  <a:pt x="0" y="484366"/>
                </a:lnTo>
                <a:cubicBezTo>
                  <a:pt x="170904" y="429315"/>
                  <a:pt x="303602" y="363172"/>
                  <a:pt x="398092" y="285936"/>
                </a:cubicBezTo>
                <a:cubicBezTo>
                  <a:pt x="492582" y="208701"/>
                  <a:pt x="566531" y="113389"/>
                  <a:pt x="619939" y="0"/>
                </a:cubicBezTo>
                <a:close/>
              </a:path>
            </a:pathLst>
          </a:custGeom>
          <a:effectLst>
            <a:outerShdw algn="tl" blurRad="50800" dir="2700000" dist="38100" rotWithShape="0">
              <a:prstClr val="black">
                <a:alpha val="40000"/>
              </a:prstClr>
            </a:outerShdw>
          </a:effectLst>
        </p:spPr>
      </p:pic>
    </p:spTree>
    <p:extLst>
      <p:ext uri="{BB962C8B-B14F-4D97-AF65-F5344CB8AC3E}">
        <p14:creationId val="599372171"/>
      </p:ext>
    </p:extLst>
  </p:cSld>
  <p:clrMapOvr>
    <a:masterClrMapping/>
  </p:clrMapOvr>
  <mc:AlternateContent>
    <mc:Choice Requires="p14">
      <p:transition p14:dur="1500" spd="slow">
        <p:random/>
      </p:transition>
    </mc:Choice>
    <mc:Fallback>
      <p:transition spd="slow">
        <p:random/>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decel="100000" fill="hold" grpId="0" id="5" nodeType="withEffect" presetClass="entr" presetID="50" presetSubtype="0">
                                  <p:stCondLst>
                                    <p:cond delay="0"/>
                                  </p:stCondLst>
                                  <p:childTnLst>
                                    <p:set>
                                      <p:cBhvr>
                                        <p:cTn dur="1" fill="hold" id="6">
                                          <p:stCondLst>
                                            <p:cond delay="0"/>
                                          </p:stCondLst>
                                        </p:cTn>
                                        <p:tgtEl>
                                          <p:spTgt spid="10"/>
                                        </p:tgtEl>
                                        <p:attrNameLst>
                                          <p:attrName>style.visibility</p:attrName>
                                        </p:attrNameLst>
                                      </p:cBhvr>
                                      <p:to>
                                        <p:strVal val="visible"/>
                                      </p:to>
                                    </p:set>
                                    <p:anim calcmode="lin" valueType="num">
                                      <p:cBhvr>
                                        <p:cTn dur="1000" fill="hold" id="7"/>
                                        <p:tgtEl>
                                          <p:spTgt spid="10"/>
                                        </p:tgtEl>
                                        <p:attrNameLst>
                                          <p:attrName>ppt_w</p:attrName>
                                        </p:attrNameLst>
                                      </p:cBhvr>
                                      <p:tavLst>
                                        <p:tav tm="0">
                                          <p:val>
                                            <p:strVal val="#ppt_w+.3"/>
                                          </p:val>
                                        </p:tav>
                                        <p:tav tm="100000">
                                          <p:val>
                                            <p:strVal val="#ppt_w"/>
                                          </p:val>
                                        </p:tav>
                                      </p:tavLst>
                                    </p:anim>
                                    <p:anim calcmode="lin" valueType="num">
                                      <p:cBhvr>
                                        <p:cTn dur="1000" fill="hold" id="8"/>
                                        <p:tgtEl>
                                          <p:spTgt spid="10"/>
                                        </p:tgtEl>
                                        <p:attrNameLst>
                                          <p:attrName>ppt_h</p:attrName>
                                        </p:attrNameLst>
                                      </p:cBhvr>
                                      <p:tavLst>
                                        <p:tav tm="0">
                                          <p:val>
                                            <p:strVal val="#ppt_h"/>
                                          </p:val>
                                        </p:tav>
                                        <p:tav tm="100000">
                                          <p:val>
                                            <p:strVal val="#ppt_h"/>
                                          </p:val>
                                        </p:tav>
                                      </p:tavLst>
                                    </p:anim>
                                    <p:animEffect filter="fade" transition="in">
                                      <p:cBhvr>
                                        <p:cTn dur="1000" id="9"/>
                                        <p:tgtEl>
                                          <p:spTgt spid="10"/>
                                        </p:tgtEl>
                                      </p:cBhvr>
                                    </p:animEffect>
                                  </p:childTnLst>
                                </p:cTn>
                              </p:par>
                              <p:par>
                                <p:cTn fill="hold" id="10" nodeType="withEffect" presetClass="entr" presetID="53" presetSubtype="0">
                                  <p:stCondLst>
                                    <p:cond delay="250"/>
                                  </p:stCondLst>
                                  <p:childTnLst>
                                    <p:set>
                                      <p:cBhvr>
                                        <p:cTn dur="1" fill="hold" id="11">
                                          <p:stCondLst>
                                            <p:cond delay="0"/>
                                          </p:stCondLst>
                                        </p:cTn>
                                        <p:tgtEl>
                                          <p:spTgt spid="15"/>
                                        </p:tgtEl>
                                        <p:attrNameLst>
                                          <p:attrName>style.visibility</p:attrName>
                                        </p:attrNameLst>
                                      </p:cBhvr>
                                      <p:to>
                                        <p:strVal val="visible"/>
                                      </p:to>
                                    </p:set>
                                    <p:anim calcmode="lin" valueType="num">
                                      <p:cBhvr>
                                        <p:cTn dur="500" fill="hold" id="12"/>
                                        <p:tgtEl>
                                          <p:spTgt spid="15"/>
                                        </p:tgtEl>
                                        <p:attrNameLst>
                                          <p:attrName>ppt_w</p:attrName>
                                        </p:attrNameLst>
                                      </p:cBhvr>
                                      <p:tavLst>
                                        <p:tav tm="0">
                                          <p:val>
                                            <p:fltVal val="0"/>
                                          </p:val>
                                        </p:tav>
                                        <p:tav tm="100000">
                                          <p:val>
                                            <p:strVal val="#ppt_w"/>
                                          </p:val>
                                        </p:tav>
                                      </p:tavLst>
                                    </p:anim>
                                    <p:anim calcmode="lin" valueType="num">
                                      <p:cBhvr>
                                        <p:cTn dur="500" fill="hold" id="13"/>
                                        <p:tgtEl>
                                          <p:spTgt spid="15"/>
                                        </p:tgtEl>
                                        <p:attrNameLst>
                                          <p:attrName>ppt_h</p:attrName>
                                        </p:attrNameLst>
                                      </p:cBhvr>
                                      <p:tavLst>
                                        <p:tav tm="0">
                                          <p:val>
                                            <p:fltVal val="0"/>
                                          </p:val>
                                        </p:tav>
                                        <p:tav tm="100000">
                                          <p:val>
                                            <p:strVal val="#ppt_h"/>
                                          </p:val>
                                        </p:tav>
                                      </p:tavLst>
                                    </p:anim>
                                    <p:animEffect filter="fade" transition="in">
                                      <p:cBhvr>
                                        <p:cTn dur="500" id="14"/>
                                        <p:tgtEl>
                                          <p:spTgt spid="15"/>
                                        </p:tgtEl>
                                      </p:cBhvr>
                                    </p:animEffect>
                                  </p:childTnLst>
                                </p:cTn>
                              </p:par>
                              <p:par>
                                <p:cTn fill="hold" id="15" nodeType="withEffect" presetClass="entr" presetID="53" presetSubtype="0">
                                  <p:stCondLst>
                                    <p:cond delay="250"/>
                                  </p:stCondLst>
                                  <p:childTnLst>
                                    <p:set>
                                      <p:cBhvr>
                                        <p:cTn dur="1" fill="hold" id="16">
                                          <p:stCondLst>
                                            <p:cond delay="0"/>
                                          </p:stCondLst>
                                        </p:cTn>
                                        <p:tgtEl>
                                          <p:spTgt spid="16"/>
                                        </p:tgtEl>
                                        <p:attrNameLst>
                                          <p:attrName>style.visibility</p:attrName>
                                        </p:attrNameLst>
                                      </p:cBhvr>
                                      <p:to>
                                        <p:strVal val="visible"/>
                                      </p:to>
                                    </p:set>
                                    <p:anim calcmode="lin" valueType="num">
                                      <p:cBhvr>
                                        <p:cTn dur="500" fill="hold" id="17"/>
                                        <p:tgtEl>
                                          <p:spTgt spid="16"/>
                                        </p:tgtEl>
                                        <p:attrNameLst>
                                          <p:attrName>ppt_w</p:attrName>
                                        </p:attrNameLst>
                                      </p:cBhvr>
                                      <p:tavLst>
                                        <p:tav tm="0">
                                          <p:val>
                                            <p:fltVal val="0"/>
                                          </p:val>
                                        </p:tav>
                                        <p:tav tm="100000">
                                          <p:val>
                                            <p:strVal val="#ppt_w"/>
                                          </p:val>
                                        </p:tav>
                                      </p:tavLst>
                                    </p:anim>
                                    <p:anim calcmode="lin" valueType="num">
                                      <p:cBhvr>
                                        <p:cTn dur="500" fill="hold" id="18"/>
                                        <p:tgtEl>
                                          <p:spTgt spid="16"/>
                                        </p:tgtEl>
                                        <p:attrNameLst>
                                          <p:attrName>ppt_h</p:attrName>
                                        </p:attrNameLst>
                                      </p:cBhvr>
                                      <p:tavLst>
                                        <p:tav tm="0">
                                          <p:val>
                                            <p:fltVal val="0"/>
                                          </p:val>
                                        </p:tav>
                                        <p:tav tm="100000">
                                          <p:val>
                                            <p:strVal val="#ppt_h"/>
                                          </p:val>
                                        </p:tav>
                                      </p:tavLst>
                                    </p:anim>
                                    <p:animEffect filter="fade" transition="in">
                                      <p:cBhvr>
                                        <p:cTn dur="500" id="19"/>
                                        <p:tgtEl>
                                          <p:spTgt spid="16"/>
                                        </p:tgtEl>
                                      </p:cBhvr>
                                    </p:animEffect>
                                  </p:childTnLst>
                                </p:cTn>
                              </p:par>
                              <p:par>
                                <p:cTn fill="hold" id="20" nodeType="withEffect" presetClass="entr" presetID="22" presetSubtype="8">
                                  <p:stCondLst>
                                    <p:cond delay="750"/>
                                  </p:stCondLst>
                                  <p:childTnLst>
                                    <p:set>
                                      <p:cBhvr>
                                        <p:cTn dur="1" fill="hold" id="21">
                                          <p:stCondLst>
                                            <p:cond delay="0"/>
                                          </p:stCondLst>
                                        </p:cTn>
                                        <p:tgtEl>
                                          <p:spTgt spid="13"/>
                                        </p:tgtEl>
                                        <p:attrNameLst>
                                          <p:attrName>style.visibility</p:attrName>
                                        </p:attrNameLst>
                                      </p:cBhvr>
                                      <p:to>
                                        <p:strVal val="visible"/>
                                      </p:to>
                                    </p:set>
                                    <p:animEffect filter="wipe(left)" transition="in">
                                      <p:cBhvr>
                                        <p:cTn dur="250" id="22"/>
                                        <p:tgtEl>
                                          <p:spTgt spid="13"/>
                                        </p:tgtEl>
                                      </p:cBhvr>
                                    </p:animEffect>
                                  </p:childTnLst>
                                </p:cTn>
                              </p:par>
                              <p:par>
                                <p:cTn fill="hold" id="23" nodeType="withEffect" presetClass="entr" presetID="22" presetSubtype="2">
                                  <p:stCondLst>
                                    <p:cond delay="750"/>
                                  </p:stCondLst>
                                  <p:childTnLst>
                                    <p:set>
                                      <p:cBhvr>
                                        <p:cTn dur="1" fill="hold" id="24">
                                          <p:stCondLst>
                                            <p:cond delay="0"/>
                                          </p:stCondLst>
                                        </p:cTn>
                                        <p:tgtEl>
                                          <p:spTgt spid="18"/>
                                        </p:tgtEl>
                                        <p:attrNameLst>
                                          <p:attrName>style.visibility</p:attrName>
                                        </p:attrNameLst>
                                      </p:cBhvr>
                                      <p:to>
                                        <p:strVal val="visible"/>
                                      </p:to>
                                    </p:set>
                                    <p:animEffect filter="wipe(right)" transition="in">
                                      <p:cBhvr>
                                        <p:cTn dur="250" id="25"/>
                                        <p:tgtEl>
                                          <p:spTgt spid="18"/>
                                        </p:tgtEl>
                                      </p:cBhvr>
                                    </p:animEffect>
                                  </p:childTnLst>
                                </p:cTn>
                              </p:par>
                            </p:childTnLst>
                          </p:cTn>
                        </p:par>
                        <p:par>
                          <p:cTn fill="hold" id="26" nodeType="afterGroup">
                            <p:stCondLst>
                              <p:cond delay="1000"/>
                            </p:stCondLst>
                            <p:childTnLst>
                              <p:par>
                                <p:cTn fill="hold" id="27" nodeType="afterEffect" presetClass="entr" presetID="22" presetSubtype="4">
                                  <p:stCondLst>
                                    <p:cond delay="0"/>
                                  </p:stCondLst>
                                  <p:childTnLst>
                                    <p:set>
                                      <p:cBhvr>
                                        <p:cTn dur="1" fill="hold" id="28">
                                          <p:stCondLst>
                                            <p:cond delay="0"/>
                                          </p:stCondLst>
                                        </p:cTn>
                                        <p:tgtEl>
                                          <p:spTgt spid="100"/>
                                        </p:tgtEl>
                                        <p:attrNameLst>
                                          <p:attrName>style.visibility</p:attrName>
                                        </p:attrNameLst>
                                      </p:cBhvr>
                                      <p:to>
                                        <p:strVal val="visible"/>
                                      </p:to>
                                    </p:set>
                                    <p:animEffect filter="wipe(down)" transition="in">
                                      <p:cBhvr>
                                        <p:cTn dur="500" id="29"/>
                                        <p:tgtEl>
                                          <p:spTgt spid="100"/>
                                        </p:tgtEl>
                                      </p:cBhvr>
                                    </p:animEffect>
                                  </p:childTnLst>
                                </p:cTn>
                              </p:par>
                              <p:par>
                                <p:cTn fill="hold" id="30" nodeType="withEffect" presetClass="entr" presetID="22" presetSubtype="1">
                                  <p:stCondLst>
                                    <p:cond delay="0"/>
                                  </p:stCondLst>
                                  <p:childTnLst>
                                    <p:set>
                                      <p:cBhvr>
                                        <p:cTn dur="1" fill="hold" id="31">
                                          <p:stCondLst>
                                            <p:cond delay="0"/>
                                          </p:stCondLst>
                                        </p:cTn>
                                        <p:tgtEl>
                                          <p:spTgt spid="103"/>
                                        </p:tgtEl>
                                        <p:attrNameLst>
                                          <p:attrName>style.visibility</p:attrName>
                                        </p:attrNameLst>
                                      </p:cBhvr>
                                      <p:to>
                                        <p:strVal val="visible"/>
                                      </p:to>
                                    </p:set>
                                    <p:animEffect filter="wipe(up)" transition="in">
                                      <p:cBhvr>
                                        <p:cTn dur="500" id="32"/>
                                        <p:tgtEl>
                                          <p:spTgt spid="103"/>
                                        </p:tgtEl>
                                      </p:cBhvr>
                                    </p:animEffect>
                                  </p:childTnLst>
                                </p:cTn>
                              </p:par>
                            </p:childTnLst>
                          </p:cTn>
                        </p:par>
                        <p:par>
                          <p:cTn fill="hold" id="33" nodeType="afterGroup">
                            <p:stCondLst>
                              <p:cond delay="1500"/>
                            </p:stCondLst>
                            <p:childTnLst>
                              <p:par>
                                <p:cTn fill="hold" grpId="0" id="34" nodeType="afterEffect" presetClass="entr" presetID="53" presetSubtype="0">
                                  <p:stCondLst>
                                    <p:cond delay="0"/>
                                  </p:stCondLst>
                                  <p:childTnLst>
                                    <p:set>
                                      <p:cBhvr>
                                        <p:cTn dur="1" fill="hold" id="35">
                                          <p:stCondLst>
                                            <p:cond delay="0"/>
                                          </p:stCondLst>
                                        </p:cTn>
                                        <p:tgtEl>
                                          <p:spTgt spid="81"/>
                                        </p:tgtEl>
                                        <p:attrNameLst>
                                          <p:attrName>style.visibility</p:attrName>
                                        </p:attrNameLst>
                                      </p:cBhvr>
                                      <p:to>
                                        <p:strVal val="visible"/>
                                      </p:to>
                                    </p:set>
                                    <p:anim calcmode="lin" valueType="num">
                                      <p:cBhvr>
                                        <p:cTn dur="500" fill="hold" id="36"/>
                                        <p:tgtEl>
                                          <p:spTgt spid="81"/>
                                        </p:tgtEl>
                                        <p:attrNameLst>
                                          <p:attrName>ppt_w</p:attrName>
                                        </p:attrNameLst>
                                      </p:cBhvr>
                                      <p:tavLst>
                                        <p:tav tm="0">
                                          <p:val>
                                            <p:fltVal val="0"/>
                                          </p:val>
                                        </p:tav>
                                        <p:tav tm="100000">
                                          <p:val>
                                            <p:strVal val="#ppt_w"/>
                                          </p:val>
                                        </p:tav>
                                      </p:tavLst>
                                    </p:anim>
                                    <p:anim calcmode="lin" valueType="num">
                                      <p:cBhvr>
                                        <p:cTn dur="500" fill="hold" id="37"/>
                                        <p:tgtEl>
                                          <p:spTgt spid="81"/>
                                        </p:tgtEl>
                                        <p:attrNameLst>
                                          <p:attrName>ppt_h</p:attrName>
                                        </p:attrNameLst>
                                      </p:cBhvr>
                                      <p:tavLst>
                                        <p:tav tm="0">
                                          <p:val>
                                            <p:fltVal val="0"/>
                                          </p:val>
                                        </p:tav>
                                        <p:tav tm="100000">
                                          <p:val>
                                            <p:strVal val="#ppt_h"/>
                                          </p:val>
                                        </p:tav>
                                      </p:tavLst>
                                    </p:anim>
                                    <p:animEffect filter="fade" transition="in">
                                      <p:cBhvr>
                                        <p:cTn dur="500" id="38"/>
                                        <p:tgtEl>
                                          <p:spTgt spid="81"/>
                                        </p:tgtEl>
                                      </p:cBhvr>
                                    </p:animEffect>
                                  </p:childTnLst>
                                </p:cTn>
                              </p:par>
                              <p:par>
                                <p:cTn fill="hold" id="39" nodeType="withEffect" presetClass="entr" presetID="53" presetSubtype="0">
                                  <p:stCondLst>
                                    <p:cond delay="0"/>
                                  </p:stCondLst>
                                  <p:childTnLst>
                                    <p:set>
                                      <p:cBhvr>
                                        <p:cTn dur="1" fill="hold" id="40">
                                          <p:stCondLst>
                                            <p:cond delay="0"/>
                                          </p:stCondLst>
                                        </p:cTn>
                                        <p:tgtEl>
                                          <p:spTgt spid="108"/>
                                        </p:tgtEl>
                                        <p:attrNameLst>
                                          <p:attrName>style.visibility</p:attrName>
                                        </p:attrNameLst>
                                      </p:cBhvr>
                                      <p:to>
                                        <p:strVal val="visible"/>
                                      </p:to>
                                    </p:set>
                                    <p:anim calcmode="lin" valueType="num">
                                      <p:cBhvr>
                                        <p:cTn dur="500" fill="hold" id="41"/>
                                        <p:tgtEl>
                                          <p:spTgt spid="108"/>
                                        </p:tgtEl>
                                        <p:attrNameLst>
                                          <p:attrName>ppt_w</p:attrName>
                                        </p:attrNameLst>
                                      </p:cBhvr>
                                      <p:tavLst>
                                        <p:tav tm="0">
                                          <p:val>
                                            <p:fltVal val="0"/>
                                          </p:val>
                                        </p:tav>
                                        <p:tav tm="100000">
                                          <p:val>
                                            <p:strVal val="#ppt_w"/>
                                          </p:val>
                                        </p:tav>
                                      </p:tavLst>
                                    </p:anim>
                                    <p:anim calcmode="lin" valueType="num">
                                      <p:cBhvr>
                                        <p:cTn dur="500" fill="hold" id="42"/>
                                        <p:tgtEl>
                                          <p:spTgt spid="108"/>
                                        </p:tgtEl>
                                        <p:attrNameLst>
                                          <p:attrName>ppt_h</p:attrName>
                                        </p:attrNameLst>
                                      </p:cBhvr>
                                      <p:tavLst>
                                        <p:tav tm="0">
                                          <p:val>
                                            <p:fltVal val="0"/>
                                          </p:val>
                                        </p:tav>
                                        <p:tav tm="100000">
                                          <p:val>
                                            <p:strVal val="#ppt_h"/>
                                          </p:val>
                                        </p:tav>
                                      </p:tavLst>
                                    </p:anim>
                                    <p:animEffect filter="fade" transition="in">
                                      <p:cBhvr>
                                        <p:cTn dur="500" id="43"/>
                                        <p:tgtEl>
                                          <p:spTgt spid="108"/>
                                        </p:tgtEl>
                                      </p:cBhvr>
                                    </p:animEffect>
                                  </p:childTnLst>
                                </p:cTn>
                              </p:par>
                            </p:childTnLst>
                          </p:cTn>
                        </p:par>
                        <p:par>
                          <p:cTn fill="hold" id="44" nodeType="afterGroup">
                            <p:stCondLst>
                              <p:cond delay="2000"/>
                            </p:stCondLst>
                            <p:childTnLst>
                              <p:par>
                                <p:cTn fill="hold" id="45" nodeType="afterEffect" presetClass="entr" presetID="22" presetSubtype="4">
                                  <p:stCondLst>
                                    <p:cond delay="0"/>
                                  </p:stCondLst>
                                  <p:childTnLst>
                                    <p:set>
                                      <p:cBhvr>
                                        <p:cTn dur="1" fill="hold" id="46">
                                          <p:stCondLst>
                                            <p:cond delay="0"/>
                                          </p:stCondLst>
                                        </p:cTn>
                                        <p:tgtEl>
                                          <p:spTgt spid="101"/>
                                        </p:tgtEl>
                                        <p:attrNameLst>
                                          <p:attrName>style.visibility</p:attrName>
                                        </p:attrNameLst>
                                      </p:cBhvr>
                                      <p:to>
                                        <p:strVal val="visible"/>
                                      </p:to>
                                    </p:set>
                                    <p:animEffect filter="wipe(down)" transition="in">
                                      <p:cBhvr>
                                        <p:cTn dur="500" id="47"/>
                                        <p:tgtEl>
                                          <p:spTgt spid="101"/>
                                        </p:tgtEl>
                                      </p:cBhvr>
                                    </p:animEffect>
                                  </p:childTnLst>
                                </p:cTn>
                              </p:par>
                              <p:par>
                                <p:cTn fill="hold" id="48" nodeType="withEffect" presetClass="entr" presetID="22" presetSubtype="1">
                                  <p:stCondLst>
                                    <p:cond delay="0"/>
                                  </p:stCondLst>
                                  <p:childTnLst>
                                    <p:set>
                                      <p:cBhvr>
                                        <p:cTn dur="1" fill="hold" id="49">
                                          <p:stCondLst>
                                            <p:cond delay="0"/>
                                          </p:stCondLst>
                                        </p:cTn>
                                        <p:tgtEl>
                                          <p:spTgt spid="105"/>
                                        </p:tgtEl>
                                        <p:attrNameLst>
                                          <p:attrName>style.visibility</p:attrName>
                                        </p:attrNameLst>
                                      </p:cBhvr>
                                      <p:to>
                                        <p:strVal val="visible"/>
                                      </p:to>
                                    </p:set>
                                    <p:animEffect filter="wipe(up)" transition="in">
                                      <p:cBhvr>
                                        <p:cTn dur="500" id="50"/>
                                        <p:tgtEl>
                                          <p:spTgt spid="105"/>
                                        </p:tgtEl>
                                      </p:cBhvr>
                                    </p:animEffect>
                                  </p:childTnLst>
                                </p:cTn>
                              </p:par>
                            </p:childTnLst>
                          </p:cTn>
                        </p:par>
                        <p:par>
                          <p:cTn fill="hold" id="51" nodeType="afterGroup">
                            <p:stCondLst>
                              <p:cond delay="2500"/>
                            </p:stCondLst>
                            <p:childTnLst>
                              <p:par>
                                <p:cTn fill="hold" grpId="0" id="52" nodeType="afterEffect" presetClass="entr" presetID="53" presetSubtype="0">
                                  <p:stCondLst>
                                    <p:cond delay="0"/>
                                  </p:stCondLst>
                                  <p:childTnLst>
                                    <p:set>
                                      <p:cBhvr>
                                        <p:cTn dur="1" fill="hold" id="53">
                                          <p:stCondLst>
                                            <p:cond delay="0"/>
                                          </p:stCondLst>
                                        </p:cTn>
                                        <p:tgtEl>
                                          <p:spTgt spid="89"/>
                                        </p:tgtEl>
                                        <p:attrNameLst>
                                          <p:attrName>style.visibility</p:attrName>
                                        </p:attrNameLst>
                                      </p:cBhvr>
                                      <p:to>
                                        <p:strVal val="visible"/>
                                      </p:to>
                                    </p:set>
                                    <p:anim calcmode="lin" valueType="num">
                                      <p:cBhvr>
                                        <p:cTn dur="500" fill="hold" id="54"/>
                                        <p:tgtEl>
                                          <p:spTgt spid="89"/>
                                        </p:tgtEl>
                                        <p:attrNameLst>
                                          <p:attrName>ppt_w</p:attrName>
                                        </p:attrNameLst>
                                      </p:cBhvr>
                                      <p:tavLst>
                                        <p:tav tm="0">
                                          <p:val>
                                            <p:fltVal val="0"/>
                                          </p:val>
                                        </p:tav>
                                        <p:tav tm="100000">
                                          <p:val>
                                            <p:strVal val="#ppt_w"/>
                                          </p:val>
                                        </p:tav>
                                      </p:tavLst>
                                    </p:anim>
                                    <p:anim calcmode="lin" valueType="num">
                                      <p:cBhvr>
                                        <p:cTn dur="500" fill="hold" id="55"/>
                                        <p:tgtEl>
                                          <p:spTgt spid="89"/>
                                        </p:tgtEl>
                                        <p:attrNameLst>
                                          <p:attrName>ppt_h</p:attrName>
                                        </p:attrNameLst>
                                      </p:cBhvr>
                                      <p:tavLst>
                                        <p:tav tm="0">
                                          <p:val>
                                            <p:fltVal val="0"/>
                                          </p:val>
                                        </p:tav>
                                        <p:tav tm="100000">
                                          <p:val>
                                            <p:strVal val="#ppt_h"/>
                                          </p:val>
                                        </p:tav>
                                      </p:tavLst>
                                    </p:anim>
                                    <p:animEffect filter="fade" transition="in">
                                      <p:cBhvr>
                                        <p:cTn dur="500" id="56"/>
                                        <p:tgtEl>
                                          <p:spTgt spid="89"/>
                                        </p:tgtEl>
                                      </p:cBhvr>
                                    </p:animEffect>
                                  </p:childTnLst>
                                </p:cTn>
                              </p:par>
                              <p:par>
                                <p:cTn fill="hold" id="57" nodeType="withEffect" presetClass="entr" presetID="53" presetSubtype="0">
                                  <p:stCondLst>
                                    <p:cond delay="0"/>
                                  </p:stCondLst>
                                  <p:childTnLst>
                                    <p:set>
                                      <p:cBhvr>
                                        <p:cTn dur="1" fill="hold" id="58">
                                          <p:stCondLst>
                                            <p:cond delay="0"/>
                                          </p:stCondLst>
                                        </p:cTn>
                                        <p:tgtEl>
                                          <p:spTgt spid="109"/>
                                        </p:tgtEl>
                                        <p:attrNameLst>
                                          <p:attrName>style.visibility</p:attrName>
                                        </p:attrNameLst>
                                      </p:cBhvr>
                                      <p:to>
                                        <p:strVal val="visible"/>
                                      </p:to>
                                    </p:set>
                                    <p:anim calcmode="lin" valueType="num">
                                      <p:cBhvr>
                                        <p:cTn dur="500" fill="hold" id="59"/>
                                        <p:tgtEl>
                                          <p:spTgt spid="109"/>
                                        </p:tgtEl>
                                        <p:attrNameLst>
                                          <p:attrName>ppt_w</p:attrName>
                                        </p:attrNameLst>
                                      </p:cBhvr>
                                      <p:tavLst>
                                        <p:tav tm="0">
                                          <p:val>
                                            <p:fltVal val="0"/>
                                          </p:val>
                                        </p:tav>
                                        <p:tav tm="100000">
                                          <p:val>
                                            <p:strVal val="#ppt_w"/>
                                          </p:val>
                                        </p:tav>
                                      </p:tavLst>
                                    </p:anim>
                                    <p:anim calcmode="lin" valueType="num">
                                      <p:cBhvr>
                                        <p:cTn dur="500" fill="hold" id="60"/>
                                        <p:tgtEl>
                                          <p:spTgt spid="109"/>
                                        </p:tgtEl>
                                        <p:attrNameLst>
                                          <p:attrName>ppt_h</p:attrName>
                                        </p:attrNameLst>
                                      </p:cBhvr>
                                      <p:tavLst>
                                        <p:tav tm="0">
                                          <p:val>
                                            <p:fltVal val="0"/>
                                          </p:val>
                                        </p:tav>
                                        <p:tav tm="100000">
                                          <p:val>
                                            <p:strVal val="#ppt_h"/>
                                          </p:val>
                                        </p:tav>
                                      </p:tavLst>
                                    </p:anim>
                                    <p:animEffect filter="fade" transition="in">
                                      <p:cBhvr>
                                        <p:cTn dur="500" id="61"/>
                                        <p:tgtEl>
                                          <p:spTgt spid="109"/>
                                        </p:tgtEl>
                                      </p:cBhvr>
                                    </p:animEffect>
                                  </p:childTnLst>
                                </p:cTn>
                              </p:par>
                            </p:childTnLst>
                          </p:cTn>
                        </p:par>
                        <p:par>
                          <p:cTn fill="hold" id="62" nodeType="afterGroup">
                            <p:stCondLst>
                              <p:cond delay="3000"/>
                            </p:stCondLst>
                            <p:childTnLst>
                              <p:par>
                                <p:cTn fill="hold" id="63" nodeType="afterEffect" presetClass="entr" presetID="22" presetSubtype="4">
                                  <p:stCondLst>
                                    <p:cond delay="0"/>
                                  </p:stCondLst>
                                  <p:childTnLst>
                                    <p:set>
                                      <p:cBhvr>
                                        <p:cTn dur="1" fill="hold" id="64">
                                          <p:stCondLst>
                                            <p:cond delay="0"/>
                                          </p:stCondLst>
                                        </p:cTn>
                                        <p:tgtEl>
                                          <p:spTgt spid="102"/>
                                        </p:tgtEl>
                                        <p:attrNameLst>
                                          <p:attrName>style.visibility</p:attrName>
                                        </p:attrNameLst>
                                      </p:cBhvr>
                                      <p:to>
                                        <p:strVal val="visible"/>
                                      </p:to>
                                    </p:set>
                                    <p:animEffect filter="wipe(down)" transition="in">
                                      <p:cBhvr>
                                        <p:cTn dur="500" id="65"/>
                                        <p:tgtEl>
                                          <p:spTgt spid="102"/>
                                        </p:tgtEl>
                                      </p:cBhvr>
                                    </p:animEffect>
                                  </p:childTnLst>
                                </p:cTn>
                              </p:par>
                              <p:par>
                                <p:cTn fill="hold" id="66" nodeType="withEffect" presetClass="entr" presetID="22" presetSubtype="1">
                                  <p:stCondLst>
                                    <p:cond delay="0"/>
                                  </p:stCondLst>
                                  <p:childTnLst>
                                    <p:set>
                                      <p:cBhvr>
                                        <p:cTn dur="1" fill="hold" id="67">
                                          <p:stCondLst>
                                            <p:cond delay="0"/>
                                          </p:stCondLst>
                                        </p:cTn>
                                        <p:tgtEl>
                                          <p:spTgt spid="106"/>
                                        </p:tgtEl>
                                        <p:attrNameLst>
                                          <p:attrName>style.visibility</p:attrName>
                                        </p:attrNameLst>
                                      </p:cBhvr>
                                      <p:to>
                                        <p:strVal val="visible"/>
                                      </p:to>
                                    </p:set>
                                    <p:animEffect filter="wipe(up)" transition="in">
                                      <p:cBhvr>
                                        <p:cTn dur="500" id="68"/>
                                        <p:tgtEl>
                                          <p:spTgt spid="106"/>
                                        </p:tgtEl>
                                      </p:cBhvr>
                                    </p:animEffect>
                                  </p:childTnLst>
                                </p:cTn>
                              </p:par>
                            </p:childTnLst>
                          </p:cTn>
                        </p:par>
                        <p:par>
                          <p:cTn fill="hold" id="69" nodeType="afterGroup">
                            <p:stCondLst>
                              <p:cond delay="3500"/>
                            </p:stCondLst>
                            <p:childTnLst>
                              <p:par>
                                <p:cTn fill="hold" grpId="0" id="70" nodeType="afterEffect" presetClass="entr" presetID="53" presetSubtype="0">
                                  <p:stCondLst>
                                    <p:cond delay="0"/>
                                  </p:stCondLst>
                                  <p:childTnLst>
                                    <p:set>
                                      <p:cBhvr>
                                        <p:cTn dur="1" fill="hold" id="71">
                                          <p:stCondLst>
                                            <p:cond delay="0"/>
                                          </p:stCondLst>
                                        </p:cTn>
                                        <p:tgtEl>
                                          <p:spTgt spid="96"/>
                                        </p:tgtEl>
                                        <p:attrNameLst>
                                          <p:attrName>style.visibility</p:attrName>
                                        </p:attrNameLst>
                                      </p:cBhvr>
                                      <p:to>
                                        <p:strVal val="visible"/>
                                      </p:to>
                                    </p:set>
                                    <p:anim calcmode="lin" valueType="num">
                                      <p:cBhvr>
                                        <p:cTn dur="500" fill="hold" id="72"/>
                                        <p:tgtEl>
                                          <p:spTgt spid="96"/>
                                        </p:tgtEl>
                                        <p:attrNameLst>
                                          <p:attrName>ppt_w</p:attrName>
                                        </p:attrNameLst>
                                      </p:cBhvr>
                                      <p:tavLst>
                                        <p:tav tm="0">
                                          <p:val>
                                            <p:fltVal val="0"/>
                                          </p:val>
                                        </p:tav>
                                        <p:tav tm="100000">
                                          <p:val>
                                            <p:strVal val="#ppt_w"/>
                                          </p:val>
                                        </p:tav>
                                      </p:tavLst>
                                    </p:anim>
                                    <p:anim calcmode="lin" valueType="num">
                                      <p:cBhvr>
                                        <p:cTn dur="500" fill="hold" id="73"/>
                                        <p:tgtEl>
                                          <p:spTgt spid="96"/>
                                        </p:tgtEl>
                                        <p:attrNameLst>
                                          <p:attrName>ppt_h</p:attrName>
                                        </p:attrNameLst>
                                      </p:cBhvr>
                                      <p:tavLst>
                                        <p:tav tm="0">
                                          <p:val>
                                            <p:fltVal val="0"/>
                                          </p:val>
                                        </p:tav>
                                        <p:tav tm="100000">
                                          <p:val>
                                            <p:strVal val="#ppt_h"/>
                                          </p:val>
                                        </p:tav>
                                      </p:tavLst>
                                    </p:anim>
                                    <p:animEffect filter="fade" transition="in">
                                      <p:cBhvr>
                                        <p:cTn dur="500" id="74"/>
                                        <p:tgtEl>
                                          <p:spTgt spid="96"/>
                                        </p:tgtEl>
                                      </p:cBhvr>
                                    </p:animEffect>
                                  </p:childTnLst>
                                </p:cTn>
                              </p:par>
                              <p:par>
                                <p:cTn fill="hold" id="75" nodeType="withEffect" presetClass="entr" presetID="53" presetSubtype="0">
                                  <p:stCondLst>
                                    <p:cond delay="0"/>
                                  </p:stCondLst>
                                  <p:childTnLst>
                                    <p:set>
                                      <p:cBhvr>
                                        <p:cTn dur="1" fill="hold" id="76">
                                          <p:stCondLst>
                                            <p:cond delay="0"/>
                                          </p:stCondLst>
                                        </p:cTn>
                                        <p:tgtEl>
                                          <p:spTgt spid="110"/>
                                        </p:tgtEl>
                                        <p:attrNameLst>
                                          <p:attrName>style.visibility</p:attrName>
                                        </p:attrNameLst>
                                      </p:cBhvr>
                                      <p:to>
                                        <p:strVal val="visible"/>
                                      </p:to>
                                    </p:set>
                                    <p:anim calcmode="lin" valueType="num">
                                      <p:cBhvr>
                                        <p:cTn dur="500" fill="hold" id="77"/>
                                        <p:tgtEl>
                                          <p:spTgt spid="110"/>
                                        </p:tgtEl>
                                        <p:attrNameLst>
                                          <p:attrName>ppt_w</p:attrName>
                                        </p:attrNameLst>
                                      </p:cBhvr>
                                      <p:tavLst>
                                        <p:tav tm="0">
                                          <p:val>
                                            <p:fltVal val="0"/>
                                          </p:val>
                                        </p:tav>
                                        <p:tav tm="100000">
                                          <p:val>
                                            <p:strVal val="#ppt_w"/>
                                          </p:val>
                                        </p:tav>
                                      </p:tavLst>
                                    </p:anim>
                                    <p:anim calcmode="lin" valueType="num">
                                      <p:cBhvr>
                                        <p:cTn dur="500" fill="hold" id="78"/>
                                        <p:tgtEl>
                                          <p:spTgt spid="110"/>
                                        </p:tgtEl>
                                        <p:attrNameLst>
                                          <p:attrName>ppt_h</p:attrName>
                                        </p:attrNameLst>
                                      </p:cBhvr>
                                      <p:tavLst>
                                        <p:tav tm="0">
                                          <p:val>
                                            <p:fltVal val="0"/>
                                          </p:val>
                                        </p:tav>
                                        <p:tav tm="100000">
                                          <p:val>
                                            <p:strVal val="#ppt_h"/>
                                          </p:val>
                                        </p:tav>
                                      </p:tavLst>
                                    </p:anim>
                                    <p:animEffect filter="fade" transition="in">
                                      <p:cBhvr>
                                        <p:cTn dur="500" id="79"/>
                                        <p:tgtEl>
                                          <p:spTgt spid="110"/>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10"/>
      <p:bldP grpId="0" spid="81"/>
      <p:bldP grpId="0" spid="89"/>
      <p:bldP grpId="0" spid="96"/>
    </p:bldLst>
  </p:timing>
</p:sld>
</file>

<file path=ppt/slides/slide9.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pic>
        <p:nvPicPr>
          <p:cNvPr id="52" name="图形 51">
            <a:extLst>
              <a:ext uri="{FF2B5EF4-FFF2-40B4-BE49-F238E27FC236}">
                <a16:creationId xmlns:a16="http://schemas.microsoft.com/office/drawing/2014/main" id="{8D33FEF6-9F37-4458-AA3E-4C458A179BF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flipV="1">
            <a:off x="59107" y="4827095"/>
            <a:ext cx="1870413" cy="1956409"/>
          </a:xfrm>
          <a:prstGeom prst="rect">
            <a:avLst/>
          </a:prstGeom>
        </p:spPr>
      </p:pic>
      <p:pic>
        <p:nvPicPr>
          <p:cNvPr id="53" name="图形 52">
            <a:extLst>
              <a:ext uri="{FF2B5EF4-FFF2-40B4-BE49-F238E27FC236}">
                <a16:creationId xmlns:a16="http://schemas.microsoft.com/office/drawing/2014/main" id="{2B0BF704-574C-4B05-806E-D359C2544A7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051181" y="40578"/>
            <a:ext cx="2065140" cy="1630373"/>
          </a:xfrm>
          <a:prstGeom prst="rect">
            <a:avLst/>
          </a:prstGeom>
        </p:spPr>
      </p:pic>
      <p:pic>
        <p:nvPicPr>
          <p:cNvPr id="18" name="图片 17">
            <a:extLst>
              <a:ext uri="{FF2B5EF4-FFF2-40B4-BE49-F238E27FC236}">
                <a16:creationId xmlns:a16="http://schemas.microsoft.com/office/drawing/2014/main" id="{01B58B04-61DF-4368-9E5B-1A9430F90136}"/>
              </a:ext>
            </a:extLst>
          </p:cNvPr>
          <p:cNvPicPr>
            <a:picLocks noChangeAspect="1"/>
          </p:cNvPicPr>
          <p:nvPr/>
        </p:nvPicPr>
        <p:blipFill>
          <a:blip r:embed="rId7">
            <a:extLst>
              <a:ext uri="{28A0092B-C50C-407E-A947-70E740481C1C}">
                <a14:useLocalDpi val="0"/>
              </a:ext>
            </a:extLst>
          </a:blip>
          <a:srcRect b="9410" l="12695" r="15432" t="13963"/>
          <a:stretch>
            <a:fillRect/>
          </a:stretch>
        </p:blipFill>
        <p:spPr>
          <a:xfrm rot="5400000">
            <a:off x="2925434" y="-1362528"/>
            <a:ext cx="6195993" cy="9583056"/>
          </a:xfrm>
          <a:prstGeom prst="rect">
            <a:avLst/>
          </a:prstGeom>
          <a:effectLst>
            <a:outerShdw algn="t" blurRad="152400" dir="5400000" dist="76200" rotWithShape="0">
              <a:prstClr val="black">
                <a:alpha val="40000"/>
              </a:prstClr>
            </a:outerShdw>
          </a:effectLst>
        </p:spPr>
      </p:pic>
      <p:sp>
        <p:nvSpPr>
          <p:cNvPr id="14" name="文本框 13">
            <a:extLst>
              <a:ext uri="{FF2B5EF4-FFF2-40B4-BE49-F238E27FC236}">
                <a16:creationId xmlns:a16="http://schemas.microsoft.com/office/drawing/2014/main" id="{3AAB08FD-929D-4210-86B9-92132AA71D62}"/>
              </a:ext>
            </a:extLst>
          </p:cNvPr>
          <p:cNvSpPr txBox="1"/>
          <p:nvPr/>
        </p:nvSpPr>
        <p:spPr>
          <a:xfrm>
            <a:off x="1244600" y="3157664"/>
            <a:ext cx="9702800" cy="1554480"/>
          </a:xfrm>
          <a:prstGeom prst="rect">
            <a:avLst/>
          </a:prstGeom>
          <a:noFill/>
        </p:spPr>
        <p:txBody>
          <a:bodyPr rtlCol="0" wrap="square">
            <a:spAutoFit/>
          </a:bodyPr>
          <a:lstStyle/>
          <a:p>
            <a:pPr algn="ctr"/>
            <a:r>
              <a:rPr altLang="en-US" b="1" lang="zh-CN" spc="-150" sz="9600">
                <a:solidFill>
                  <a:schemeClr val="tx1">
                    <a:lumMod val="75000"/>
                    <a:lumOff val="25000"/>
                  </a:schemeClr>
                </a:solidFill>
                <a:latin charset="-122" panose="02000500000000000000" pitchFamily="2" typeface="方正手迹-小欢卡通体"/>
                <a:ea charset="-122" panose="02000500000000000000" pitchFamily="2" typeface="方正手迹-小欢卡通体"/>
              </a:rPr>
              <a:t>工作成果展示</a:t>
            </a:r>
          </a:p>
        </p:txBody>
      </p:sp>
      <p:grpSp>
        <p:nvGrpSpPr>
          <p:cNvPr id="2" name="组合 1">
            <a:extLst>
              <a:ext uri="{FF2B5EF4-FFF2-40B4-BE49-F238E27FC236}">
                <a16:creationId xmlns:a16="http://schemas.microsoft.com/office/drawing/2014/main" id="{838B7507-BC27-4394-A9B9-4F3FCB597C1B}"/>
              </a:ext>
            </a:extLst>
          </p:cNvPr>
          <p:cNvGrpSpPr/>
          <p:nvPr/>
        </p:nvGrpSpPr>
        <p:grpSpPr>
          <a:xfrm>
            <a:off x="4926015" y="4766828"/>
            <a:ext cx="2339970" cy="482600"/>
            <a:chOff x="4926015" y="4766828"/>
            <a:chExt cx="2339970" cy="482600"/>
          </a:xfrm>
        </p:grpSpPr>
        <p:sp>
          <p:nvSpPr>
            <p:cNvPr id="15" name="矩形 14">
              <a:extLst>
                <a:ext uri="{FF2B5EF4-FFF2-40B4-BE49-F238E27FC236}">
                  <a16:creationId xmlns:a16="http://schemas.microsoft.com/office/drawing/2014/main" id="{76128341-D5BE-4727-98FA-EEEF15553AE5}"/>
                </a:ext>
              </a:extLst>
            </p:cNvPr>
            <p:cNvSpPr/>
            <p:nvPr/>
          </p:nvSpPr>
          <p:spPr>
            <a:xfrm>
              <a:off x="4926015" y="4766828"/>
              <a:ext cx="1169985" cy="482600"/>
            </a:xfrm>
            <a:prstGeom prst="rect">
              <a:avLst/>
            </a:prstGeom>
            <a:solidFill>
              <a:srgbClr val="FF626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2000">
                <a:solidFill>
                  <a:srgbClr val="00416B"/>
                </a:solidFill>
                <a:latin charset="-122" panose="02000500000000000000" pitchFamily="2" typeface="方正雅士黑 简"/>
                <a:ea charset="-122" panose="02000500000000000000" pitchFamily="2" typeface="方正雅士黑 简"/>
              </a:endParaRPr>
            </a:p>
          </p:txBody>
        </p:sp>
        <p:sp>
          <p:nvSpPr>
            <p:cNvPr id="16" name="矩形 15">
              <a:extLst>
                <a:ext uri="{FF2B5EF4-FFF2-40B4-BE49-F238E27FC236}">
                  <a16:creationId xmlns:a16="http://schemas.microsoft.com/office/drawing/2014/main" id="{EB775F2C-CA06-4532-900A-BFA261DBEEB0}"/>
                </a:ext>
              </a:extLst>
            </p:cNvPr>
            <p:cNvSpPr/>
            <p:nvPr/>
          </p:nvSpPr>
          <p:spPr>
            <a:xfrm>
              <a:off x="6096000" y="4766828"/>
              <a:ext cx="1169985" cy="482600"/>
            </a:xfrm>
            <a:prstGeom prst="rect">
              <a:avLst/>
            </a:prstGeom>
            <a:solidFill>
              <a:srgbClr val="60A8A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2000">
                <a:solidFill>
                  <a:srgbClr val="00416B"/>
                </a:solidFill>
                <a:latin charset="-122" panose="02000500000000000000" pitchFamily="2" typeface="方正雅士黑 简"/>
                <a:ea charset="-122" panose="02000500000000000000" pitchFamily="2" typeface="方正雅士黑 简"/>
              </a:endParaRPr>
            </a:p>
          </p:txBody>
        </p:sp>
      </p:grpSp>
      <p:sp>
        <p:nvSpPr>
          <p:cNvPr id="17" name="矩形 16">
            <a:extLst>
              <a:ext uri="{FF2B5EF4-FFF2-40B4-BE49-F238E27FC236}">
                <a16:creationId xmlns:a16="http://schemas.microsoft.com/office/drawing/2014/main" id="{013E49E3-785E-448C-8679-9E330C4A1944}"/>
              </a:ext>
            </a:extLst>
          </p:cNvPr>
          <p:cNvSpPr/>
          <p:nvPr/>
        </p:nvSpPr>
        <p:spPr>
          <a:xfrm>
            <a:off x="5242562" y="4783176"/>
            <a:ext cx="1706880" cy="457200"/>
          </a:xfrm>
          <a:prstGeom prst="rect">
            <a:avLst/>
          </a:prstGeom>
        </p:spPr>
        <p:txBody>
          <a:bodyPr wrap="none">
            <a:spAutoFit/>
          </a:bodyPr>
          <a:lstStyle/>
          <a:p>
            <a:pPr algn="ctr"/>
            <a:r>
              <a:rPr altLang="zh-CN" lang="en-US" sz="2400">
                <a:solidFill>
                  <a:schemeClr val="bg1"/>
                </a:solidFill>
                <a:latin charset="-122" panose="02000500000000000000" pitchFamily="2" typeface="方正雅士黑 简"/>
                <a:ea charset="-122" panose="02000500000000000000" pitchFamily="2" typeface="方正雅士黑 简"/>
              </a:rPr>
              <a:t>PART   TWO</a:t>
            </a:r>
          </a:p>
        </p:txBody>
      </p:sp>
      <p:pic>
        <p:nvPicPr>
          <p:cNvPr id="37" name="图形 36">
            <a:extLst>
              <a:ext uri="{FF2B5EF4-FFF2-40B4-BE49-F238E27FC236}">
                <a16:creationId xmlns:a16="http://schemas.microsoft.com/office/drawing/2014/main" id="{1922C27C-412F-48EA-86A1-63AB411C8C2D}"/>
              </a:ext>
            </a:extLst>
          </p:cNvPr>
          <p:cNvPicPr>
            <a:picLocks noChangeAspect="1"/>
          </p:cNvPicPr>
          <p:nvPr/>
        </p:nvPicPr>
        <p:blipFill>
          <a:blip r:embed="rId8">
            <a:extLst>
              <a:ext uri="{96DAC541-7B7A-43D3-8B79-37D633B846F1}">
                <asvg:svgBlip xmlns:asvg="http://schemas.microsoft.com/office/drawing/2016/SVG/main" r:embed="rId9"/>
              </a:ext>
            </a:extLst>
          </a:blip>
          <a:srcRect b="22696" l="25200" r="27996" t="18077"/>
          <a:stretch>
            <a:fillRect/>
          </a:stretch>
        </p:blipFill>
        <p:spPr>
          <a:xfrm>
            <a:off x="5077152" y="1770899"/>
            <a:ext cx="1025136" cy="1297252"/>
          </a:xfrm>
          <a:custGeom>
            <a:rect b="b" l="l" r="r" t="t"/>
            <a:pathLst>
              <a:path h="1868444" w="1476514">
                <a:moveTo>
                  <a:pt x="750582" y="0"/>
                </a:moveTo>
                <a:cubicBezTo>
                  <a:pt x="872187" y="0"/>
                  <a:pt x="972018" y="14995"/>
                  <a:pt x="1050075" y="44986"/>
                </a:cubicBezTo>
                <a:cubicBezTo>
                  <a:pt x="1128132" y="74976"/>
                  <a:pt x="1191811" y="114005"/>
                  <a:pt x="1241110" y="162072"/>
                </a:cubicBezTo>
                <a:cubicBezTo>
                  <a:pt x="1290409" y="210138"/>
                  <a:pt x="1329233" y="260670"/>
                  <a:pt x="1357580" y="313667"/>
                </a:cubicBezTo>
                <a:cubicBezTo>
                  <a:pt x="1385927" y="366664"/>
                  <a:pt x="1408728" y="428493"/>
                  <a:pt x="1425982" y="499156"/>
                </a:cubicBezTo>
                <a:cubicBezTo>
                  <a:pt x="1459670" y="633907"/>
                  <a:pt x="1476514" y="774410"/>
                  <a:pt x="1476514" y="920665"/>
                </a:cubicBezTo>
                <a:cubicBezTo>
                  <a:pt x="1476514" y="1248505"/>
                  <a:pt x="1421053" y="1488429"/>
                  <a:pt x="1310129" y="1640435"/>
                </a:cubicBezTo>
                <a:cubicBezTo>
                  <a:pt x="1199206" y="1792441"/>
                  <a:pt x="1008171" y="1868444"/>
                  <a:pt x="737025" y="1868444"/>
                </a:cubicBezTo>
                <a:cubicBezTo>
                  <a:pt x="585018" y="1868444"/>
                  <a:pt x="462181" y="1844205"/>
                  <a:pt x="368512" y="1795728"/>
                </a:cubicBezTo>
                <a:cubicBezTo>
                  <a:pt x="274844" y="1747250"/>
                  <a:pt x="198019" y="1676177"/>
                  <a:pt x="138038" y="1582508"/>
                </a:cubicBezTo>
                <a:cubicBezTo>
                  <a:pt x="94490" y="1515954"/>
                  <a:pt x="60597" y="1424956"/>
                  <a:pt x="36358" y="1309513"/>
                </a:cubicBezTo>
                <a:cubicBezTo>
                  <a:pt x="12119" y="1194071"/>
                  <a:pt x="0" y="1066509"/>
                  <a:pt x="0" y="926827"/>
                </a:cubicBezTo>
                <a:cubicBezTo>
                  <a:pt x="0" y="583375"/>
                  <a:pt x="61829" y="343041"/>
                  <a:pt x="185488" y="205825"/>
                </a:cubicBezTo>
                <a:cubicBezTo>
                  <a:pt x="309148" y="68608"/>
                  <a:pt x="497512" y="0"/>
                  <a:pt x="750582" y="0"/>
                </a:cubicBezTo>
                <a:close/>
                <a:moveTo>
                  <a:pt x="733327" y="334003"/>
                </a:moveTo>
                <a:cubicBezTo>
                  <a:pt x="650340" y="334003"/>
                  <a:pt x="590359" y="376113"/>
                  <a:pt x="553385" y="460332"/>
                </a:cubicBezTo>
                <a:cubicBezTo>
                  <a:pt x="516410" y="544552"/>
                  <a:pt x="497923" y="700461"/>
                  <a:pt x="497923" y="928060"/>
                </a:cubicBezTo>
                <a:cubicBezTo>
                  <a:pt x="497923" y="1158123"/>
                  <a:pt x="518259" y="1315265"/>
                  <a:pt x="558931" y="1399485"/>
                </a:cubicBezTo>
                <a:cubicBezTo>
                  <a:pt x="599603" y="1483704"/>
                  <a:pt x="658556" y="1525814"/>
                  <a:pt x="735792" y="1525814"/>
                </a:cubicBezTo>
                <a:cubicBezTo>
                  <a:pt x="786735" y="1525814"/>
                  <a:pt x="830899" y="1507943"/>
                  <a:pt x="868284" y="1472201"/>
                </a:cubicBezTo>
                <a:cubicBezTo>
                  <a:pt x="905669" y="1436459"/>
                  <a:pt x="933195" y="1379970"/>
                  <a:pt x="950860" y="1302735"/>
                </a:cubicBezTo>
                <a:cubicBezTo>
                  <a:pt x="968526" y="1225499"/>
                  <a:pt x="977359" y="1105126"/>
                  <a:pt x="977359" y="941617"/>
                </a:cubicBezTo>
                <a:cubicBezTo>
                  <a:pt x="977359" y="701694"/>
                  <a:pt x="957023" y="540444"/>
                  <a:pt x="916351" y="457868"/>
                </a:cubicBezTo>
                <a:cubicBezTo>
                  <a:pt x="875679" y="375291"/>
                  <a:pt x="814671" y="334003"/>
                  <a:pt x="733327" y="334003"/>
                </a:cubicBezTo>
                <a:close/>
              </a:path>
            </a:pathLst>
          </a:custGeom>
        </p:spPr>
      </p:pic>
      <p:cxnSp>
        <p:nvCxnSpPr>
          <p:cNvPr id="41" name="直接连接符 40">
            <a:extLst>
              <a:ext uri="{FF2B5EF4-FFF2-40B4-BE49-F238E27FC236}">
                <a16:creationId xmlns:a16="http://schemas.microsoft.com/office/drawing/2014/main" id="{E636E03A-FE62-4C2C-A59C-E8FD958F8D13}"/>
              </a:ext>
            </a:extLst>
          </p:cNvPr>
          <p:cNvCxnSpPr/>
          <p:nvPr/>
        </p:nvCxnSpPr>
        <p:spPr>
          <a:xfrm>
            <a:off x="411695" y="2518913"/>
            <a:ext cx="983411" cy="0"/>
          </a:xfrm>
          <a:prstGeom prst="line">
            <a:avLst/>
          </a:prstGeom>
          <a:ln cap="rnd" w="38100">
            <a:solidFill>
              <a:schemeClr val="bg1"/>
            </a:solidFill>
            <a:round/>
          </a:ln>
        </p:spPr>
        <p:style>
          <a:lnRef idx="1">
            <a:schemeClr val="accent1"/>
          </a:lnRef>
          <a:fillRef idx="0">
            <a:schemeClr val="accent1"/>
          </a:fillRef>
          <a:effectRef idx="0">
            <a:schemeClr val="accent1"/>
          </a:effectRef>
          <a:fontRef idx="minor">
            <a:schemeClr val="tx1"/>
          </a:fontRef>
        </p:style>
      </p:cxnSp>
      <p:cxnSp>
        <p:nvCxnSpPr>
          <p:cNvPr id="42" name="直接连接符 41">
            <a:extLst>
              <a:ext uri="{FF2B5EF4-FFF2-40B4-BE49-F238E27FC236}">
                <a16:creationId xmlns:a16="http://schemas.microsoft.com/office/drawing/2014/main" id="{95F08B9C-16B6-4569-B702-38B1AF5AF488}"/>
              </a:ext>
            </a:extLst>
          </p:cNvPr>
          <p:cNvCxnSpPr/>
          <p:nvPr/>
        </p:nvCxnSpPr>
        <p:spPr>
          <a:xfrm>
            <a:off x="1101913" y="2271473"/>
            <a:ext cx="379561" cy="0"/>
          </a:xfrm>
          <a:prstGeom prst="line">
            <a:avLst/>
          </a:prstGeom>
          <a:ln cap="rnd" w="38100">
            <a:solidFill>
              <a:schemeClr val="bg1"/>
            </a:solidFill>
            <a:round/>
          </a:ln>
        </p:spPr>
        <p:style>
          <a:lnRef idx="1">
            <a:schemeClr val="accent1"/>
          </a:lnRef>
          <a:fillRef idx="0">
            <a:schemeClr val="accent1"/>
          </a:fillRef>
          <a:effectRef idx="0">
            <a:schemeClr val="accent1"/>
          </a:effectRef>
          <a:fontRef idx="minor">
            <a:schemeClr val="tx1"/>
          </a:fontRef>
        </p:style>
      </p:cxnSp>
      <p:pic>
        <p:nvPicPr>
          <p:cNvPr id="54" name="图形 53">
            <a:extLst>
              <a:ext uri="{FF2B5EF4-FFF2-40B4-BE49-F238E27FC236}">
                <a16:creationId xmlns:a16="http://schemas.microsoft.com/office/drawing/2014/main" id="{13D02E48-3DEE-4265-A5E9-DA6886F9CFD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30955" y="763694"/>
            <a:ext cx="268506" cy="268506"/>
          </a:xfrm>
          <a:prstGeom prst="rect">
            <a:avLst/>
          </a:prstGeom>
        </p:spPr>
      </p:pic>
      <p:pic>
        <p:nvPicPr>
          <p:cNvPr id="55" name="图形 54">
            <a:extLst>
              <a:ext uri="{FF2B5EF4-FFF2-40B4-BE49-F238E27FC236}">
                <a16:creationId xmlns:a16="http://schemas.microsoft.com/office/drawing/2014/main" id="{D8F8FC5F-39E0-413A-A0E1-834248523C3C}"/>
              </a:ext>
            </a:extLst>
          </p:cNvPr>
          <p:cNvPicPr>
            <a:picLocks noChangeAspect="1"/>
          </p:cNvPicPr>
          <p:nvPr/>
        </p:nvPicPr>
        <p:blipFill>
          <a:blip r:embed="rId10">
            <a:extLst>
              <a:ext uri="{96DAC541-7B7A-43D3-8B79-37D633B846F1}">
                <asvg:svgBlip xmlns:asvg="http://schemas.microsoft.com/office/drawing/2016/SVG/main" r:embed="rId12"/>
              </a:ext>
            </a:extLst>
          </a:blip>
          <a:stretch>
            <a:fillRect/>
          </a:stretch>
        </p:blipFill>
        <p:spPr>
          <a:xfrm>
            <a:off x="11086082" y="6011689"/>
            <a:ext cx="246232" cy="246232"/>
          </a:xfrm>
          <a:prstGeom prst="rect">
            <a:avLst/>
          </a:prstGeom>
        </p:spPr>
      </p:pic>
      <p:cxnSp>
        <p:nvCxnSpPr>
          <p:cNvPr id="56" name="直接连接符 55">
            <a:extLst>
              <a:ext uri="{FF2B5EF4-FFF2-40B4-BE49-F238E27FC236}">
                <a16:creationId xmlns:a16="http://schemas.microsoft.com/office/drawing/2014/main" id="{19633C08-5B20-4E2F-8F2E-815875B31679}"/>
              </a:ext>
            </a:extLst>
          </p:cNvPr>
          <p:cNvCxnSpPr/>
          <p:nvPr/>
        </p:nvCxnSpPr>
        <p:spPr>
          <a:xfrm>
            <a:off x="10736186" y="4572796"/>
            <a:ext cx="983411" cy="0"/>
          </a:xfrm>
          <a:prstGeom prst="line">
            <a:avLst/>
          </a:prstGeom>
          <a:ln cap="rnd" w="38100">
            <a:solidFill>
              <a:schemeClr val="bg1"/>
            </a:solidFill>
            <a:round/>
          </a:ln>
        </p:spPr>
        <p:style>
          <a:lnRef idx="1">
            <a:schemeClr val="accent1"/>
          </a:lnRef>
          <a:fillRef idx="0">
            <a:schemeClr val="accent1"/>
          </a:fillRef>
          <a:effectRef idx="0">
            <a:schemeClr val="accent1"/>
          </a:effectRef>
          <a:fontRef idx="minor">
            <a:schemeClr val="tx1"/>
          </a:fontRef>
        </p:style>
      </p:cxnSp>
      <p:cxnSp>
        <p:nvCxnSpPr>
          <p:cNvPr id="57" name="直接连接符 56">
            <a:extLst>
              <a:ext uri="{FF2B5EF4-FFF2-40B4-BE49-F238E27FC236}">
                <a16:creationId xmlns:a16="http://schemas.microsoft.com/office/drawing/2014/main" id="{E7261DA9-E5D1-475F-A769-B1177D9364B2}"/>
              </a:ext>
            </a:extLst>
          </p:cNvPr>
          <p:cNvCxnSpPr/>
          <p:nvPr/>
        </p:nvCxnSpPr>
        <p:spPr>
          <a:xfrm>
            <a:off x="11426404" y="4325356"/>
            <a:ext cx="379561" cy="0"/>
          </a:xfrm>
          <a:prstGeom prst="line">
            <a:avLst/>
          </a:prstGeom>
          <a:ln cap="rnd" w="38100">
            <a:solidFill>
              <a:schemeClr val="bg1"/>
            </a:solidFill>
            <a:round/>
          </a:ln>
        </p:spPr>
        <p:style>
          <a:lnRef idx="1">
            <a:schemeClr val="accent1"/>
          </a:lnRef>
          <a:fillRef idx="0">
            <a:schemeClr val="accent1"/>
          </a:fillRef>
          <a:effectRef idx="0">
            <a:schemeClr val="accent1"/>
          </a:effectRef>
          <a:fontRef idx="minor">
            <a:schemeClr val="tx1"/>
          </a:fontRef>
        </p:style>
      </p:cxnSp>
      <p:grpSp>
        <p:nvGrpSpPr>
          <p:cNvPr id="63" name="组合 62">
            <a:extLst>
              <a:ext uri="{FF2B5EF4-FFF2-40B4-BE49-F238E27FC236}">
                <a16:creationId xmlns:a16="http://schemas.microsoft.com/office/drawing/2014/main" id="{8AD69468-B53A-4849-A0EA-E60DD2D66E1D}"/>
              </a:ext>
            </a:extLst>
          </p:cNvPr>
          <p:cNvGrpSpPr/>
          <p:nvPr/>
        </p:nvGrpSpPr>
        <p:grpSpPr>
          <a:xfrm>
            <a:off x="4310626" y="1648268"/>
            <a:ext cx="758330" cy="1509396"/>
            <a:chOff x="4355021" y="1468708"/>
            <a:chExt cx="758330" cy="1509396"/>
          </a:xfrm>
        </p:grpSpPr>
        <p:sp>
          <p:nvSpPr>
            <p:cNvPr id="58" name="星形: 五角 57">
              <a:extLst>
                <a:ext uri="{FF2B5EF4-FFF2-40B4-BE49-F238E27FC236}">
                  <a16:creationId xmlns:a16="http://schemas.microsoft.com/office/drawing/2014/main" id="{954F6521-7C96-4022-A877-6F6F92D8C137}"/>
                </a:ext>
              </a:extLst>
            </p:cNvPr>
            <p:cNvSpPr/>
            <p:nvPr/>
          </p:nvSpPr>
          <p:spPr>
            <a:xfrm>
              <a:off x="4652433" y="2517186"/>
              <a:ext cx="460918" cy="460918"/>
            </a:xfrm>
            <a:prstGeom prst="star5">
              <a:avLst/>
            </a:prstGeom>
            <a:solidFill>
              <a:srgbClr val="FF626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60" name="星形: 五角 59">
              <a:extLst>
                <a:ext uri="{FF2B5EF4-FFF2-40B4-BE49-F238E27FC236}">
                  <a16:creationId xmlns:a16="http://schemas.microsoft.com/office/drawing/2014/main" id="{68CACEF3-4258-4B14-9C2B-D2CB02B9AC7E}"/>
                </a:ext>
              </a:extLst>
            </p:cNvPr>
            <p:cNvSpPr/>
            <p:nvPr/>
          </p:nvSpPr>
          <p:spPr>
            <a:xfrm>
              <a:off x="4355021" y="2208794"/>
              <a:ext cx="320445" cy="320445"/>
            </a:xfrm>
            <a:prstGeom prst="star5">
              <a:avLst/>
            </a:prstGeom>
            <a:solidFill>
              <a:srgbClr val="60A8A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61" name="星形: 五角 60">
              <a:extLst>
                <a:ext uri="{FF2B5EF4-FFF2-40B4-BE49-F238E27FC236}">
                  <a16:creationId xmlns:a16="http://schemas.microsoft.com/office/drawing/2014/main" id="{94563166-AC75-47DA-83AB-8F7760639102}"/>
                </a:ext>
              </a:extLst>
            </p:cNvPr>
            <p:cNvSpPr/>
            <p:nvPr/>
          </p:nvSpPr>
          <p:spPr>
            <a:xfrm>
              <a:off x="4431095" y="1794975"/>
              <a:ext cx="228299" cy="228299"/>
            </a:xfrm>
            <a:prstGeom prst="star5">
              <a:avLst/>
            </a:prstGeom>
            <a:solidFill>
              <a:srgbClr val="FFC73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62" name="星形: 五角 61">
              <a:extLst>
                <a:ext uri="{FF2B5EF4-FFF2-40B4-BE49-F238E27FC236}">
                  <a16:creationId xmlns:a16="http://schemas.microsoft.com/office/drawing/2014/main" id="{08C48CBA-C2D1-46B1-9CC5-8F9D9CD271DD}"/>
                </a:ext>
              </a:extLst>
            </p:cNvPr>
            <p:cNvSpPr/>
            <p:nvPr/>
          </p:nvSpPr>
          <p:spPr>
            <a:xfrm>
              <a:off x="4771591" y="1468708"/>
              <a:ext cx="160111" cy="160111"/>
            </a:xfrm>
            <a:prstGeom prst="star5">
              <a:avLst/>
            </a:prstGeom>
            <a:solidFill>
              <a:srgbClr val="00456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grpSp>
      <p:grpSp>
        <p:nvGrpSpPr>
          <p:cNvPr id="75" name="组合 74">
            <a:extLst>
              <a:ext uri="{FF2B5EF4-FFF2-40B4-BE49-F238E27FC236}">
                <a16:creationId xmlns:a16="http://schemas.microsoft.com/office/drawing/2014/main" id="{733A3385-D462-478D-A653-6745B30FBDE3}"/>
              </a:ext>
            </a:extLst>
          </p:cNvPr>
          <p:cNvGrpSpPr/>
          <p:nvPr/>
        </p:nvGrpSpPr>
        <p:grpSpPr>
          <a:xfrm flipH="1">
            <a:off x="7123046" y="1648268"/>
            <a:ext cx="758330" cy="1509396"/>
            <a:chOff x="4355021" y="1468708"/>
            <a:chExt cx="758330" cy="1509396"/>
          </a:xfrm>
        </p:grpSpPr>
        <p:sp>
          <p:nvSpPr>
            <p:cNvPr id="76" name="星形: 五角 75">
              <a:extLst>
                <a:ext uri="{FF2B5EF4-FFF2-40B4-BE49-F238E27FC236}">
                  <a16:creationId xmlns:a16="http://schemas.microsoft.com/office/drawing/2014/main" id="{2D1F972A-604C-4581-9AE8-0CD88F41C244}"/>
                </a:ext>
              </a:extLst>
            </p:cNvPr>
            <p:cNvSpPr/>
            <p:nvPr/>
          </p:nvSpPr>
          <p:spPr>
            <a:xfrm>
              <a:off x="4652433" y="2517186"/>
              <a:ext cx="460918" cy="460918"/>
            </a:xfrm>
            <a:prstGeom prst="star5">
              <a:avLst/>
            </a:prstGeom>
            <a:solidFill>
              <a:srgbClr val="FF626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77" name="星形: 五角 76">
              <a:extLst>
                <a:ext uri="{FF2B5EF4-FFF2-40B4-BE49-F238E27FC236}">
                  <a16:creationId xmlns:a16="http://schemas.microsoft.com/office/drawing/2014/main" id="{1E62B4AF-C5E3-4C40-9B39-B6B2CC30AB7D}"/>
                </a:ext>
              </a:extLst>
            </p:cNvPr>
            <p:cNvSpPr/>
            <p:nvPr/>
          </p:nvSpPr>
          <p:spPr>
            <a:xfrm>
              <a:off x="4355021" y="2208794"/>
              <a:ext cx="320445" cy="320445"/>
            </a:xfrm>
            <a:prstGeom prst="star5">
              <a:avLst/>
            </a:prstGeom>
            <a:solidFill>
              <a:srgbClr val="60A8A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78" name="星形: 五角 77">
              <a:extLst>
                <a:ext uri="{FF2B5EF4-FFF2-40B4-BE49-F238E27FC236}">
                  <a16:creationId xmlns:a16="http://schemas.microsoft.com/office/drawing/2014/main" id="{96ACDF28-8D51-4EAA-BCA8-C9B791D850D7}"/>
                </a:ext>
              </a:extLst>
            </p:cNvPr>
            <p:cNvSpPr/>
            <p:nvPr/>
          </p:nvSpPr>
          <p:spPr>
            <a:xfrm>
              <a:off x="4431095" y="1794975"/>
              <a:ext cx="228299" cy="228299"/>
            </a:xfrm>
            <a:prstGeom prst="star5">
              <a:avLst/>
            </a:prstGeom>
            <a:solidFill>
              <a:srgbClr val="FFC73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79" name="星形: 五角 78">
              <a:extLst>
                <a:ext uri="{FF2B5EF4-FFF2-40B4-BE49-F238E27FC236}">
                  <a16:creationId xmlns:a16="http://schemas.microsoft.com/office/drawing/2014/main" id="{3B7B9B4F-2F72-4E18-8E56-918C8D8A059E}"/>
                </a:ext>
              </a:extLst>
            </p:cNvPr>
            <p:cNvSpPr/>
            <p:nvPr/>
          </p:nvSpPr>
          <p:spPr>
            <a:xfrm>
              <a:off x="4771591" y="1468708"/>
              <a:ext cx="160111" cy="160111"/>
            </a:xfrm>
            <a:prstGeom prst="star5">
              <a:avLst/>
            </a:prstGeom>
            <a:solidFill>
              <a:srgbClr val="00456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grpSp>
      <p:pic>
        <p:nvPicPr>
          <p:cNvPr id="28" name="图形 27">
            <a:extLst>
              <a:ext uri="{FF2B5EF4-FFF2-40B4-BE49-F238E27FC236}">
                <a16:creationId xmlns:a16="http://schemas.microsoft.com/office/drawing/2014/main" id="{2653A3EF-832D-4DB9-8A8E-3EE01A798954}"/>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968211" y="1586039"/>
            <a:ext cx="1204043" cy="1648068"/>
          </a:xfrm>
          <a:prstGeom prst="rect">
            <a:avLst/>
          </a:prstGeom>
        </p:spPr>
      </p:pic>
    </p:spTree>
    <p:extLst>
      <p:ext uri="{BB962C8B-B14F-4D97-AF65-F5344CB8AC3E}">
        <p14:creationId val="1067463748"/>
      </p:ext>
    </p:extLst>
  </p:cSld>
  <p:clrMapOvr>
    <a:masterClrMapping/>
  </p:clrMapOvr>
  <mc:AlternateContent>
    <mc:Choice Requires="p14">
      <p:transition p14:dur="1500" spd="slow">
        <p:random/>
      </p:transition>
    </mc:Choice>
    <mc:Fallback>
      <p:transition spd="slow">
        <p:random/>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id="5" nodeType="withEffect" presetClass="entr" presetID="2" presetSubtype="9">
                                  <p:stCondLst>
                                    <p:cond delay="0"/>
                                  </p:stCondLst>
                                  <p:childTnLst>
                                    <p:set>
                                      <p:cBhvr>
                                        <p:cTn dur="1" fill="hold" id="6">
                                          <p:stCondLst>
                                            <p:cond delay="0"/>
                                          </p:stCondLst>
                                        </p:cTn>
                                        <p:tgtEl>
                                          <p:spTgt spid="37"/>
                                        </p:tgtEl>
                                        <p:attrNameLst>
                                          <p:attrName>style.visibility</p:attrName>
                                        </p:attrNameLst>
                                      </p:cBhvr>
                                      <p:to>
                                        <p:strVal val="visible"/>
                                      </p:to>
                                    </p:set>
                                    <p:anim calcmode="lin" valueType="num">
                                      <p:cBhvr additive="base">
                                        <p:cTn dur="1250" fill="hold" id="7"/>
                                        <p:tgtEl>
                                          <p:spTgt spid="37"/>
                                        </p:tgtEl>
                                        <p:attrNameLst>
                                          <p:attrName>ppt_x</p:attrName>
                                        </p:attrNameLst>
                                      </p:cBhvr>
                                      <p:tavLst>
                                        <p:tav tm="0">
                                          <p:val>
                                            <p:strVal val="0-#ppt_w/2"/>
                                          </p:val>
                                        </p:tav>
                                        <p:tav tm="100000">
                                          <p:val>
                                            <p:strVal val="#ppt_x"/>
                                          </p:val>
                                        </p:tav>
                                      </p:tavLst>
                                    </p:anim>
                                    <p:anim calcmode="lin" valueType="num">
                                      <p:cBhvr additive="base">
                                        <p:cTn dur="1250" fill="hold" id="8"/>
                                        <p:tgtEl>
                                          <p:spTgt spid="37"/>
                                        </p:tgtEl>
                                        <p:attrNameLst>
                                          <p:attrName>ppt_y</p:attrName>
                                        </p:attrNameLst>
                                      </p:cBhvr>
                                      <p:tavLst>
                                        <p:tav tm="0">
                                          <p:val>
                                            <p:strVal val="0-#ppt_h/2"/>
                                          </p:val>
                                        </p:tav>
                                        <p:tav tm="100000">
                                          <p:val>
                                            <p:strVal val="#ppt_y"/>
                                          </p:val>
                                        </p:tav>
                                      </p:tavLst>
                                    </p:anim>
                                  </p:childTnLst>
                                </p:cTn>
                              </p:par>
                              <p:par>
                                <p:cTn fill="hold" id="9" nodeType="withEffect" presetClass="entr" presetID="2" presetSubtype="3">
                                  <p:stCondLst>
                                    <p:cond delay="0"/>
                                  </p:stCondLst>
                                  <p:childTnLst>
                                    <p:set>
                                      <p:cBhvr>
                                        <p:cTn dur="1" fill="hold" id="10">
                                          <p:stCondLst>
                                            <p:cond delay="0"/>
                                          </p:stCondLst>
                                        </p:cTn>
                                        <p:tgtEl>
                                          <p:spTgt spid="28"/>
                                        </p:tgtEl>
                                        <p:attrNameLst>
                                          <p:attrName>style.visibility</p:attrName>
                                        </p:attrNameLst>
                                      </p:cBhvr>
                                      <p:to>
                                        <p:strVal val="visible"/>
                                      </p:to>
                                    </p:set>
                                    <p:anim calcmode="lin" valueType="num">
                                      <p:cBhvr additive="base">
                                        <p:cTn dur="1250" fill="hold" id="11"/>
                                        <p:tgtEl>
                                          <p:spTgt spid="28"/>
                                        </p:tgtEl>
                                        <p:attrNameLst>
                                          <p:attrName>ppt_x</p:attrName>
                                        </p:attrNameLst>
                                      </p:cBhvr>
                                      <p:tavLst>
                                        <p:tav tm="0">
                                          <p:val>
                                            <p:strVal val="1+#ppt_w/2"/>
                                          </p:val>
                                        </p:tav>
                                        <p:tav tm="100000">
                                          <p:val>
                                            <p:strVal val="#ppt_x"/>
                                          </p:val>
                                        </p:tav>
                                      </p:tavLst>
                                    </p:anim>
                                    <p:anim calcmode="lin" valueType="num">
                                      <p:cBhvr additive="base">
                                        <p:cTn dur="1250" fill="hold" id="12"/>
                                        <p:tgtEl>
                                          <p:spTgt spid="28"/>
                                        </p:tgtEl>
                                        <p:attrNameLst>
                                          <p:attrName>ppt_y</p:attrName>
                                        </p:attrNameLst>
                                      </p:cBhvr>
                                      <p:tavLst>
                                        <p:tav tm="0">
                                          <p:val>
                                            <p:strVal val="0-#ppt_h/2"/>
                                          </p:val>
                                        </p:tav>
                                        <p:tav tm="100000">
                                          <p:val>
                                            <p:strVal val="#ppt_y"/>
                                          </p:val>
                                        </p:tav>
                                      </p:tavLst>
                                    </p:anim>
                                  </p:childTnLst>
                                </p:cTn>
                              </p:par>
                            </p:childTnLst>
                          </p:cTn>
                        </p:par>
                        <p:par>
                          <p:cTn fill="hold" id="13" nodeType="afterGroup">
                            <p:stCondLst>
                              <p:cond delay="1250"/>
                            </p:stCondLst>
                            <p:childTnLst>
                              <p:par>
                                <p:cTn fill="hold" id="14" nodeType="afterEffect" presetClass="entr" presetID="22" presetSubtype="4">
                                  <p:stCondLst>
                                    <p:cond delay="0"/>
                                  </p:stCondLst>
                                  <p:childTnLst>
                                    <p:set>
                                      <p:cBhvr>
                                        <p:cTn dur="1" fill="hold" id="15">
                                          <p:stCondLst>
                                            <p:cond delay="0"/>
                                          </p:stCondLst>
                                        </p:cTn>
                                        <p:tgtEl>
                                          <p:spTgt spid="63"/>
                                        </p:tgtEl>
                                        <p:attrNameLst>
                                          <p:attrName>style.visibility</p:attrName>
                                        </p:attrNameLst>
                                      </p:cBhvr>
                                      <p:to>
                                        <p:strVal val="visible"/>
                                      </p:to>
                                    </p:set>
                                    <p:animEffect filter="wipe(down)" transition="in">
                                      <p:cBhvr>
                                        <p:cTn dur="500" id="16"/>
                                        <p:tgtEl>
                                          <p:spTgt spid="63"/>
                                        </p:tgtEl>
                                      </p:cBhvr>
                                    </p:animEffect>
                                  </p:childTnLst>
                                </p:cTn>
                              </p:par>
                              <p:par>
                                <p:cTn fill="hold" id="17" nodeType="withEffect" presetClass="entr" presetID="22" presetSubtype="4">
                                  <p:stCondLst>
                                    <p:cond delay="0"/>
                                  </p:stCondLst>
                                  <p:childTnLst>
                                    <p:set>
                                      <p:cBhvr>
                                        <p:cTn dur="1" fill="hold" id="18">
                                          <p:stCondLst>
                                            <p:cond delay="0"/>
                                          </p:stCondLst>
                                        </p:cTn>
                                        <p:tgtEl>
                                          <p:spTgt spid="75"/>
                                        </p:tgtEl>
                                        <p:attrNameLst>
                                          <p:attrName>style.visibility</p:attrName>
                                        </p:attrNameLst>
                                      </p:cBhvr>
                                      <p:to>
                                        <p:strVal val="visible"/>
                                      </p:to>
                                    </p:set>
                                    <p:animEffect filter="wipe(down)" transition="in">
                                      <p:cBhvr>
                                        <p:cTn dur="500" id="19"/>
                                        <p:tgtEl>
                                          <p:spTgt spid="75"/>
                                        </p:tgtEl>
                                      </p:cBhvr>
                                    </p:animEffect>
                                  </p:childTnLst>
                                </p:cTn>
                              </p:par>
                            </p:childTnLst>
                          </p:cTn>
                        </p:par>
                        <p:par>
                          <p:cTn fill="hold" id="20" nodeType="afterGroup">
                            <p:stCondLst>
                              <p:cond delay="1750"/>
                            </p:stCondLst>
                            <p:childTnLst>
                              <p:par>
                                <p:cTn fill="hold" grpId="0" id="21" nodeType="afterEffect" presetClass="entr" presetID="56" presetSubtype="0">
                                  <p:stCondLst>
                                    <p:cond delay="0"/>
                                  </p:stCondLst>
                                  <p:iterate type="lt">
                                    <p:tmPct val="13333"/>
                                  </p:iterate>
                                  <p:childTnLst>
                                    <p:set>
                                      <p:cBhvr>
                                        <p:cTn dur="1" fill="hold" id="22">
                                          <p:stCondLst>
                                            <p:cond delay="0"/>
                                          </p:stCondLst>
                                        </p:cTn>
                                        <p:tgtEl>
                                          <p:spTgt spid="14"/>
                                        </p:tgtEl>
                                        <p:attrNameLst>
                                          <p:attrName>style.visibility</p:attrName>
                                        </p:attrNameLst>
                                      </p:cBhvr>
                                      <p:to>
                                        <p:strVal val="visible"/>
                                      </p:to>
                                    </p:set>
                                    <p:anim by="(-#ppt_w*2)" calcmode="lin" valueType="num">
                                      <p:cBhvr rctx="PPT">
                                        <p:cTn autoRev="1" dur="375" fill="hold" id="23">
                                          <p:stCondLst>
                                            <p:cond delay="0"/>
                                          </p:stCondLst>
                                        </p:cTn>
                                        <p:tgtEl>
                                          <p:spTgt spid="14"/>
                                        </p:tgtEl>
                                        <p:attrNameLst>
                                          <p:attrName>ppt_w</p:attrName>
                                        </p:attrNameLst>
                                      </p:cBhvr>
                                    </p:anim>
                                    <p:anim by="(#ppt_w*0.50)" calcmode="lin" valueType="num">
                                      <p:cBhvr>
                                        <p:cTn autoRev="1" decel="50000" dur="375" fill="hold" id="24">
                                          <p:stCondLst>
                                            <p:cond delay="0"/>
                                          </p:stCondLst>
                                        </p:cTn>
                                        <p:tgtEl>
                                          <p:spTgt spid="14"/>
                                        </p:tgtEl>
                                        <p:attrNameLst>
                                          <p:attrName>ppt_x</p:attrName>
                                        </p:attrNameLst>
                                      </p:cBhvr>
                                    </p:anim>
                                    <p:anim calcmode="lin" from="(-#ppt_h/2)" to="(#ppt_y)" valueType="num">
                                      <p:cBhvr>
                                        <p:cTn dur="750" fill="hold" id="25">
                                          <p:stCondLst>
                                            <p:cond delay="0"/>
                                          </p:stCondLst>
                                        </p:cTn>
                                        <p:tgtEl>
                                          <p:spTgt spid="14"/>
                                        </p:tgtEl>
                                        <p:attrNameLst>
                                          <p:attrName>ppt_y</p:attrName>
                                        </p:attrNameLst>
                                      </p:cBhvr>
                                    </p:anim>
                                    <p:animRot by="21600000">
                                      <p:cBhvr>
                                        <p:cTn dur="750" fill="hold" id="26">
                                          <p:stCondLst>
                                            <p:cond delay="0"/>
                                          </p:stCondLst>
                                        </p:cTn>
                                        <p:tgtEl>
                                          <p:spTgt spid="14"/>
                                        </p:tgtEl>
                                        <p:attrNameLst>
                                          <p:attrName>r</p:attrName>
                                        </p:attrNameLst>
                                      </p:cBhvr>
                                    </p:animRot>
                                  </p:childTnLst>
                                </p:cTn>
                              </p:par>
                            </p:childTnLst>
                          </p:cTn>
                        </p:par>
                        <p:par>
                          <p:cTn fill="hold" id="27" nodeType="afterGroup">
                            <p:stCondLst>
                              <p:cond delay="2500"/>
                            </p:stCondLst>
                            <p:childTnLst>
                              <p:par>
                                <p:cTn fill="hold" grpId="1" id="28" nodeType="afterEffect" presetClass="emph" presetID="26" presetSubtype="0">
                                  <p:stCondLst>
                                    <p:cond delay="0"/>
                                  </p:stCondLst>
                                  <p:iterate type="lt">
                                    <p:tmPct val="10000"/>
                                  </p:iterate>
                                  <p:childTnLst>
                                    <p:animEffect filter="fade" transition="out">
                                      <p:cBhvr>
                                        <p:cTn dur="500" id="29" tmFilter="0, 0; .2, .5; .8, .5; 1, 0"/>
                                        <p:tgtEl>
                                          <p:spTgt spid="14"/>
                                        </p:tgtEl>
                                      </p:cBhvr>
                                    </p:animEffect>
                                    <p:animScale>
                                      <p:cBhvr>
                                        <p:cTn autoRev="1" dur="250" fill="hold" id="30"/>
                                        <p:tgtEl>
                                          <p:spTgt spid="14"/>
                                        </p:tgtEl>
                                      </p:cBhvr>
                                      <p:by x="105000" y="105000"/>
                                    </p:animScale>
                                  </p:childTnLst>
                                </p:cTn>
                              </p:par>
                            </p:childTnLst>
                          </p:cTn>
                        </p:par>
                        <p:par>
                          <p:cTn fill="hold" id="31" nodeType="afterGroup">
                            <p:stCondLst>
                              <p:cond delay="3000"/>
                            </p:stCondLst>
                            <p:childTnLst>
                              <p:par>
                                <p:cTn fill="hold" id="32" nodeType="afterEffect" presetClass="entr" presetID="16" presetSubtype="21">
                                  <p:stCondLst>
                                    <p:cond delay="0"/>
                                  </p:stCondLst>
                                  <p:childTnLst>
                                    <p:set>
                                      <p:cBhvr>
                                        <p:cTn dur="1" fill="hold" id="33">
                                          <p:stCondLst>
                                            <p:cond delay="0"/>
                                          </p:stCondLst>
                                        </p:cTn>
                                        <p:tgtEl>
                                          <p:spTgt spid="2"/>
                                        </p:tgtEl>
                                        <p:attrNameLst>
                                          <p:attrName>style.visibility</p:attrName>
                                        </p:attrNameLst>
                                      </p:cBhvr>
                                      <p:to>
                                        <p:strVal val="visible"/>
                                      </p:to>
                                    </p:set>
                                    <p:animEffect filter="barn(inVertical)" transition="in">
                                      <p:cBhvr>
                                        <p:cTn dur="500" id="34"/>
                                        <p:tgtEl>
                                          <p:spTgt spid="2"/>
                                        </p:tgtEl>
                                      </p:cBhvr>
                                    </p:animEffect>
                                  </p:childTnLst>
                                </p:cTn>
                              </p:par>
                              <p:par>
                                <p:cTn fill="hold" grpId="0" id="35" nodeType="withEffect" presetClass="entr" presetID="16" presetSubtype="37">
                                  <p:stCondLst>
                                    <p:cond delay="0"/>
                                  </p:stCondLst>
                                  <p:childTnLst>
                                    <p:set>
                                      <p:cBhvr>
                                        <p:cTn dur="1" fill="hold" id="36">
                                          <p:stCondLst>
                                            <p:cond delay="0"/>
                                          </p:stCondLst>
                                        </p:cTn>
                                        <p:tgtEl>
                                          <p:spTgt spid="17"/>
                                        </p:tgtEl>
                                        <p:attrNameLst>
                                          <p:attrName>style.visibility</p:attrName>
                                        </p:attrNameLst>
                                      </p:cBhvr>
                                      <p:to>
                                        <p:strVal val="visible"/>
                                      </p:to>
                                    </p:set>
                                    <p:animEffect filter="barn(outVertical)" transition="in">
                                      <p:cBhvr>
                                        <p:cTn dur="500" id="37"/>
                                        <p:tgtEl>
                                          <p:spTgt spid="17"/>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14"/>
      <p:bldP grpId="1" spid="14"/>
      <p:bldP grpId="0" spid="17"/>
    </p:bldLst>
  </p:timing>
</p:sld>
</file>

<file path=ppt/tags/tag1.xml><?xml version="1.0" encoding="utf-8"?>
<p:tagLst xmlns:p="http://schemas.openxmlformats.org/presentationml/2006/main">
  <p:tag name="THINKCELLSHAPEDONOTDELETE" val="pi_L0l0C6gUmpYmek4kB0oA"/>
</p:tagLst>
</file>

<file path=ppt/tags/tag2.xml><?xml version="1.0" encoding="utf-8"?>
<p:tagLst xmlns:p="http://schemas.openxmlformats.org/presentationml/2006/main">
  <p:tag name="THINKCELLSHAPEDONOTDELETE" val="pi_L0l0C6gUmpYmek4kB0oA"/>
</p:tagLst>
</file>

<file path=ppt/tags/tag3.xml><?xml version="1.0" encoding="utf-8"?>
<p:tagLst xmlns:p="http://schemas.openxmlformats.org/presentationml/2006/main">
  <p:tag name="THINKCELLSHAPEDONOTDELETE" val="pi_L0l0C6gUmpYmek4kB0oA"/>
</p:tagLst>
</file>

<file path=ppt/tags/tag4.xml><?xml version="1.0" encoding="utf-8"?>
<p:tagLst xmlns:p="http://schemas.openxmlformats.org/presentationml/2006/main">
  <p:tag name="THINKCELLSHAPEDONOTDELETE" val="pi_L0l0C6gUmpYmek4kB0oA"/>
</p:tagLst>
</file>

<file path=ppt/tags/tag5.xml><?xml version="1.0" encoding="utf-8"?>
<p:tagLst xmlns:p="http://schemas.openxmlformats.org/presentationml/2006/main">
  <p:tag name="THINKCELLSHAPEDONOTDELETE" val="pi_L0l0C6gUmpYmek4kB0oA"/>
</p:tagLst>
</file>

<file path=ppt/tags/tag6.xml><?xml version="1.0" encoding="utf-8"?>
<p:tagLst xmlns:p="http://schemas.openxmlformats.org/presentationml/2006/main">
  <p:tag name="THINKCELLSHAPEDONOTDELETE" val="pi_L0l0C6gUmpYmek4kB0oA"/>
</p:tagLst>
</file>

<file path=ppt/tags/tag7.xml><?xml version="1.0" encoding="utf-8"?>
<p:tagLst xmlns:p="http://schemas.openxmlformats.org/presentationml/2006/main">
  <p:tag name="THINKCELLSHAPEDONOTDELETE" val="pi_L0l0C6gUmpYmek4kB0oA"/>
</p:tagLst>
</file>

<file path=ppt/tags/tag8.xml><?xml version="1.0" encoding="utf-8"?>
<p:tagLst xmlns:p="http://schemas.openxmlformats.org/presentationml/2006/main">
  <p:tag name="AS_NET" val="4.0.30319.42000"/>
  <p:tag name="AS_OS" val="Microsoft Windows NT 6.2.9200.0"/>
  <p:tag name="AS_RELEASE_DATE" val="2020.04.14"/>
  <p:tag name="AS_TITLE" val="Aspose.Slides for .NET 4.0 Client Profile"/>
  <p:tag name="AS_VERSION" val="20.4"/>
  <p:tag name="ISPRING_PRESENTATION_TITLE" val="创意孟菲斯风工作总结"/>
</p:tagLst>
</file>

<file path=ppt/theme/theme1.xml><?xml version="1.0" encoding="utf-8"?>
<a:theme xmlns:r="http://schemas.openxmlformats.org/officeDocument/2006/relationships" xmlns:a="http://schemas.openxmlformats.org/drawingml/2006/main" na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Arial"/>
        <a:cs typeface="Arial"/>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Arial"/>
        <a:cs typeface="Arial"/>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Lst>
    <a:ext uri="{05A4C25C-085E-4340-85A3-A5531E510DB2}">
      <thm15:themeFamily xmlns:thm15="http://schemas.microsoft.com/office/thememl/2012/main" id="{62F939B6-93AF-4DB8-9C6B-D6C7DFDC589F}" name="Office Theme" vid="{4A3C46E8-61CC-4603-A589-7422A47A8E4A}"/>
    </a:ext>
  </a:extLst>
</a:theme>
</file>

<file path=ppt/theme/theme2.xml><?xml version="1.0" encoding="utf-8"?>
<a:theme xmlns:r="http://schemas.openxmlformats.org/officeDocument/2006/relationships" xmlns:a="http://schemas.openxmlformats.org/drawingml/2006/main" name="">
  <a:themeElements>
    <a:clrScheme name="Office 主题">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主题">
      <a:majorFont>
        <a:latin typeface="Calibri Light" panose="020f0302020204030204"/>
        <a:ea typeface="Arial"/>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Arial"/>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Lst>
    <a:ext uri="{05A4C25C-085E-4340-85A3-A5531E510DB2}">
      <thm15:themeFamily xmlns:thm15="http://schemas.microsoft.com/office/thememl/2012/main" id="{62F939B6-93AF-4DB8-9C6B-D6C7DFDC589F}" name="Office Theme" vid="{4A3C46E8-61CC-4603-A589-7422A47A8E4A}"/>
    </a:ext>
  </a:extLst>
</a:theme>
</file>

<file path=ppt/theme/theme3.xml><?xml version="1.0" encoding="utf-8"?>
<a:theme xmlns:r="http://schemas.openxmlformats.org/officeDocument/2006/relationships"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Arial"/>
        <a:cs typeface="Arial"/>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Arial"/>
        <a:cs typeface="Arial"/>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Lst>
    <a:ext uri="{05A4C25C-085E-4340-85A3-A5531E510DB2}">
      <thm15:themeFamily xmlns:thm15="http://schemas.microsoft.com/office/thememl/2012/main" id="{62F939B6-93AF-4DB8-9C6B-D6C7DFDC589F}" name="Office Theme" vid="{4A3C46E8-61CC-4603-A589-7422A47A8E4A}"/>
    </a:ext>
  </a:extLst>
</a:theme>
</file>

<file path=docProps/app.xml><?xml version="1.0" encoding="utf-8"?>
<Properties xmlns:vt="http://schemas.openxmlformats.org/officeDocument/2006/docPropsVTypes" xmlns="http://schemas.openxmlformats.org/officeDocument/2006/extended-properties">
  <Company/>
  <PresentationFormat>宽屏</PresentationFormat>
  <Paragraphs>223</Paragraphs>
  <Slides>24</Slides>
  <Notes>24</Notes>
  <TotalTime>1258</TotalTime>
  <HiddenSlides>0</HiddenSlides>
  <MMClips>0</MMClips>
  <ScaleCrop>0</ScaleCrop>
  <HeadingPairs>
    <vt:vector baseType="variant" size="6">
      <vt:variant>
        <vt:lpstr>Fonts used</vt:lpstr>
      </vt:variant>
      <vt:variant>
        <vt:i4>17</vt:i4>
      </vt:variant>
      <vt:variant>
        <vt:lpstr>Theme</vt:lpstr>
      </vt:variant>
      <vt:variant>
        <vt:i4>1</vt:i4>
      </vt:variant>
      <vt:variant>
        <vt:lpstr>Slide Titles</vt:lpstr>
      </vt:variant>
      <vt:variant>
        <vt:i4>24</vt:i4>
      </vt:variant>
    </vt:vector>
  </HeadingPairs>
  <TitlesOfParts>
    <vt:vector baseType="lpstr" size="42">
      <vt:lpstr>Arial</vt:lpstr>
      <vt:lpstr>等线 Light</vt:lpstr>
      <vt:lpstr>等线</vt:lpstr>
      <vt:lpstr>Calibri Light</vt:lpstr>
      <vt:lpstr>Calibri</vt:lpstr>
      <vt:lpstr>方正手迹-小欢卡通体</vt:lpstr>
      <vt:lpstr>方正雅士黑 简</vt:lpstr>
      <vt:lpstr>Arial Black</vt:lpstr>
      <vt:lpstr>思源黑体 CN Normal</vt:lpstr>
      <vt:lpstr>Open Sans Light</vt:lpstr>
      <vt:lpstr>Source Sans Pro ExtraLight</vt:lpstr>
      <vt:lpstr>Lato Regular</vt:lpstr>
      <vt:lpstr>Wingdings</vt:lpstr>
      <vt:lpstr>思源黑体 CN Bold</vt:lpstr>
      <vt:lpstr>Open Sans Semibold</vt:lpstr>
      <vt:lpstr>Roboto</vt:lpstr>
      <vt:lpstr>字魂59号-创粗黑</vt:lpstr>
      <vt:lpstr>Office 主题​​</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0</LinksUpToDate>
  <SharedDoc>0</SharedDoc>
  <HyperlinksChanged>0</HyperlinksChanged>
  <Application>Aspose.Slides for .NET</Application>
  <AppVersion>20.0400</AppVersion>
</Properties>
</file>

<file path=docProps/core.xml><?xml version="1.0" encoding="utf-8"?>
<cp:coreProperties xmlns:cp="http://schemas.openxmlformats.org/package/2006/metadata/core-properties" xmlns:dc="http://purl.org/dc/elements/1.1/" xmlns:dcterms="http://purl.org/dc/terms/" xmlns:xsi="http://www.w3.org/2001/XMLSchema-instance">
  <dcterms:created xsi:type="dcterms:W3CDTF">2018-04-19T08:58:26Z</dcterms:created>
  <cp:lastModifiedBy>kan</cp:lastModifiedBy>
  <dcterms:modified xsi:type="dcterms:W3CDTF">2021-08-20T11:20:07Z</dcterms:modified>
  <cp:revision>330</cp:revision>
  <dc:title>PowerPoint 演示文稿</dc:title>
</cp:coreProperties>
</file>